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3"/>
    <p:sldMasterId id="2147483720" r:id="rId4"/>
  </p:sldMasterIdLst>
  <p:notesMasterIdLst>
    <p:notesMasterId r:id="rId10"/>
  </p:notesMasterIdLst>
  <p:sldIdLst>
    <p:sldId id="2147475429" r:id="rId5"/>
    <p:sldId id="2147475427" r:id="rId6"/>
    <p:sldId id="2147475433" r:id="rId7"/>
    <p:sldId id="2147475428" r:id="rId8"/>
    <p:sldId id="2147475432" r:id="rId9"/>
  </p:sldIdLst>
  <p:sldSz cx="13439775" cy="7559675"/>
  <p:notesSz cx="6797675" cy="9926638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votec 2023" id="{BB808785-4FF8-45C9-87C6-6B9DAF319B15}">
          <p14:sldIdLst>
            <p14:sldId id="2147475429"/>
            <p14:sldId id="2147475427"/>
            <p14:sldId id="2147475433"/>
            <p14:sldId id="2147475428"/>
            <p14:sldId id="2147475432"/>
          </p14:sldIdLst>
        </p14:section>
        <p14:section name="Evotec + Partner Logo 2023" id="{6FBEE697-8A70-4DBD-B802-11A8661521EB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Volker Braun" initials="VB" lastIdx="23" clrIdx="6">
    <p:extLst>
      <p:ext uri="{19B8F6BF-5375-455C-9EA6-DF929625EA0E}">
        <p15:presenceInfo xmlns:p15="http://schemas.microsoft.com/office/powerpoint/2012/main" userId="S-1-5-21-1960408961-682003330-725345543-44256" providerId="AD"/>
      </p:ext>
    </p:extLst>
  </p:cmAuthor>
  <p:cmAuthor id="1" name="Barbara Bachler-Konetzki" initials="BB [2]" lastIdx="1" clrIdx="0">
    <p:extLst>
      <p:ext uri="{19B8F6BF-5375-455C-9EA6-DF929625EA0E}">
        <p15:presenceInfo xmlns:p15="http://schemas.microsoft.com/office/powerpoint/2012/main" userId="S::bbachler@evoteccloud.onmicrosoft.com::d371ec2c-1dfb-49f8-b994-f90c5e8b61da" providerId="AD"/>
      </p:ext>
    </p:extLst>
  </p:cmAuthor>
  <p:cmAuthor id="2" name="Barbara Bachler-Konetzki" initials="BB" lastIdx="1" clrIdx="1">
    <p:extLst>
      <p:ext uri="{19B8F6BF-5375-455C-9EA6-DF929625EA0E}">
        <p15:presenceInfo xmlns:p15="http://schemas.microsoft.com/office/powerpoint/2012/main" userId="Barbara Bachler-Konetzki" providerId="None"/>
      </p:ext>
    </p:extLst>
  </p:cmAuthor>
  <p:cmAuthor id="3" name="Florian Krieger" initials="FK" lastIdx="1" clrIdx="2">
    <p:extLst>
      <p:ext uri="{19B8F6BF-5375-455C-9EA6-DF929625EA0E}">
        <p15:presenceInfo xmlns:p15="http://schemas.microsoft.com/office/powerpoint/2012/main" userId="S::florian.krieger@evotec.com::ea39f164-60fe-4598-b292-9e7c72f7611b" providerId="AD"/>
      </p:ext>
    </p:extLst>
  </p:cmAuthor>
  <p:cmAuthor id="4" name="Ina Sternberger" initials="IS" lastIdx="10" clrIdx="3">
    <p:extLst>
      <p:ext uri="{19B8F6BF-5375-455C-9EA6-DF929625EA0E}">
        <p15:presenceInfo xmlns:p15="http://schemas.microsoft.com/office/powerpoint/2012/main" userId="Ina Sternberger" providerId="None"/>
      </p:ext>
    </p:extLst>
  </p:cmAuthor>
  <p:cmAuthor id="5" name="Ina Sternberger" initials="IS [2]" lastIdx="1" clrIdx="4">
    <p:extLst>
      <p:ext uri="{19B8F6BF-5375-455C-9EA6-DF929625EA0E}">
        <p15:presenceInfo xmlns:p15="http://schemas.microsoft.com/office/powerpoint/2012/main" userId="S::ina.sternberger@evotec.com::5373ca7b-afba-48a1-bf23-aaaa3d88cf00" providerId="AD"/>
      </p:ext>
    </p:extLst>
  </p:cmAuthor>
  <p:cmAuthor id="6" name="Ruth Strohmaier" initials="RS" lastIdx="1" clrIdx="5">
    <p:extLst>
      <p:ext uri="{19B8F6BF-5375-455C-9EA6-DF929625EA0E}">
        <p15:presenceInfo xmlns:p15="http://schemas.microsoft.com/office/powerpoint/2012/main" userId="S::strohmaier@factsnfigures.onmicrosoft.com::7b0b99c5-1314-4646-b4d8-d807463e6e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4040B3"/>
    <a:srgbClr val="595959"/>
    <a:srgbClr val="5FCD91"/>
    <a:srgbClr val="A7A7FF"/>
    <a:srgbClr val="FFB5B6"/>
    <a:srgbClr val="B5BDD0"/>
    <a:srgbClr val="D6C3E3"/>
    <a:srgbClr val="FFFFA3"/>
    <a:srgbClr val="FFED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372312-C7F5-460B-B0C4-2503A1E78F47}" v="10" dt="2024-09-01T13:30:01.1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416" autoAdjust="0"/>
    <p:restoredTop sz="95343" autoAdjust="0"/>
  </p:normalViewPr>
  <p:slideViewPr>
    <p:cSldViewPr snapToGrid="0" snapToObjects="1" showGuides="1">
      <p:cViewPr varScale="1">
        <p:scale>
          <a:sx n="66" d="100"/>
          <a:sy n="66" d="100"/>
        </p:scale>
        <p:origin x="52" y="1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2022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y Zinovyev" userId="f09cd489-6cfc-40d6-999c-d5b535fbcc48" providerId="ADAL" clId="{01372312-C7F5-460B-B0C4-2503A1E78F47}"/>
    <pc:docChg chg="undo redo custSel addSld delSld modSld sldOrd modSection">
      <pc:chgData name="Andrey Zinovyev" userId="f09cd489-6cfc-40d6-999c-d5b535fbcc48" providerId="ADAL" clId="{01372312-C7F5-460B-B0C4-2503A1E78F47}" dt="2024-09-02T14:17:19.698" v="1751"/>
      <pc:docMkLst>
        <pc:docMk/>
      </pc:docMkLst>
      <pc:sldChg chg="del">
        <pc:chgData name="Andrey Zinovyev" userId="f09cd489-6cfc-40d6-999c-d5b535fbcc48" providerId="ADAL" clId="{01372312-C7F5-460B-B0C4-2503A1E78F47}" dt="2024-09-01T12:27:00.008" v="0" actId="47"/>
        <pc:sldMkLst>
          <pc:docMk/>
          <pc:sldMk cId="1386343205" sldId="346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472011338" sldId="2147474609"/>
        </pc:sldMkLst>
      </pc:sldChg>
      <pc:sldChg chg="del">
        <pc:chgData name="Andrey Zinovyev" userId="f09cd489-6cfc-40d6-999c-d5b535fbcc48" providerId="ADAL" clId="{01372312-C7F5-460B-B0C4-2503A1E78F47}" dt="2024-09-01T12:27:00.008" v="0" actId="47"/>
        <pc:sldMkLst>
          <pc:docMk/>
          <pc:sldMk cId="727104470" sldId="2147475243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3607757938" sldId="2147475295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2867039200" sldId="2147475297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2706050825" sldId="2147475395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577929223" sldId="2147475400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998049409" sldId="2147475404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3727492240" sldId="2147475407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4276148158" sldId="2147475408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3907275426" sldId="2147475410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649496593" sldId="2147475412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3749721" sldId="2147475413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2265498185" sldId="2147475414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3051637931" sldId="2147475415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693154817" sldId="2147475416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3838103664" sldId="2147475418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3234303317" sldId="2147475420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2123937405" sldId="2147475421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371440531" sldId="2147475422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42950853" sldId="2147475423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2819865518" sldId="2147475424"/>
        </pc:sldMkLst>
      </pc:sldChg>
      <pc:sldChg chg="del">
        <pc:chgData name="Andrey Zinovyev" userId="f09cd489-6cfc-40d6-999c-d5b535fbcc48" providerId="ADAL" clId="{01372312-C7F5-460B-B0C4-2503A1E78F47}" dt="2024-09-01T12:27:04.599" v="1" actId="47"/>
        <pc:sldMkLst>
          <pc:docMk/>
          <pc:sldMk cId="1984441325" sldId="2147475425"/>
        </pc:sldMkLst>
      </pc:sldChg>
      <pc:sldChg chg="addSp delSp modSp del mod">
        <pc:chgData name="Andrey Zinovyev" userId="f09cd489-6cfc-40d6-999c-d5b535fbcc48" providerId="ADAL" clId="{01372312-C7F5-460B-B0C4-2503A1E78F47}" dt="2024-09-01T13:09:34.583" v="300" actId="47"/>
        <pc:sldMkLst>
          <pc:docMk/>
          <pc:sldMk cId="377727365" sldId="2147475426"/>
        </pc:sldMkLst>
        <pc:spChg chg="mod">
          <ac:chgData name="Andrey Zinovyev" userId="f09cd489-6cfc-40d6-999c-d5b535fbcc48" providerId="ADAL" clId="{01372312-C7F5-460B-B0C4-2503A1E78F47}" dt="2024-09-01T12:31:19.132" v="13" actId="20577"/>
          <ac:spMkLst>
            <pc:docMk/>
            <pc:sldMk cId="377727365" sldId="2147475426"/>
            <ac:spMk id="3" creationId="{A93F424C-1205-3492-54D4-4E8097A8F4E9}"/>
          </ac:spMkLst>
        </pc:spChg>
        <pc:spChg chg="del">
          <ac:chgData name="Andrey Zinovyev" userId="f09cd489-6cfc-40d6-999c-d5b535fbcc48" providerId="ADAL" clId="{01372312-C7F5-460B-B0C4-2503A1E78F47}" dt="2024-09-01T12:27:09.547" v="2" actId="478"/>
          <ac:spMkLst>
            <pc:docMk/>
            <pc:sldMk cId="377727365" sldId="2147475426"/>
            <ac:spMk id="5" creationId="{00000000-0000-0000-0000-000000000000}"/>
          </ac:spMkLst>
        </pc:spChg>
        <pc:spChg chg="add del mod">
          <ac:chgData name="Andrey Zinovyev" userId="f09cd489-6cfc-40d6-999c-d5b535fbcc48" providerId="ADAL" clId="{01372312-C7F5-460B-B0C4-2503A1E78F47}" dt="2024-09-01T12:31:22.807" v="14" actId="1076"/>
          <ac:spMkLst>
            <pc:docMk/>
            <pc:sldMk cId="377727365" sldId="2147475426"/>
            <ac:spMk id="11" creationId="{00000000-0000-0000-0000-000000000000}"/>
          </ac:spMkLst>
        </pc:spChg>
        <pc:spChg chg="del">
          <ac:chgData name="Andrey Zinovyev" userId="f09cd489-6cfc-40d6-999c-d5b535fbcc48" providerId="ADAL" clId="{01372312-C7F5-460B-B0C4-2503A1E78F47}" dt="2024-09-01T12:27:09.547" v="2" actId="478"/>
          <ac:spMkLst>
            <pc:docMk/>
            <pc:sldMk cId="377727365" sldId="2147475426"/>
            <ac:spMk id="19" creationId="{00000000-0000-0000-0000-000000000000}"/>
          </ac:spMkLst>
        </pc:spChg>
        <pc:spChg chg="del">
          <ac:chgData name="Andrey Zinovyev" userId="f09cd489-6cfc-40d6-999c-d5b535fbcc48" providerId="ADAL" clId="{01372312-C7F5-460B-B0C4-2503A1E78F47}" dt="2024-09-01T12:27:09.547" v="2" actId="478"/>
          <ac:spMkLst>
            <pc:docMk/>
            <pc:sldMk cId="377727365" sldId="2147475426"/>
            <ac:spMk id="27" creationId="{00000000-0000-0000-0000-000000000000}"/>
          </ac:spMkLst>
        </pc:spChg>
        <pc:grpChg chg="del">
          <ac:chgData name="Andrey Zinovyev" userId="f09cd489-6cfc-40d6-999c-d5b535fbcc48" providerId="ADAL" clId="{01372312-C7F5-460B-B0C4-2503A1E78F47}" dt="2024-09-01T12:27:09.547" v="2" actId="478"/>
          <ac:grpSpMkLst>
            <pc:docMk/>
            <pc:sldMk cId="377727365" sldId="2147475426"/>
            <ac:grpSpMk id="20" creationId="{00000000-0000-0000-0000-000000000000}"/>
          </ac:grpSpMkLst>
        </pc:grpChg>
        <pc:grpChg chg="del">
          <ac:chgData name="Andrey Zinovyev" userId="f09cd489-6cfc-40d6-999c-d5b535fbcc48" providerId="ADAL" clId="{01372312-C7F5-460B-B0C4-2503A1E78F47}" dt="2024-09-01T12:27:09.547" v="2" actId="478"/>
          <ac:grpSpMkLst>
            <pc:docMk/>
            <pc:sldMk cId="377727365" sldId="2147475426"/>
            <ac:grpSpMk id="23" creationId="{00000000-0000-0000-0000-000000000000}"/>
          </ac:grpSpMkLst>
        </pc:grpChg>
        <pc:picChg chg="del">
          <ac:chgData name="Andrey Zinovyev" userId="f09cd489-6cfc-40d6-999c-d5b535fbcc48" providerId="ADAL" clId="{01372312-C7F5-460B-B0C4-2503A1E78F47}" dt="2024-09-01T12:27:09.547" v="2" actId="478"/>
          <ac:picMkLst>
            <pc:docMk/>
            <pc:sldMk cId="377727365" sldId="2147475426"/>
            <ac:picMk id="10" creationId="{00000000-0000-0000-0000-000000000000}"/>
          </ac:picMkLst>
        </pc:picChg>
      </pc:sldChg>
      <pc:sldChg chg="addSp delSp modSp new mod ord">
        <pc:chgData name="Andrey Zinovyev" userId="f09cd489-6cfc-40d6-999c-d5b535fbcc48" providerId="ADAL" clId="{01372312-C7F5-460B-B0C4-2503A1E78F47}" dt="2024-09-02T08:45:42.747" v="1700" actId="1076"/>
        <pc:sldMkLst>
          <pc:docMk/>
          <pc:sldMk cId="3089660754" sldId="2147475427"/>
        </pc:sldMkLst>
        <pc:spChg chg="mod">
          <ac:chgData name="Andrey Zinovyev" userId="f09cd489-6cfc-40d6-999c-d5b535fbcc48" providerId="ADAL" clId="{01372312-C7F5-460B-B0C4-2503A1E78F47}" dt="2024-09-01T12:35:57.326" v="41" actId="20577"/>
          <ac:spMkLst>
            <pc:docMk/>
            <pc:sldMk cId="3089660754" sldId="2147475427"/>
            <ac:spMk id="2" creationId="{8F7EE97E-E6DD-B6EC-1F9B-05D4DF77A295}"/>
          </ac:spMkLst>
        </pc:spChg>
        <pc:spChg chg="add mod">
          <ac:chgData name="Andrey Zinovyev" userId="f09cd489-6cfc-40d6-999c-d5b535fbcc48" providerId="ADAL" clId="{01372312-C7F5-460B-B0C4-2503A1E78F47}" dt="2024-09-02T08:45:42.747" v="1700" actId="1076"/>
          <ac:spMkLst>
            <pc:docMk/>
            <pc:sldMk cId="3089660754" sldId="2147475427"/>
            <ac:spMk id="18" creationId="{1C52AB44-26DE-6D77-3761-36D17791B8AD}"/>
          </ac:spMkLst>
        </pc:spChg>
        <pc:picChg chg="add del">
          <ac:chgData name="Andrey Zinovyev" userId="f09cd489-6cfc-40d6-999c-d5b535fbcc48" providerId="ADAL" clId="{01372312-C7F5-460B-B0C4-2503A1E78F47}" dt="2024-09-01T12:31:29.700" v="19" actId="22"/>
          <ac:picMkLst>
            <pc:docMk/>
            <pc:sldMk cId="3089660754" sldId="2147475427"/>
            <ac:picMk id="8" creationId="{E79EDF54-5EED-503D-ECDF-FC31623132B1}"/>
          </ac:picMkLst>
        </pc:picChg>
        <pc:picChg chg="add mod">
          <ac:chgData name="Andrey Zinovyev" userId="f09cd489-6cfc-40d6-999c-d5b535fbcc48" providerId="ADAL" clId="{01372312-C7F5-460B-B0C4-2503A1E78F47}" dt="2024-09-01T12:31:49.630" v="22" actId="1076"/>
          <ac:picMkLst>
            <pc:docMk/>
            <pc:sldMk cId="3089660754" sldId="2147475427"/>
            <ac:picMk id="10" creationId="{C10BACD0-D6AB-C9DF-20B5-F2C96FC249F2}"/>
          </ac:picMkLst>
        </pc:picChg>
        <pc:picChg chg="add mod">
          <ac:chgData name="Andrey Zinovyev" userId="f09cd489-6cfc-40d6-999c-d5b535fbcc48" providerId="ADAL" clId="{01372312-C7F5-460B-B0C4-2503A1E78F47}" dt="2024-09-01T12:39:19.660" v="57" actId="1076"/>
          <ac:picMkLst>
            <pc:docMk/>
            <pc:sldMk cId="3089660754" sldId="2147475427"/>
            <ac:picMk id="12" creationId="{FF0895A9-9988-6D84-FA81-D7E3CA92C0F0}"/>
          </ac:picMkLst>
        </pc:picChg>
        <pc:picChg chg="add mod">
          <ac:chgData name="Andrey Zinovyev" userId="f09cd489-6cfc-40d6-999c-d5b535fbcc48" providerId="ADAL" clId="{01372312-C7F5-460B-B0C4-2503A1E78F47}" dt="2024-09-01T12:39:12.244" v="53" actId="1076"/>
          <ac:picMkLst>
            <pc:docMk/>
            <pc:sldMk cId="3089660754" sldId="2147475427"/>
            <ac:picMk id="14" creationId="{270D06F8-5658-9B13-5DF1-4F49A52E62BF}"/>
          </ac:picMkLst>
        </pc:picChg>
        <pc:picChg chg="add mod">
          <ac:chgData name="Andrey Zinovyev" userId="f09cd489-6cfc-40d6-999c-d5b535fbcc48" providerId="ADAL" clId="{01372312-C7F5-460B-B0C4-2503A1E78F47}" dt="2024-09-01T12:39:23.937" v="60" actId="1076"/>
          <ac:picMkLst>
            <pc:docMk/>
            <pc:sldMk cId="3089660754" sldId="2147475427"/>
            <ac:picMk id="16" creationId="{C9703B3E-5239-BB37-53C6-771AABC5EBA3}"/>
          </ac:picMkLst>
        </pc:picChg>
      </pc:sldChg>
      <pc:sldChg chg="addSp delSp modSp new mod">
        <pc:chgData name="Andrey Zinovyev" userId="f09cd489-6cfc-40d6-999c-d5b535fbcc48" providerId="ADAL" clId="{01372312-C7F5-460B-B0C4-2503A1E78F47}" dt="2024-09-02T14:06:13.664" v="1706" actId="20577"/>
        <pc:sldMkLst>
          <pc:docMk/>
          <pc:sldMk cId="183637178" sldId="2147475428"/>
        </pc:sldMkLst>
        <pc:spChg chg="mod">
          <ac:chgData name="Andrey Zinovyev" userId="f09cd489-6cfc-40d6-999c-d5b535fbcc48" providerId="ADAL" clId="{01372312-C7F5-460B-B0C4-2503A1E78F47}" dt="2024-09-02T08:34:48.997" v="1680" actId="1076"/>
          <ac:spMkLst>
            <pc:docMk/>
            <pc:sldMk cId="183637178" sldId="2147475428"/>
            <ac:spMk id="2" creationId="{92D9C226-8240-7E06-7E9E-EEA93D83095F}"/>
          </ac:spMkLst>
        </pc:spChg>
        <pc:spChg chg="del">
          <ac:chgData name="Andrey Zinovyev" userId="f09cd489-6cfc-40d6-999c-d5b535fbcc48" providerId="ADAL" clId="{01372312-C7F5-460B-B0C4-2503A1E78F47}" dt="2024-09-01T12:42:54.516" v="164" actId="478"/>
          <ac:spMkLst>
            <pc:docMk/>
            <pc:sldMk cId="183637178" sldId="2147475428"/>
            <ac:spMk id="3" creationId="{F57B2ACB-8797-7B0A-5B29-2CEE7582BFA4}"/>
          </ac:spMkLst>
        </pc:spChg>
        <pc:spChg chg="mod">
          <ac:chgData name="Andrey Zinovyev" userId="f09cd489-6cfc-40d6-999c-d5b535fbcc48" providerId="ADAL" clId="{01372312-C7F5-460B-B0C4-2503A1E78F47}" dt="2024-09-02T14:06:13.664" v="1706" actId="20577"/>
          <ac:spMkLst>
            <pc:docMk/>
            <pc:sldMk cId="183637178" sldId="2147475428"/>
            <ac:spMk id="5" creationId="{6142D7EB-0DF0-0A03-8F1D-F791B096E260}"/>
          </ac:spMkLst>
        </pc:spChg>
        <pc:spChg chg="add mod">
          <ac:chgData name="Andrey Zinovyev" userId="f09cd489-6cfc-40d6-999c-d5b535fbcc48" providerId="ADAL" clId="{01372312-C7F5-460B-B0C4-2503A1E78F47}" dt="2024-09-01T12:47:30.299" v="241"/>
          <ac:spMkLst>
            <pc:docMk/>
            <pc:sldMk cId="183637178" sldId="2147475428"/>
            <ac:spMk id="10" creationId="{AF8F6F44-A1B9-1651-E829-2E07AD1D885D}"/>
          </ac:spMkLst>
        </pc:spChg>
        <pc:spChg chg="add del mod">
          <ac:chgData name="Andrey Zinovyev" userId="f09cd489-6cfc-40d6-999c-d5b535fbcc48" providerId="ADAL" clId="{01372312-C7F5-460B-B0C4-2503A1E78F47}" dt="2024-09-01T12:41:32.005" v="102"/>
          <ac:spMkLst>
            <pc:docMk/>
            <pc:sldMk cId="183637178" sldId="2147475428"/>
            <ac:spMk id="12" creationId="{6AF920A5-6756-98EF-4B87-151A5F1830B4}"/>
          </ac:spMkLst>
        </pc:spChg>
        <pc:spChg chg="add mod">
          <ac:chgData name="Andrey Zinovyev" userId="f09cd489-6cfc-40d6-999c-d5b535fbcc48" providerId="ADAL" clId="{01372312-C7F5-460B-B0C4-2503A1E78F47}" dt="2024-09-01T12:46:27.291" v="234" actId="20577"/>
          <ac:spMkLst>
            <pc:docMk/>
            <pc:sldMk cId="183637178" sldId="2147475428"/>
            <ac:spMk id="15" creationId="{EEBFC5F4-905B-DFEC-A557-BE237C6A9441}"/>
          </ac:spMkLst>
        </pc:spChg>
        <pc:spChg chg="add mod">
          <ac:chgData name="Andrey Zinovyev" userId="f09cd489-6cfc-40d6-999c-d5b535fbcc48" providerId="ADAL" clId="{01372312-C7F5-460B-B0C4-2503A1E78F47}" dt="2024-09-01T12:47:43.197" v="270" actId="20577"/>
          <ac:spMkLst>
            <pc:docMk/>
            <pc:sldMk cId="183637178" sldId="2147475428"/>
            <ac:spMk id="16" creationId="{B9FA07B3-7B06-26A9-514E-14271FC079BE}"/>
          </ac:spMkLst>
        </pc:spChg>
        <pc:spChg chg="add mod">
          <ac:chgData name="Andrey Zinovyev" userId="f09cd489-6cfc-40d6-999c-d5b535fbcc48" providerId="ADAL" clId="{01372312-C7F5-460B-B0C4-2503A1E78F47}" dt="2024-09-01T12:43:46.842" v="179"/>
          <ac:spMkLst>
            <pc:docMk/>
            <pc:sldMk cId="183637178" sldId="2147475428"/>
            <ac:spMk id="17" creationId="{CC5F7D71-FAAD-E9F2-7816-BC873AE96642}"/>
          </ac:spMkLst>
        </pc:spChg>
        <pc:spChg chg="add mod">
          <ac:chgData name="Andrey Zinovyev" userId="f09cd489-6cfc-40d6-999c-d5b535fbcc48" providerId="ADAL" clId="{01372312-C7F5-460B-B0C4-2503A1E78F47}" dt="2024-09-01T12:44:03.211" v="183" actId="1076"/>
          <ac:spMkLst>
            <pc:docMk/>
            <pc:sldMk cId="183637178" sldId="2147475428"/>
            <ac:spMk id="19" creationId="{3915FC58-906A-BC39-D87F-23A03B17D44B}"/>
          </ac:spMkLst>
        </pc:spChg>
        <pc:spChg chg="add mod">
          <ac:chgData name="Andrey Zinovyev" userId="f09cd489-6cfc-40d6-999c-d5b535fbcc48" providerId="ADAL" clId="{01372312-C7F5-460B-B0C4-2503A1E78F47}" dt="2024-09-01T12:47:53.360" v="271" actId="1076"/>
          <ac:spMkLst>
            <pc:docMk/>
            <pc:sldMk cId="183637178" sldId="2147475428"/>
            <ac:spMk id="24" creationId="{2E20E0E6-C7EE-441F-5862-DBF911803E76}"/>
          </ac:spMkLst>
        </pc:spChg>
        <pc:spChg chg="add mod">
          <ac:chgData name="Andrey Zinovyev" userId="f09cd489-6cfc-40d6-999c-d5b535fbcc48" providerId="ADAL" clId="{01372312-C7F5-460B-B0C4-2503A1E78F47}" dt="2024-09-01T12:47:53.360" v="271" actId="1076"/>
          <ac:spMkLst>
            <pc:docMk/>
            <pc:sldMk cId="183637178" sldId="2147475428"/>
            <ac:spMk id="25" creationId="{C26DC069-6DCB-F34D-04E2-7E66B137015E}"/>
          </ac:spMkLst>
        </pc:spChg>
        <pc:spChg chg="add mod">
          <ac:chgData name="Andrey Zinovyev" userId="f09cd489-6cfc-40d6-999c-d5b535fbcc48" providerId="ADAL" clId="{01372312-C7F5-460B-B0C4-2503A1E78F47}" dt="2024-09-01T12:47:39.991" v="268" actId="1037"/>
          <ac:spMkLst>
            <pc:docMk/>
            <pc:sldMk cId="183637178" sldId="2147475428"/>
            <ac:spMk id="26" creationId="{4877EB30-8BB0-E936-4EAF-5686AABB837D}"/>
          </ac:spMkLst>
        </pc:spChg>
        <pc:spChg chg="add mod">
          <ac:chgData name="Andrey Zinovyev" userId="f09cd489-6cfc-40d6-999c-d5b535fbcc48" providerId="ADAL" clId="{01372312-C7F5-460B-B0C4-2503A1E78F47}" dt="2024-09-01T12:47:39.991" v="268" actId="1037"/>
          <ac:spMkLst>
            <pc:docMk/>
            <pc:sldMk cId="183637178" sldId="2147475428"/>
            <ac:spMk id="27" creationId="{09C0ACDA-D045-DEE9-57F8-63AD97B77211}"/>
          </ac:spMkLst>
        </pc:spChg>
        <pc:spChg chg="add mod">
          <ac:chgData name="Andrey Zinovyev" userId="f09cd489-6cfc-40d6-999c-d5b535fbcc48" providerId="ADAL" clId="{01372312-C7F5-460B-B0C4-2503A1E78F47}" dt="2024-09-01T12:48:53.823" v="284"/>
          <ac:spMkLst>
            <pc:docMk/>
            <pc:sldMk cId="183637178" sldId="2147475428"/>
            <ac:spMk id="30" creationId="{4102F7DE-E868-B7A4-C729-EC273422326B}"/>
          </ac:spMkLst>
        </pc:spChg>
        <pc:spChg chg="add mod">
          <ac:chgData name="Andrey Zinovyev" userId="f09cd489-6cfc-40d6-999c-d5b535fbcc48" providerId="ADAL" clId="{01372312-C7F5-460B-B0C4-2503A1E78F47}" dt="2024-09-01T12:48:05.439" v="276" actId="20577"/>
          <ac:spMkLst>
            <pc:docMk/>
            <pc:sldMk cId="183637178" sldId="2147475428"/>
            <ac:spMk id="31" creationId="{67CA5092-23CC-3CA8-BD65-7E8687AA9DF1}"/>
          </ac:spMkLst>
        </pc:spChg>
        <pc:picChg chg="add mod">
          <ac:chgData name="Andrey Zinovyev" userId="f09cd489-6cfc-40d6-999c-d5b535fbcc48" providerId="ADAL" clId="{01372312-C7F5-460B-B0C4-2503A1E78F47}" dt="2024-09-01T12:47:39.991" v="268" actId="1037"/>
          <ac:picMkLst>
            <pc:docMk/>
            <pc:sldMk cId="183637178" sldId="2147475428"/>
            <ac:picMk id="8" creationId="{21597C74-5DF7-9E36-1CCF-21D88E1FB52C}"/>
          </ac:picMkLst>
        </pc:picChg>
        <pc:picChg chg="add mod">
          <ac:chgData name="Andrey Zinovyev" userId="f09cd489-6cfc-40d6-999c-d5b535fbcc48" providerId="ADAL" clId="{01372312-C7F5-460B-B0C4-2503A1E78F47}" dt="2024-09-01T12:47:39.991" v="268" actId="1037"/>
          <ac:picMkLst>
            <pc:docMk/>
            <pc:sldMk cId="183637178" sldId="2147475428"/>
            <ac:picMk id="14" creationId="{B02F01DF-E8B6-10F3-CDC3-8EA3BBC4DF0E}"/>
          </ac:picMkLst>
        </pc:picChg>
        <pc:picChg chg="add mod">
          <ac:chgData name="Andrey Zinovyev" userId="f09cd489-6cfc-40d6-999c-d5b535fbcc48" providerId="ADAL" clId="{01372312-C7F5-460B-B0C4-2503A1E78F47}" dt="2024-09-01T12:44:26.426" v="188" actId="1076"/>
          <ac:picMkLst>
            <pc:docMk/>
            <pc:sldMk cId="183637178" sldId="2147475428"/>
            <ac:picMk id="21" creationId="{D113163E-1FEC-0A1C-1AD6-DE531DC44383}"/>
          </ac:picMkLst>
        </pc:picChg>
        <pc:picChg chg="add mod">
          <ac:chgData name="Andrey Zinovyev" userId="f09cd489-6cfc-40d6-999c-d5b535fbcc48" providerId="ADAL" clId="{01372312-C7F5-460B-B0C4-2503A1E78F47}" dt="2024-09-01T12:44:53.604" v="193" actId="1076"/>
          <ac:picMkLst>
            <pc:docMk/>
            <pc:sldMk cId="183637178" sldId="2147475428"/>
            <ac:picMk id="23" creationId="{63101047-F226-5B9A-8612-25CEAA2CC68A}"/>
          </ac:picMkLst>
        </pc:picChg>
        <pc:picChg chg="add mod">
          <ac:chgData name="Andrey Zinovyev" userId="f09cd489-6cfc-40d6-999c-d5b535fbcc48" providerId="ADAL" clId="{01372312-C7F5-460B-B0C4-2503A1E78F47}" dt="2024-09-01T12:48:37.974" v="283" actId="1076"/>
          <ac:picMkLst>
            <pc:docMk/>
            <pc:sldMk cId="183637178" sldId="2147475428"/>
            <ac:picMk id="29" creationId="{D98A7D14-E3A8-0316-F1D1-67E21DDE39A8}"/>
          </ac:picMkLst>
        </pc:picChg>
        <pc:picChg chg="add mod">
          <ac:chgData name="Andrey Zinovyev" userId="f09cd489-6cfc-40d6-999c-d5b535fbcc48" providerId="ADAL" clId="{01372312-C7F5-460B-B0C4-2503A1E78F47}" dt="2024-09-01T12:48:35.786" v="282" actId="1076"/>
          <ac:picMkLst>
            <pc:docMk/>
            <pc:sldMk cId="183637178" sldId="2147475428"/>
            <ac:picMk id="33" creationId="{156B62E8-7B81-5A41-4C4E-BF75C11720E3}"/>
          </ac:picMkLst>
        </pc:picChg>
        <pc:picChg chg="add mod">
          <ac:chgData name="Andrey Zinovyev" userId="f09cd489-6cfc-40d6-999c-d5b535fbcc48" providerId="ADAL" clId="{01372312-C7F5-460B-B0C4-2503A1E78F47}" dt="2024-09-01T12:49:15.871" v="287" actId="1076"/>
          <ac:picMkLst>
            <pc:docMk/>
            <pc:sldMk cId="183637178" sldId="2147475428"/>
            <ac:picMk id="35" creationId="{EC75FD9D-CA9D-8678-8675-E25D454F4ACB}"/>
          </ac:picMkLst>
        </pc:picChg>
        <pc:picChg chg="add mod">
          <ac:chgData name="Andrey Zinovyev" userId="f09cd489-6cfc-40d6-999c-d5b535fbcc48" providerId="ADAL" clId="{01372312-C7F5-460B-B0C4-2503A1E78F47}" dt="2024-09-01T13:08:08.520" v="291" actId="14100"/>
          <ac:picMkLst>
            <pc:docMk/>
            <pc:sldMk cId="183637178" sldId="2147475428"/>
            <ac:picMk id="37" creationId="{9E5BD082-D18A-06EA-DB27-6458F2ACD7DF}"/>
          </ac:picMkLst>
        </pc:picChg>
        <pc:picChg chg="add mod">
          <ac:chgData name="Andrey Zinovyev" userId="f09cd489-6cfc-40d6-999c-d5b535fbcc48" providerId="ADAL" clId="{01372312-C7F5-460B-B0C4-2503A1E78F47}" dt="2024-09-01T13:08:47.113" v="296" actId="1076"/>
          <ac:picMkLst>
            <pc:docMk/>
            <pc:sldMk cId="183637178" sldId="2147475428"/>
            <ac:picMk id="39" creationId="{A7321C80-3AEC-A9B6-FE75-0767DB34008F}"/>
          </ac:picMkLst>
        </pc:picChg>
        <pc:picChg chg="add mod">
          <ac:chgData name="Andrey Zinovyev" userId="f09cd489-6cfc-40d6-999c-d5b535fbcc48" providerId="ADAL" clId="{01372312-C7F5-460B-B0C4-2503A1E78F47}" dt="2024-09-01T13:09:13.297" v="299" actId="1076"/>
          <ac:picMkLst>
            <pc:docMk/>
            <pc:sldMk cId="183637178" sldId="2147475428"/>
            <ac:picMk id="41" creationId="{D9AA038A-466F-4691-A42C-DAD70154AA0F}"/>
          </ac:picMkLst>
        </pc:picChg>
      </pc:sldChg>
      <pc:sldChg chg="addSp delSp modSp new mod ord">
        <pc:chgData name="Andrey Zinovyev" userId="f09cd489-6cfc-40d6-999c-d5b535fbcc48" providerId="ADAL" clId="{01372312-C7F5-460B-B0C4-2503A1E78F47}" dt="2024-09-02T08:45:03.670" v="1683" actId="20577"/>
        <pc:sldMkLst>
          <pc:docMk/>
          <pc:sldMk cId="2040612078" sldId="2147475429"/>
        </pc:sldMkLst>
        <pc:spChg chg="mod">
          <ac:chgData name="Andrey Zinovyev" userId="f09cd489-6cfc-40d6-999c-d5b535fbcc48" providerId="ADAL" clId="{01372312-C7F5-460B-B0C4-2503A1E78F47}" dt="2024-09-01T13:10:49.725" v="313" actId="20577"/>
          <ac:spMkLst>
            <pc:docMk/>
            <pc:sldMk cId="2040612078" sldId="2147475429"/>
            <ac:spMk id="2" creationId="{85E21E9E-6342-3B31-DB30-3A0A11104603}"/>
          </ac:spMkLst>
        </pc:spChg>
        <pc:spChg chg="del">
          <ac:chgData name="Andrey Zinovyev" userId="f09cd489-6cfc-40d6-999c-d5b535fbcc48" providerId="ADAL" clId="{01372312-C7F5-460B-B0C4-2503A1E78F47}" dt="2024-09-01T13:10:46.085" v="304" actId="478"/>
          <ac:spMkLst>
            <pc:docMk/>
            <pc:sldMk cId="2040612078" sldId="2147475429"/>
            <ac:spMk id="5" creationId="{1D0D56C2-6360-7FBF-91DF-6115099EE39F}"/>
          </ac:spMkLst>
        </pc:spChg>
        <pc:spChg chg="add mod">
          <ac:chgData name="Andrey Zinovyev" userId="f09cd489-6cfc-40d6-999c-d5b535fbcc48" providerId="ADAL" clId="{01372312-C7F5-460B-B0C4-2503A1E78F47}" dt="2024-09-02T08:45:03.670" v="1683" actId="20577"/>
          <ac:spMkLst>
            <pc:docMk/>
            <pc:sldMk cId="2040612078" sldId="2147475429"/>
            <ac:spMk id="12" creationId="{3B7615BA-D967-8DC4-64C8-9500E5BB7DB3}"/>
          </ac:spMkLst>
        </pc:spChg>
        <pc:picChg chg="add mod">
          <ac:chgData name="Andrey Zinovyev" userId="f09cd489-6cfc-40d6-999c-d5b535fbcc48" providerId="ADAL" clId="{01372312-C7F5-460B-B0C4-2503A1E78F47}" dt="2024-09-01T13:11:23.868" v="322" actId="1076"/>
          <ac:picMkLst>
            <pc:docMk/>
            <pc:sldMk cId="2040612078" sldId="2147475429"/>
            <ac:picMk id="8" creationId="{AD778126-BF70-158F-6874-AF5F6662B05D}"/>
          </ac:picMkLst>
        </pc:picChg>
        <pc:picChg chg="add mod">
          <ac:chgData name="Andrey Zinovyev" userId="f09cd489-6cfc-40d6-999c-d5b535fbcc48" providerId="ADAL" clId="{01372312-C7F5-460B-B0C4-2503A1E78F47}" dt="2024-09-01T13:11:23.868" v="322" actId="1076"/>
          <ac:picMkLst>
            <pc:docMk/>
            <pc:sldMk cId="2040612078" sldId="2147475429"/>
            <ac:picMk id="10" creationId="{7180D1EA-31C2-AF7C-D194-50E4C99C8F7D}"/>
          </ac:picMkLst>
        </pc:picChg>
      </pc:sldChg>
      <pc:sldChg chg="addSp delSp modSp new del mod">
        <pc:chgData name="Andrey Zinovyev" userId="f09cd489-6cfc-40d6-999c-d5b535fbcc48" providerId="ADAL" clId="{01372312-C7F5-460B-B0C4-2503A1E78F47}" dt="2024-09-01T13:30:06.741" v="1406" actId="47"/>
        <pc:sldMkLst>
          <pc:docMk/>
          <pc:sldMk cId="2107849716" sldId="2147475430"/>
        </pc:sldMkLst>
        <pc:spChg chg="del">
          <ac:chgData name="Andrey Zinovyev" userId="f09cd489-6cfc-40d6-999c-d5b535fbcc48" providerId="ADAL" clId="{01372312-C7F5-460B-B0C4-2503A1E78F47}" dt="2024-09-01T13:13:04.949" v="324" actId="478"/>
          <ac:spMkLst>
            <pc:docMk/>
            <pc:sldMk cId="2107849716" sldId="2147475430"/>
            <ac:spMk id="5" creationId="{9F7D75A9-CA93-DEFA-1EC9-8E22471DC865}"/>
          </ac:spMkLst>
        </pc:spChg>
        <pc:picChg chg="add del mod">
          <ac:chgData name="Andrey Zinovyev" userId="f09cd489-6cfc-40d6-999c-d5b535fbcc48" providerId="ADAL" clId="{01372312-C7F5-460B-B0C4-2503A1E78F47}" dt="2024-09-01T13:29:56.134" v="1402" actId="21"/>
          <ac:picMkLst>
            <pc:docMk/>
            <pc:sldMk cId="2107849716" sldId="2147475430"/>
            <ac:picMk id="8" creationId="{3FB8879A-B62D-F020-107D-59F2E43ED075}"/>
          </ac:picMkLst>
        </pc:picChg>
        <pc:cxnChg chg="add del">
          <ac:chgData name="Andrey Zinovyev" userId="f09cd489-6cfc-40d6-999c-d5b535fbcc48" providerId="ADAL" clId="{01372312-C7F5-460B-B0C4-2503A1E78F47}" dt="2024-09-01T13:29:56.134" v="1402" actId="21"/>
          <ac:cxnSpMkLst>
            <pc:docMk/>
            <pc:sldMk cId="2107849716" sldId="2147475430"/>
            <ac:cxnSpMk id="10" creationId="{54AFEC1F-FA04-BF45-936E-9ACF6049BD28}"/>
          </ac:cxnSpMkLst>
        </pc:cxnChg>
        <pc:cxnChg chg="add del mod">
          <ac:chgData name="Andrey Zinovyev" userId="f09cd489-6cfc-40d6-999c-d5b535fbcc48" providerId="ADAL" clId="{01372312-C7F5-460B-B0C4-2503A1E78F47}" dt="2024-09-01T13:29:56.134" v="1402" actId="21"/>
          <ac:cxnSpMkLst>
            <pc:docMk/>
            <pc:sldMk cId="2107849716" sldId="2147475430"/>
            <ac:cxnSpMk id="11" creationId="{932112BF-938B-4E78-4A2C-0E4650BB6D8E}"/>
          </ac:cxnSpMkLst>
        </pc:cxnChg>
        <pc:cxnChg chg="add del mod">
          <ac:chgData name="Andrey Zinovyev" userId="f09cd489-6cfc-40d6-999c-d5b535fbcc48" providerId="ADAL" clId="{01372312-C7F5-460B-B0C4-2503A1E78F47}" dt="2024-09-01T13:29:56.134" v="1402" actId="21"/>
          <ac:cxnSpMkLst>
            <pc:docMk/>
            <pc:sldMk cId="2107849716" sldId="2147475430"/>
            <ac:cxnSpMk id="13" creationId="{488BBA91-842E-BB32-4E89-EDAE9BF56620}"/>
          </ac:cxnSpMkLst>
        </pc:cxnChg>
      </pc:sldChg>
      <pc:sldChg chg="delSp modSp new del mod">
        <pc:chgData name="Andrey Zinovyev" userId="f09cd489-6cfc-40d6-999c-d5b535fbcc48" providerId="ADAL" clId="{01372312-C7F5-460B-B0C4-2503A1E78F47}" dt="2024-09-01T13:29:45.138" v="1401" actId="47"/>
        <pc:sldMkLst>
          <pc:docMk/>
          <pc:sldMk cId="3601874124" sldId="2147475431"/>
        </pc:sldMkLst>
        <pc:spChg chg="mod">
          <ac:chgData name="Andrey Zinovyev" userId="f09cd489-6cfc-40d6-999c-d5b535fbcc48" providerId="ADAL" clId="{01372312-C7F5-460B-B0C4-2503A1E78F47}" dt="2024-09-01T13:25:36.288" v="1000" actId="20577"/>
          <ac:spMkLst>
            <pc:docMk/>
            <pc:sldMk cId="3601874124" sldId="2147475431"/>
            <ac:spMk id="2" creationId="{11AE8614-F0E8-6575-09E9-69381CBC33DC}"/>
          </ac:spMkLst>
        </pc:spChg>
        <pc:spChg chg="del">
          <ac:chgData name="Andrey Zinovyev" userId="f09cd489-6cfc-40d6-999c-d5b535fbcc48" providerId="ADAL" clId="{01372312-C7F5-460B-B0C4-2503A1E78F47}" dt="2024-09-01T13:25:38.435" v="1001" actId="478"/>
          <ac:spMkLst>
            <pc:docMk/>
            <pc:sldMk cId="3601874124" sldId="2147475431"/>
            <ac:spMk id="5" creationId="{CAE82F61-7AF7-B646-02F3-ABD4AF993323}"/>
          </ac:spMkLst>
        </pc:spChg>
      </pc:sldChg>
      <pc:sldChg chg="addSp modSp new mod ord">
        <pc:chgData name="Andrey Zinovyev" userId="f09cd489-6cfc-40d6-999c-d5b535fbcc48" providerId="ADAL" clId="{01372312-C7F5-460B-B0C4-2503A1E78F47}" dt="2024-09-01T13:32:11.137" v="1679" actId="20577"/>
        <pc:sldMkLst>
          <pc:docMk/>
          <pc:sldMk cId="579254848" sldId="2147475432"/>
        </pc:sldMkLst>
        <pc:spChg chg="mod">
          <ac:chgData name="Andrey Zinovyev" userId="f09cd489-6cfc-40d6-999c-d5b535fbcc48" providerId="ADAL" clId="{01372312-C7F5-460B-B0C4-2503A1E78F47}" dt="2024-09-01T13:26:16.156" v="1063" actId="20577"/>
          <ac:spMkLst>
            <pc:docMk/>
            <pc:sldMk cId="579254848" sldId="2147475432"/>
            <ac:spMk id="2" creationId="{91D161F8-B893-5A0A-3D0F-505BE2E9AAD4}"/>
          </ac:spMkLst>
        </pc:spChg>
        <pc:spChg chg="mod">
          <ac:chgData name="Andrey Zinovyev" userId="f09cd489-6cfc-40d6-999c-d5b535fbcc48" providerId="ADAL" clId="{01372312-C7F5-460B-B0C4-2503A1E78F47}" dt="2024-09-01T13:32:11.137" v="1679" actId="20577"/>
          <ac:spMkLst>
            <pc:docMk/>
            <pc:sldMk cId="579254848" sldId="2147475432"/>
            <ac:spMk id="5" creationId="{3A38AFAD-F5A5-15B9-8A47-41D8CAD28215}"/>
          </ac:spMkLst>
        </pc:spChg>
        <pc:picChg chg="add mod">
          <ac:chgData name="Andrey Zinovyev" userId="f09cd489-6cfc-40d6-999c-d5b535fbcc48" providerId="ADAL" clId="{01372312-C7F5-460B-B0C4-2503A1E78F47}" dt="2024-09-01T13:30:03.689" v="1405" actId="1076"/>
          <ac:picMkLst>
            <pc:docMk/>
            <pc:sldMk cId="579254848" sldId="2147475432"/>
            <ac:picMk id="8" creationId="{3FB8879A-B62D-F020-107D-59F2E43ED075}"/>
          </ac:picMkLst>
        </pc:picChg>
        <pc:cxnChg chg="add mod">
          <ac:chgData name="Andrey Zinovyev" userId="f09cd489-6cfc-40d6-999c-d5b535fbcc48" providerId="ADAL" clId="{01372312-C7F5-460B-B0C4-2503A1E78F47}" dt="2024-09-01T13:30:03.689" v="1405" actId="1076"/>
          <ac:cxnSpMkLst>
            <pc:docMk/>
            <pc:sldMk cId="579254848" sldId="2147475432"/>
            <ac:cxnSpMk id="10" creationId="{54AFEC1F-FA04-BF45-936E-9ACF6049BD28}"/>
          </ac:cxnSpMkLst>
        </pc:cxnChg>
        <pc:cxnChg chg="add mod">
          <ac:chgData name="Andrey Zinovyev" userId="f09cd489-6cfc-40d6-999c-d5b535fbcc48" providerId="ADAL" clId="{01372312-C7F5-460B-B0C4-2503A1E78F47}" dt="2024-09-01T13:30:03.689" v="1405" actId="1076"/>
          <ac:cxnSpMkLst>
            <pc:docMk/>
            <pc:sldMk cId="579254848" sldId="2147475432"/>
            <ac:cxnSpMk id="11" creationId="{932112BF-938B-4E78-4A2C-0E4650BB6D8E}"/>
          </ac:cxnSpMkLst>
        </pc:cxnChg>
        <pc:cxnChg chg="add mod">
          <ac:chgData name="Andrey Zinovyev" userId="f09cd489-6cfc-40d6-999c-d5b535fbcc48" providerId="ADAL" clId="{01372312-C7F5-460B-B0C4-2503A1E78F47}" dt="2024-09-01T13:30:03.689" v="1405" actId="1076"/>
          <ac:cxnSpMkLst>
            <pc:docMk/>
            <pc:sldMk cId="579254848" sldId="2147475432"/>
            <ac:cxnSpMk id="13" creationId="{488BBA91-842E-BB32-4E89-EDAE9BF56620}"/>
          </ac:cxnSpMkLst>
        </pc:cxnChg>
      </pc:sldChg>
      <pc:sldChg chg="addSp delSp modSp new mod">
        <pc:chgData name="Andrey Zinovyev" userId="f09cd489-6cfc-40d6-999c-d5b535fbcc48" providerId="ADAL" clId="{01372312-C7F5-460B-B0C4-2503A1E78F47}" dt="2024-09-02T14:17:19.698" v="1751"/>
        <pc:sldMkLst>
          <pc:docMk/>
          <pc:sldMk cId="1176819349" sldId="2147475433"/>
        </pc:sldMkLst>
        <pc:spChg chg="mod">
          <ac:chgData name="Andrey Zinovyev" userId="f09cd489-6cfc-40d6-999c-d5b535fbcc48" providerId="ADAL" clId="{01372312-C7F5-460B-B0C4-2503A1E78F47}" dt="2024-09-02T14:14:53.789" v="1737" actId="20577"/>
          <ac:spMkLst>
            <pc:docMk/>
            <pc:sldMk cId="1176819349" sldId="2147475433"/>
            <ac:spMk id="2" creationId="{FADFF249-800D-CFE7-DEF0-55DC0E35D5D0}"/>
          </ac:spMkLst>
        </pc:spChg>
        <pc:spChg chg="mod">
          <ac:chgData name="Andrey Zinovyev" userId="f09cd489-6cfc-40d6-999c-d5b535fbcc48" providerId="ADAL" clId="{01372312-C7F5-460B-B0C4-2503A1E78F47}" dt="2024-09-02T14:17:19.698" v="1751"/>
          <ac:spMkLst>
            <pc:docMk/>
            <pc:sldMk cId="1176819349" sldId="2147475433"/>
            <ac:spMk id="3" creationId="{C4E1685E-35E0-E23F-721D-98B4F5F7633D}"/>
          </ac:spMkLst>
        </pc:spChg>
        <pc:spChg chg="del">
          <ac:chgData name="Andrey Zinovyev" userId="f09cd489-6cfc-40d6-999c-d5b535fbcc48" providerId="ADAL" clId="{01372312-C7F5-460B-B0C4-2503A1E78F47}" dt="2024-09-02T14:14:56.212" v="1738" actId="478"/>
          <ac:spMkLst>
            <pc:docMk/>
            <pc:sldMk cId="1176819349" sldId="2147475433"/>
            <ac:spMk id="5" creationId="{58274E18-ED19-CBB8-CF73-A090310781A5}"/>
          </ac:spMkLst>
        </pc:spChg>
        <pc:picChg chg="add del">
          <ac:chgData name="Andrey Zinovyev" userId="f09cd489-6cfc-40d6-999c-d5b535fbcc48" providerId="ADAL" clId="{01372312-C7F5-460B-B0C4-2503A1E78F47}" dt="2024-09-02T14:14:59.026" v="1740" actId="22"/>
          <ac:picMkLst>
            <pc:docMk/>
            <pc:sldMk cId="1176819349" sldId="2147475433"/>
            <ac:picMk id="8" creationId="{212FBB7C-4E05-0276-F1D3-C0258477EF4E}"/>
          </ac:picMkLst>
        </pc:picChg>
        <pc:picChg chg="add mod">
          <ac:chgData name="Andrey Zinovyev" userId="f09cd489-6cfc-40d6-999c-d5b535fbcc48" providerId="ADAL" clId="{01372312-C7F5-460B-B0C4-2503A1E78F47}" dt="2024-09-02T14:17:10.452" v="1749" actId="14100"/>
          <ac:picMkLst>
            <pc:docMk/>
            <pc:sldMk cId="1176819349" sldId="2147475433"/>
            <ac:picMk id="10" creationId="{D0C926D4-F2D1-DD51-6C6E-1EA8BD65B19D}"/>
          </ac:picMkLst>
        </pc:picChg>
        <pc:picChg chg="add mod modCrop">
          <ac:chgData name="Andrey Zinovyev" userId="f09cd489-6cfc-40d6-999c-d5b535fbcc48" providerId="ADAL" clId="{01372312-C7F5-460B-B0C4-2503A1E78F47}" dt="2024-09-02T14:17:13.300" v="1750" actId="14100"/>
          <ac:picMkLst>
            <pc:docMk/>
            <pc:sldMk cId="1176819349" sldId="2147475433"/>
            <ac:picMk id="12" creationId="{DD9F6861-55B7-497A-FB9C-CAC1F31C8F0C}"/>
          </ac:picMkLst>
        </pc:picChg>
      </pc:sldChg>
      <pc:sldMasterChg chg="delSldLayout">
        <pc:chgData name="Andrey Zinovyev" userId="f09cd489-6cfc-40d6-999c-d5b535fbcc48" providerId="ADAL" clId="{01372312-C7F5-460B-B0C4-2503A1E78F47}" dt="2024-09-01T12:27:04.599" v="1" actId="47"/>
        <pc:sldMasterMkLst>
          <pc:docMk/>
          <pc:sldMasterMk cId="3916043793" sldId="2147483660"/>
        </pc:sldMasterMkLst>
        <pc:sldLayoutChg chg="del">
          <pc:chgData name="Andrey Zinovyev" userId="f09cd489-6cfc-40d6-999c-d5b535fbcc48" providerId="ADAL" clId="{01372312-C7F5-460B-B0C4-2503A1E78F47}" dt="2024-09-01T12:27:04.599" v="1" actId="47"/>
          <pc:sldLayoutMkLst>
            <pc:docMk/>
            <pc:sldMasterMk cId="3916043793" sldId="2147483660"/>
            <pc:sldLayoutMk cId="2271667284" sldId="2147483743"/>
          </pc:sldLayoutMkLst>
        </pc:sldLayoutChg>
        <pc:sldLayoutChg chg="del">
          <pc:chgData name="Andrey Zinovyev" userId="f09cd489-6cfc-40d6-999c-d5b535fbcc48" providerId="ADAL" clId="{01372312-C7F5-460B-B0C4-2503A1E78F47}" dt="2024-09-01T12:27:04.599" v="1" actId="47"/>
          <pc:sldLayoutMkLst>
            <pc:docMk/>
            <pc:sldMasterMk cId="3916043793" sldId="2147483660"/>
            <pc:sldLayoutMk cId="654128585" sldId="214748374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9BE23AF-0C31-4F2A-B5A4-EFDE46689EB8}" type="datetimeFigureOut">
              <a:rPr lang="en-US" smtClean="0"/>
              <a:pPr/>
              <a:t>9/2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Formatvorlagen des Textmasters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8573CE7-7896-4EFA-82BB-25863D8159F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9100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92FA54-A472-4D13-BDB8-E6C8DFCD1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603606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92FA54-A472-4D13-BDB8-E6C8DFCD1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E631821-7306-448E-8A38-74AD88398099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D3B1EE8-445D-4560-83D9-D22E50213D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4000" b="0" i="1" baseline="0" dirty="0" err="1">
              <a:solidFill>
                <a:schemeClr val="bg2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4786" y="3150645"/>
            <a:ext cx="6268850" cy="323165"/>
          </a:xfrm>
          <a:prstGeom prst="rect">
            <a:avLst/>
          </a:prstGeom>
        </p:spPr>
        <p:txBody>
          <a:bodyPr vert="horz" anchor="t"/>
          <a:lstStyle>
            <a:lvl1pPr algn="l" rtl="0">
              <a:lnSpc>
                <a:spcPct val="100000"/>
              </a:lnSpc>
              <a:defRPr sz="21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Subtitle (if needed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99DA37-69AA-4A3D-B5F0-F8F995125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4787" y="1982378"/>
            <a:ext cx="6268850" cy="615553"/>
          </a:xfrm>
        </p:spPr>
        <p:txBody>
          <a:bodyPr anchor="b"/>
          <a:lstStyle>
            <a:lvl1pPr marL="0" indent="0" rtl="0">
              <a:buNone/>
              <a:defRPr sz="4000" b="0" i="1">
                <a:solidFill>
                  <a:schemeClr val="bg1"/>
                </a:solidFill>
                <a:latin typeface="+mn-lt"/>
              </a:defRPr>
            </a:lvl1pPr>
            <a:lvl2pPr marL="221500" indent="0">
              <a:buNone/>
              <a:defRPr sz="6285" b="1">
                <a:solidFill>
                  <a:schemeClr val="bg1"/>
                </a:solidFill>
                <a:latin typeface="+mj-lt"/>
              </a:defRPr>
            </a:lvl2pPr>
            <a:lvl3pPr marL="444994" indent="0">
              <a:buNone/>
              <a:defRPr sz="6285" b="1">
                <a:solidFill>
                  <a:schemeClr val="bg1"/>
                </a:solidFill>
                <a:latin typeface="+mj-lt"/>
              </a:defRPr>
            </a:lvl3pPr>
            <a:lvl4pPr marL="1900476" indent="0">
              <a:buNone/>
              <a:defRPr sz="6285" b="1">
                <a:solidFill>
                  <a:schemeClr val="bg1"/>
                </a:solidFill>
                <a:latin typeface="+mj-lt"/>
              </a:defRPr>
            </a:lvl4pPr>
            <a:lvl5pPr marL="2533969" indent="0">
              <a:buNone/>
              <a:defRPr sz="6285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327" y="7061511"/>
            <a:ext cx="12663119" cy="200055"/>
          </a:xfrm>
          <a:prstGeom prst="rect">
            <a:avLst/>
          </a:prstGeom>
        </p:spPr>
        <p:txBody>
          <a:bodyPr anchor="ctr"/>
          <a:lstStyle>
            <a:lvl1pPr marL="0" indent="0" algn="l" rtl="0">
              <a:buNone/>
              <a:defRPr sz="1300">
                <a:solidFill>
                  <a:schemeClr val="bg1"/>
                </a:solidFill>
                <a:latin typeface="+mj-lt"/>
              </a:defRPr>
            </a:lvl1pPr>
            <a:lvl2pPr marL="633493" indent="0" algn="ctr">
              <a:buNone/>
              <a:defRPr sz="2772"/>
            </a:lvl2pPr>
            <a:lvl3pPr marL="1266984" indent="0" algn="ctr">
              <a:buNone/>
              <a:defRPr sz="2494"/>
            </a:lvl3pPr>
            <a:lvl4pPr marL="1900477" indent="0" algn="ctr">
              <a:buNone/>
              <a:defRPr sz="2217"/>
            </a:lvl4pPr>
            <a:lvl5pPr marL="2533969" indent="0" algn="ctr">
              <a:buNone/>
              <a:defRPr sz="2217"/>
            </a:lvl5pPr>
            <a:lvl6pPr marL="3167462" indent="0" algn="ctr">
              <a:buNone/>
              <a:defRPr sz="2217"/>
            </a:lvl6pPr>
            <a:lvl7pPr marL="3800953" indent="0" algn="ctr">
              <a:buNone/>
              <a:defRPr sz="2217"/>
            </a:lvl7pPr>
            <a:lvl8pPr marL="4434446" indent="0" algn="ctr">
              <a:buNone/>
              <a:defRPr sz="2217"/>
            </a:lvl8pPr>
            <a:lvl9pPr marL="5067937" indent="0" algn="ctr">
              <a:buNone/>
              <a:defRPr sz="2217"/>
            </a:lvl9pPr>
          </a:lstStyle>
          <a:p>
            <a:r>
              <a:rPr lang="en-US" dirty="0"/>
              <a:t>Evotec SE, Place or Presentation title, Date (YYYY-MM-DD)</a:t>
            </a:r>
          </a:p>
        </p:txBody>
      </p:sp>
      <p:sp>
        <p:nvSpPr>
          <p:cNvPr id="19" name="Grafik 17">
            <a:extLst>
              <a:ext uri="{FF2B5EF4-FFF2-40B4-BE49-F238E27FC236}">
                <a16:creationId xmlns:a16="http://schemas.microsoft.com/office/drawing/2014/main" id="{A459FD5D-9A83-431E-97E6-82FCF63073C2}"/>
              </a:ext>
            </a:extLst>
          </p:cNvPr>
          <p:cNvSpPr>
            <a:spLocks noChangeAspect="1"/>
          </p:cNvSpPr>
          <p:nvPr/>
        </p:nvSpPr>
        <p:spPr>
          <a:xfrm>
            <a:off x="10928350" y="583611"/>
            <a:ext cx="2125663" cy="358539"/>
          </a:xfrm>
          <a:custGeom>
            <a:avLst/>
            <a:gdLst>
              <a:gd name="connsiteX0" fmla="*/ 432263 w 6837827"/>
              <a:gd name="connsiteY0" fmla="*/ 777449 h 1153348"/>
              <a:gd name="connsiteX1" fmla="*/ 411264 w 6837827"/>
              <a:gd name="connsiteY1" fmla="*/ 771569 h 1153348"/>
              <a:gd name="connsiteX2" fmla="*/ 386065 w 6837827"/>
              <a:gd name="connsiteY2" fmla="*/ 771569 h 1153348"/>
              <a:gd name="connsiteX3" fmla="*/ 360026 w 6837827"/>
              <a:gd name="connsiteY3" fmla="*/ 774929 h 1153348"/>
              <a:gd name="connsiteX4" fmla="*/ 336507 w 6837827"/>
              <a:gd name="connsiteY4" fmla="*/ 779129 h 1153348"/>
              <a:gd name="connsiteX5" fmla="*/ 318028 w 6837827"/>
              <a:gd name="connsiteY5" fmla="*/ 782069 h 1153348"/>
              <a:gd name="connsiteX6" fmla="*/ 320548 w 6837827"/>
              <a:gd name="connsiteY6" fmla="*/ 761070 h 1153348"/>
              <a:gd name="connsiteX7" fmla="*/ 327687 w 6837827"/>
              <a:gd name="connsiteY7" fmla="*/ 734611 h 1153348"/>
              <a:gd name="connsiteX8" fmla="*/ 335667 w 6837827"/>
              <a:gd name="connsiteY8" fmla="*/ 706472 h 1153348"/>
              <a:gd name="connsiteX9" fmla="*/ 341127 w 6837827"/>
              <a:gd name="connsiteY9" fmla="*/ 679593 h 1153348"/>
              <a:gd name="connsiteX10" fmla="*/ 341547 w 6837827"/>
              <a:gd name="connsiteY10" fmla="*/ 656494 h 1153348"/>
              <a:gd name="connsiteX11" fmla="*/ 333987 w 6837827"/>
              <a:gd name="connsiteY11" fmla="*/ 640955 h 1153348"/>
              <a:gd name="connsiteX12" fmla="*/ 312988 w 6837827"/>
              <a:gd name="connsiteY12" fmla="*/ 632555 h 1153348"/>
              <a:gd name="connsiteX13" fmla="*/ 290729 w 6837827"/>
              <a:gd name="connsiteY13" fmla="*/ 633395 h 1153348"/>
              <a:gd name="connsiteX14" fmla="*/ 278549 w 6837827"/>
              <a:gd name="connsiteY14" fmla="*/ 643055 h 1153348"/>
              <a:gd name="connsiteX15" fmla="*/ 272250 w 6837827"/>
              <a:gd name="connsiteY15" fmla="*/ 659014 h 1153348"/>
              <a:gd name="connsiteX16" fmla="*/ 268890 w 6837827"/>
              <a:gd name="connsiteY16" fmla="*/ 676653 h 1153348"/>
              <a:gd name="connsiteX17" fmla="*/ 265950 w 6837827"/>
              <a:gd name="connsiteY17" fmla="*/ 691773 h 1153348"/>
              <a:gd name="connsiteX18" fmla="*/ 251251 w 6837827"/>
              <a:gd name="connsiteY18" fmla="*/ 745531 h 1153348"/>
              <a:gd name="connsiteX19" fmla="*/ 244111 w 6837827"/>
              <a:gd name="connsiteY19" fmla="*/ 800128 h 1153348"/>
              <a:gd name="connsiteX20" fmla="*/ 205053 w 6837827"/>
              <a:gd name="connsiteY20" fmla="*/ 808948 h 1153348"/>
              <a:gd name="connsiteX21" fmla="*/ 165994 w 6837827"/>
              <a:gd name="connsiteY21" fmla="*/ 818187 h 1153348"/>
              <a:gd name="connsiteX22" fmla="*/ 168514 w 6837827"/>
              <a:gd name="connsiteY22" fmla="*/ 786269 h 1153348"/>
              <a:gd name="connsiteX23" fmla="*/ 176494 w 6837827"/>
              <a:gd name="connsiteY23" fmla="*/ 756030 h 1153348"/>
              <a:gd name="connsiteX24" fmla="*/ 184053 w 6837827"/>
              <a:gd name="connsiteY24" fmla="*/ 725371 h 1153348"/>
              <a:gd name="connsiteX25" fmla="*/ 185313 w 6837827"/>
              <a:gd name="connsiteY25" fmla="*/ 691773 h 1153348"/>
              <a:gd name="connsiteX26" fmla="*/ 179014 w 6837827"/>
              <a:gd name="connsiteY26" fmla="*/ 675394 h 1153348"/>
              <a:gd name="connsiteX27" fmla="*/ 166414 w 6837827"/>
              <a:gd name="connsiteY27" fmla="*/ 666154 h 1153348"/>
              <a:gd name="connsiteX28" fmla="*/ 151295 w 6837827"/>
              <a:gd name="connsiteY28" fmla="*/ 664894 h 1153348"/>
              <a:gd name="connsiteX29" fmla="*/ 137016 w 6837827"/>
              <a:gd name="connsiteY29" fmla="*/ 674134 h 1153348"/>
              <a:gd name="connsiteX30" fmla="*/ 129036 w 6837827"/>
              <a:gd name="connsiteY30" fmla="*/ 690933 h 1153348"/>
              <a:gd name="connsiteX31" fmla="*/ 123156 w 6837827"/>
              <a:gd name="connsiteY31" fmla="*/ 708992 h 1153348"/>
              <a:gd name="connsiteX32" fmla="*/ 112237 w 6837827"/>
              <a:gd name="connsiteY32" fmla="*/ 738391 h 1153348"/>
              <a:gd name="connsiteX33" fmla="*/ 107197 w 6837827"/>
              <a:gd name="connsiteY33" fmla="*/ 770729 h 1153348"/>
              <a:gd name="connsiteX34" fmla="*/ 103417 w 6837827"/>
              <a:gd name="connsiteY34" fmla="*/ 803068 h 1153348"/>
              <a:gd name="connsiteX35" fmla="*/ 95437 w 6837827"/>
              <a:gd name="connsiteY35" fmla="*/ 832467 h 1153348"/>
              <a:gd name="connsiteX36" fmla="*/ 74858 w 6837827"/>
              <a:gd name="connsiteY36" fmla="*/ 835407 h 1153348"/>
              <a:gd name="connsiteX37" fmla="*/ 53859 w 6837827"/>
              <a:gd name="connsiteY37" fmla="*/ 838767 h 1153348"/>
              <a:gd name="connsiteX38" fmla="*/ 32020 w 6837827"/>
              <a:gd name="connsiteY38" fmla="*/ 845906 h 1153348"/>
              <a:gd name="connsiteX39" fmla="*/ 21100 w 6837827"/>
              <a:gd name="connsiteY39" fmla="*/ 858506 h 1153348"/>
              <a:gd name="connsiteX40" fmla="*/ 19841 w 6837827"/>
              <a:gd name="connsiteY40" fmla="*/ 874465 h 1153348"/>
              <a:gd name="connsiteX41" fmla="*/ 26980 w 6837827"/>
              <a:gd name="connsiteY41" fmla="*/ 891684 h 1153348"/>
              <a:gd name="connsiteX42" fmla="*/ 38320 w 6837827"/>
              <a:gd name="connsiteY42" fmla="*/ 901764 h 1153348"/>
              <a:gd name="connsiteX43" fmla="*/ 54279 w 6837827"/>
              <a:gd name="connsiteY43" fmla="*/ 905544 h 1153348"/>
              <a:gd name="connsiteX44" fmla="*/ 71078 w 6837827"/>
              <a:gd name="connsiteY44" fmla="*/ 905544 h 1153348"/>
              <a:gd name="connsiteX45" fmla="*/ 85358 w 6837827"/>
              <a:gd name="connsiteY45" fmla="*/ 903864 h 1153348"/>
              <a:gd name="connsiteX46" fmla="*/ 76538 w 6837827"/>
              <a:gd name="connsiteY46" fmla="*/ 947542 h 1153348"/>
              <a:gd name="connsiteX47" fmla="*/ 69398 w 6837827"/>
              <a:gd name="connsiteY47" fmla="*/ 989960 h 1153348"/>
              <a:gd name="connsiteX48" fmla="*/ 49659 w 6837827"/>
              <a:gd name="connsiteY48" fmla="*/ 995420 h 1153348"/>
              <a:gd name="connsiteX49" fmla="*/ 29920 w 6837827"/>
              <a:gd name="connsiteY49" fmla="*/ 1000880 h 1153348"/>
              <a:gd name="connsiteX50" fmla="*/ 16061 w 6837827"/>
              <a:gd name="connsiteY50" fmla="*/ 1007179 h 1153348"/>
              <a:gd name="connsiteX51" fmla="*/ 5141 w 6837827"/>
              <a:gd name="connsiteY51" fmla="*/ 1016419 h 1153348"/>
              <a:gd name="connsiteX52" fmla="*/ 101 w 6837827"/>
              <a:gd name="connsiteY52" fmla="*/ 1028598 h 1153348"/>
              <a:gd name="connsiteX53" fmla="*/ 3461 w 6837827"/>
              <a:gd name="connsiteY53" fmla="*/ 1043718 h 1153348"/>
              <a:gd name="connsiteX54" fmla="*/ 27820 w 6837827"/>
              <a:gd name="connsiteY54" fmla="*/ 1064717 h 1153348"/>
              <a:gd name="connsiteX55" fmla="*/ 60999 w 6837827"/>
              <a:gd name="connsiteY55" fmla="*/ 1066397 h 1153348"/>
              <a:gd name="connsiteX56" fmla="*/ 56379 w 6837827"/>
              <a:gd name="connsiteY56" fmla="*/ 1099155 h 1153348"/>
              <a:gd name="connsiteX57" fmla="*/ 58479 w 6837827"/>
              <a:gd name="connsiteY57" fmla="*/ 1131074 h 1153348"/>
              <a:gd name="connsiteX58" fmla="*/ 79898 w 6837827"/>
              <a:gd name="connsiteY58" fmla="*/ 1151653 h 1153348"/>
              <a:gd name="connsiteX59" fmla="*/ 107617 w 6837827"/>
              <a:gd name="connsiteY59" fmla="*/ 1147033 h 1153348"/>
              <a:gd name="connsiteX60" fmla="*/ 119796 w 6837827"/>
              <a:gd name="connsiteY60" fmla="*/ 1130234 h 1153348"/>
              <a:gd name="connsiteX61" fmla="*/ 124836 w 6837827"/>
              <a:gd name="connsiteY61" fmla="*/ 1106715 h 1153348"/>
              <a:gd name="connsiteX62" fmla="*/ 126096 w 6837827"/>
              <a:gd name="connsiteY62" fmla="*/ 1081516 h 1153348"/>
              <a:gd name="connsiteX63" fmla="*/ 126096 w 6837827"/>
              <a:gd name="connsiteY63" fmla="*/ 1060097 h 1153348"/>
              <a:gd name="connsiteX64" fmla="*/ 166414 w 6837827"/>
              <a:gd name="connsiteY64" fmla="*/ 1049598 h 1153348"/>
              <a:gd name="connsiteX65" fmla="*/ 207152 w 6837827"/>
              <a:gd name="connsiteY65" fmla="*/ 1041198 h 1153348"/>
              <a:gd name="connsiteX66" fmla="*/ 205473 w 6837827"/>
              <a:gd name="connsiteY66" fmla="*/ 1057157 h 1153348"/>
              <a:gd name="connsiteX67" fmla="*/ 206733 w 6837827"/>
              <a:gd name="connsiteY67" fmla="*/ 1076056 h 1153348"/>
              <a:gd name="connsiteX68" fmla="*/ 209672 w 6837827"/>
              <a:gd name="connsiteY68" fmla="*/ 1095375 h 1153348"/>
              <a:gd name="connsiteX69" fmla="*/ 212612 w 6837827"/>
              <a:gd name="connsiteY69" fmla="*/ 1111755 h 1153348"/>
              <a:gd name="connsiteX70" fmla="*/ 224792 w 6837827"/>
              <a:gd name="connsiteY70" fmla="*/ 1132754 h 1153348"/>
              <a:gd name="connsiteX71" fmla="*/ 246211 w 6837827"/>
              <a:gd name="connsiteY71" fmla="*/ 1136954 h 1153348"/>
              <a:gd name="connsiteX72" fmla="*/ 268050 w 6837827"/>
              <a:gd name="connsiteY72" fmla="*/ 1129814 h 1153348"/>
              <a:gd name="connsiteX73" fmla="*/ 281489 w 6837827"/>
              <a:gd name="connsiteY73" fmla="*/ 1116375 h 1153348"/>
              <a:gd name="connsiteX74" fmla="*/ 284429 w 6837827"/>
              <a:gd name="connsiteY74" fmla="*/ 1094116 h 1153348"/>
              <a:gd name="connsiteX75" fmla="*/ 281069 w 6837827"/>
              <a:gd name="connsiteY75" fmla="*/ 1069757 h 1153348"/>
              <a:gd name="connsiteX76" fmla="*/ 276450 w 6837827"/>
              <a:gd name="connsiteY76" fmla="*/ 1045398 h 1153348"/>
              <a:gd name="connsiteX77" fmla="*/ 274770 w 6837827"/>
              <a:gd name="connsiteY77" fmla="*/ 1023979 h 1153348"/>
              <a:gd name="connsiteX78" fmla="*/ 297029 w 6837827"/>
              <a:gd name="connsiteY78" fmla="*/ 1015999 h 1153348"/>
              <a:gd name="connsiteX79" fmla="*/ 323068 w 6837827"/>
              <a:gd name="connsiteY79" fmla="*/ 1010539 h 1153348"/>
              <a:gd name="connsiteX80" fmla="*/ 348266 w 6837827"/>
              <a:gd name="connsiteY80" fmla="*/ 1004659 h 1153348"/>
              <a:gd name="connsiteX81" fmla="*/ 367586 w 6837827"/>
              <a:gd name="connsiteY81" fmla="*/ 994580 h 1153348"/>
              <a:gd name="connsiteX82" fmla="*/ 375145 w 6837827"/>
              <a:gd name="connsiteY82" fmla="*/ 984080 h 1153348"/>
              <a:gd name="connsiteX83" fmla="*/ 378085 w 6837827"/>
              <a:gd name="connsiteY83" fmla="*/ 969801 h 1153348"/>
              <a:gd name="connsiteX84" fmla="*/ 376405 w 6837827"/>
              <a:gd name="connsiteY84" fmla="*/ 955522 h 1153348"/>
              <a:gd name="connsiteX85" fmla="*/ 369266 w 6837827"/>
              <a:gd name="connsiteY85" fmla="*/ 944182 h 1153348"/>
              <a:gd name="connsiteX86" fmla="*/ 350786 w 6837827"/>
              <a:gd name="connsiteY86" fmla="*/ 935362 h 1153348"/>
              <a:gd name="connsiteX87" fmla="*/ 327687 w 6837827"/>
              <a:gd name="connsiteY87" fmla="*/ 932842 h 1153348"/>
              <a:gd name="connsiteX88" fmla="*/ 304168 w 6837827"/>
              <a:gd name="connsiteY88" fmla="*/ 934522 h 1153348"/>
              <a:gd name="connsiteX89" fmla="*/ 285269 w 6837827"/>
              <a:gd name="connsiteY89" fmla="*/ 937462 h 1153348"/>
              <a:gd name="connsiteX90" fmla="*/ 290309 w 6837827"/>
              <a:gd name="connsiteY90" fmla="*/ 895464 h 1153348"/>
              <a:gd name="connsiteX91" fmla="*/ 298289 w 6837827"/>
              <a:gd name="connsiteY91" fmla="*/ 860186 h 1153348"/>
              <a:gd name="connsiteX92" fmla="*/ 357506 w 6837827"/>
              <a:gd name="connsiteY92" fmla="*/ 845906 h 1153348"/>
              <a:gd name="connsiteX93" fmla="*/ 417143 w 6837827"/>
              <a:gd name="connsiteY93" fmla="*/ 835827 h 1153348"/>
              <a:gd name="connsiteX94" fmla="*/ 430583 w 6837827"/>
              <a:gd name="connsiteY94" fmla="*/ 829947 h 1153348"/>
              <a:gd name="connsiteX95" fmla="*/ 441082 w 6837827"/>
              <a:gd name="connsiteY95" fmla="*/ 818187 h 1153348"/>
              <a:gd name="connsiteX96" fmla="*/ 446962 w 6837827"/>
              <a:gd name="connsiteY96" fmla="*/ 804328 h 1153348"/>
              <a:gd name="connsiteX97" fmla="*/ 445702 w 6837827"/>
              <a:gd name="connsiteY97" fmla="*/ 791309 h 1153348"/>
              <a:gd name="connsiteX98" fmla="*/ 432263 w 6837827"/>
              <a:gd name="connsiteY98" fmla="*/ 777449 h 1153348"/>
              <a:gd name="connsiteX99" fmla="*/ 142055 w 6837827"/>
              <a:gd name="connsiteY99" fmla="*/ 963081 h 1153348"/>
              <a:gd name="connsiteX100" fmla="*/ 146675 w 6837827"/>
              <a:gd name="connsiteY100" fmla="*/ 926963 h 1153348"/>
              <a:gd name="connsiteX101" fmla="*/ 151295 w 6837827"/>
              <a:gd name="connsiteY101" fmla="*/ 893364 h 1153348"/>
              <a:gd name="connsiteX102" fmla="*/ 189093 w 6837827"/>
              <a:gd name="connsiteY102" fmla="*/ 887905 h 1153348"/>
              <a:gd name="connsiteX103" fmla="*/ 226052 w 6837827"/>
              <a:gd name="connsiteY103" fmla="*/ 879505 h 1153348"/>
              <a:gd name="connsiteX104" fmla="*/ 218912 w 6837827"/>
              <a:gd name="connsiteY104" fmla="*/ 900504 h 1153348"/>
              <a:gd name="connsiteX105" fmla="*/ 215552 w 6837827"/>
              <a:gd name="connsiteY105" fmla="*/ 916043 h 1153348"/>
              <a:gd name="connsiteX106" fmla="*/ 213872 w 6837827"/>
              <a:gd name="connsiteY106" fmla="*/ 931163 h 1153348"/>
              <a:gd name="connsiteX107" fmla="*/ 212192 w 6837827"/>
              <a:gd name="connsiteY107" fmla="*/ 949222 h 1153348"/>
              <a:gd name="connsiteX108" fmla="*/ 175654 w 6837827"/>
              <a:gd name="connsiteY108" fmla="*/ 957202 h 1153348"/>
              <a:gd name="connsiteX109" fmla="*/ 141635 w 6837827"/>
              <a:gd name="connsiteY109" fmla="*/ 965181 h 1153348"/>
              <a:gd name="connsiteX110" fmla="*/ 142055 w 6837827"/>
              <a:gd name="connsiteY110" fmla="*/ 963081 h 1153348"/>
              <a:gd name="connsiteX111" fmla="*/ 674172 w 6837827"/>
              <a:gd name="connsiteY111" fmla="*/ 656914 h 1153348"/>
              <a:gd name="connsiteX112" fmla="*/ 667873 w 6837827"/>
              <a:gd name="connsiteY112" fmla="*/ 634235 h 1153348"/>
              <a:gd name="connsiteX113" fmla="*/ 653173 w 6837827"/>
              <a:gd name="connsiteY113" fmla="*/ 617016 h 1153348"/>
              <a:gd name="connsiteX114" fmla="*/ 630914 w 6837827"/>
              <a:gd name="connsiteY114" fmla="*/ 612396 h 1153348"/>
              <a:gd name="connsiteX115" fmla="*/ 604455 w 6837827"/>
              <a:gd name="connsiteY115" fmla="*/ 626676 h 1153348"/>
              <a:gd name="connsiteX116" fmla="*/ 591856 w 6837827"/>
              <a:gd name="connsiteY116" fmla="*/ 658594 h 1153348"/>
              <a:gd name="connsiteX117" fmla="*/ 586396 w 6837827"/>
              <a:gd name="connsiteY117" fmla="*/ 696813 h 1153348"/>
              <a:gd name="connsiteX118" fmla="*/ 580936 w 6837827"/>
              <a:gd name="connsiteY118" fmla="*/ 730831 h 1153348"/>
              <a:gd name="connsiteX119" fmla="*/ 572537 w 6837827"/>
              <a:gd name="connsiteY119" fmla="*/ 774509 h 1153348"/>
              <a:gd name="connsiteX120" fmla="*/ 567077 w 6837827"/>
              <a:gd name="connsiteY120" fmla="*/ 824907 h 1153348"/>
              <a:gd name="connsiteX121" fmla="*/ 559937 w 6837827"/>
              <a:gd name="connsiteY121" fmla="*/ 874465 h 1153348"/>
              <a:gd name="connsiteX122" fmla="*/ 546498 w 6837827"/>
              <a:gd name="connsiteY122" fmla="*/ 915623 h 1153348"/>
              <a:gd name="connsiteX123" fmla="*/ 542298 w 6837827"/>
              <a:gd name="connsiteY123" fmla="*/ 929903 h 1153348"/>
              <a:gd name="connsiteX124" fmla="*/ 538098 w 6837827"/>
              <a:gd name="connsiteY124" fmla="*/ 953422 h 1153348"/>
              <a:gd name="connsiteX125" fmla="*/ 534318 w 6837827"/>
              <a:gd name="connsiteY125" fmla="*/ 980720 h 1153348"/>
              <a:gd name="connsiteX126" fmla="*/ 531379 w 6837827"/>
              <a:gd name="connsiteY126" fmla="*/ 1007179 h 1153348"/>
              <a:gd name="connsiteX127" fmla="*/ 529279 w 6837827"/>
              <a:gd name="connsiteY127" fmla="*/ 1028178 h 1153348"/>
              <a:gd name="connsiteX128" fmla="*/ 528439 w 6837827"/>
              <a:gd name="connsiteY128" fmla="*/ 1039098 h 1153348"/>
              <a:gd name="connsiteX129" fmla="*/ 530959 w 6837827"/>
              <a:gd name="connsiteY129" fmla="*/ 1064297 h 1153348"/>
              <a:gd name="connsiteX130" fmla="*/ 540198 w 6837827"/>
              <a:gd name="connsiteY130" fmla="*/ 1094116 h 1153348"/>
              <a:gd name="connsiteX131" fmla="*/ 556577 w 6837827"/>
              <a:gd name="connsiteY131" fmla="*/ 1118054 h 1153348"/>
              <a:gd name="connsiteX132" fmla="*/ 578837 w 6837827"/>
              <a:gd name="connsiteY132" fmla="*/ 1126454 h 1153348"/>
              <a:gd name="connsiteX133" fmla="*/ 600256 w 6837827"/>
              <a:gd name="connsiteY133" fmla="*/ 1116375 h 1153348"/>
              <a:gd name="connsiteX134" fmla="*/ 612015 w 6837827"/>
              <a:gd name="connsiteY134" fmla="*/ 1094956 h 1153348"/>
              <a:gd name="connsiteX135" fmla="*/ 616635 w 6837827"/>
              <a:gd name="connsiteY135" fmla="*/ 1066817 h 1153348"/>
              <a:gd name="connsiteX136" fmla="*/ 617895 w 6837827"/>
              <a:gd name="connsiteY136" fmla="*/ 1036578 h 1153348"/>
              <a:gd name="connsiteX137" fmla="*/ 618315 w 6837827"/>
              <a:gd name="connsiteY137" fmla="*/ 1008859 h 1153348"/>
              <a:gd name="connsiteX138" fmla="*/ 620835 w 6837827"/>
              <a:gd name="connsiteY138" fmla="*/ 987440 h 1153348"/>
              <a:gd name="connsiteX139" fmla="*/ 630494 w 6837827"/>
              <a:gd name="connsiteY139" fmla="*/ 932423 h 1153348"/>
              <a:gd name="connsiteX140" fmla="*/ 639734 w 6837827"/>
              <a:gd name="connsiteY140" fmla="*/ 875725 h 1153348"/>
              <a:gd name="connsiteX141" fmla="*/ 646034 w 6837827"/>
              <a:gd name="connsiteY141" fmla="*/ 845906 h 1153348"/>
              <a:gd name="connsiteX142" fmla="*/ 652753 w 6837827"/>
              <a:gd name="connsiteY142" fmla="*/ 813148 h 1153348"/>
              <a:gd name="connsiteX143" fmla="*/ 663253 w 6837827"/>
              <a:gd name="connsiteY143" fmla="*/ 782489 h 1153348"/>
              <a:gd name="connsiteX144" fmla="*/ 679632 w 6837827"/>
              <a:gd name="connsiteY144" fmla="*/ 759390 h 1153348"/>
              <a:gd name="connsiteX145" fmla="*/ 696012 w 6837827"/>
              <a:gd name="connsiteY145" fmla="*/ 745111 h 1153348"/>
              <a:gd name="connsiteX146" fmla="*/ 718271 w 6837827"/>
              <a:gd name="connsiteY146" fmla="*/ 727051 h 1153348"/>
              <a:gd name="connsiteX147" fmla="*/ 742210 w 6837827"/>
              <a:gd name="connsiteY147" fmla="*/ 712352 h 1153348"/>
              <a:gd name="connsiteX148" fmla="*/ 762369 w 6837827"/>
              <a:gd name="connsiteY148" fmla="*/ 708152 h 1153348"/>
              <a:gd name="connsiteX149" fmla="*/ 771608 w 6837827"/>
              <a:gd name="connsiteY149" fmla="*/ 718232 h 1153348"/>
              <a:gd name="connsiteX150" fmla="*/ 766988 w 6837827"/>
              <a:gd name="connsiteY150" fmla="*/ 737551 h 1153348"/>
              <a:gd name="connsiteX151" fmla="*/ 753129 w 6837827"/>
              <a:gd name="connsiteY151" fmla="*/ 761490 h 1153348"/>
              <a:gd name="connsiteX152" fmla="*/ 735910 w 6837827"/>
              <a:gd name="connsiteY152" fmla="*/ 785429 h 1153348"/>
              <a:gd name="connsiteX153" fmla="*/ 720370 w 6837827"/>
              <a:gd name="connsiteY153" fmla="*/ 805168 h 1153348"/>
              <a:gd name="connsiteX154" fmla="*/ 710711 w 6837827"/>
              <a:gd name="connsiteY154" fmla="*/ 815247 h 1153348"/>
              <a:gd name="connsiteX155" fmla="*/ 690552 w 6837827"/>
              <a:gd name="connsiteY155" fmla="*/ 834987 h 1153348"/>
              <a:gd name="connsiteX156" fmla="*/ 675852 w 6837827"/>
              <a:gd name="connsiteY156" fmla="*/ 857246 h 1153348"/>
              <a:gd name="connsiteX157" fmla="*/ 673752 w 6837827"/>
              <a:gd name="connsiteY157" fmla="*/ 882025 h 1153348"/>
              <a:gd name="connsiteX158" fmla="*/ 690972 w 6837827"/>
              <a:gd name="connsiteY158" fmla="*/ 910164 h 1153348"/>
              <a:gd name="connsiteX159" fmla="*/ 722050 w 6837827"/>
              <a:gd name="connsiteY159" fmla="*/ 930742 h 1153348"/>
              <a:gd name="connsiteX160" fmla="*/ 763209 w 6837827"/>
              <a:gd name="connsiteY160" fmla="*/ 954681 h 1153348"/>
              <a:gd name="connsiteX161" fmla="*/ 803527 w 6837827"/>
              <a:gd name="connsiteY161" fmla="*/ 974001 h 1153348"/>
              <a:gd name="connsiteX162" fmla="*/ 831246 w 6837827"/>
              <a:gd name="connsiteY162" fmla="*/ 979880 h 1153348"/>
              <a:gd name="connsiteX163" fmla="*/ 882483 w 6837827"/>
              <a:gd name="connsiteY163" fmla="*/ 995000 h 1153348"/>
              <a:gd name="connsiteX164" fmla="*/ 936661 w 6837827"/>
              <a:gd name="connsiteY164" fmla="*/ 979880 h 1153348"/>
              <a:gd name="connsiteX165" fmla="*/ 945901 w 6837827"/>
              <a:gd name="connsiteY165" fmla="*/ 960141 h 1153348"/>
              <a:gd name="connsiteX166" fmla="*/ 940441 w 6837827"/>
              <a:gd name="connsiteY166" fmla="*/ 944182 h 1153348"/>
              <a:gd name="connsiteX167" fmla="*/ 924902 w 6837827"/>
              <a:gd name="connsiteY167" fmla="*/ 932003 h 1153348"/>
              <a:gd name="connsiteX168" fmla="*/ 904323 w 6837827"/>
              <a:gd name="connsiteY168" fmla="*/ 924863 h 1153348"/>
              <a:gd name="connsiteX169" fmla="*/ 887103 w 6837827"/>
              <a:gd name="connsiteY169" fmla="*/ 920663 h 1153348"/>
              <a:gd name="connsiteX170" fmla="*/ 861064 w 6837827"/>
              <a:gd name="connsiteY170" fmla="*/ 913523 h 1153348"/>
              <a:gd name="connsiteX171" fmla="*/ 831246 w 6837827"/>
              <a:gd name="connsiteY171" fmla="*/ 903864 h 1153348"/>
              <a:gd name="connsiteX172" fmla="*/ 803527 w 6837827"/>
              <a:gd name="connsiteY172" fmla="*/ 892944 h 1153348"/>
              <a:gd name="connsiteX173" fmla="*/ 782108 w 6837827"/>
              <a:gd name="connsiteY173" fmla="*/ 880345 h 1153348"/>
              <a:gd name="connsiteX174" fmla="*/ 772868 w 6837827"/>
              <a:gd name="connsiteY174" fmla="*/ 866485 h 1153348"/>
              <a:gd name="connsiteX175" fmla="*/ 783368 w 6837827"/>
              <a:gd name="connsiteY175" fmla="*/ 833307 h 1153348"/>
              <a:gd name="connsiteX176" fmla="*/ 810667 w 6837827"/>
              <a:gd name="connsiteY176" fmla="*/ 799708 h 1153348"/>
              <a:gd name="connsiteX177" fmla="*/ 837545 w 6837827"/>
              <a:gd name="connsiteY177" fmla="*/ 762750 h 1153348"/>
              <a:gd name="connsiteX178" fmla="*/ 847205 w 6837827"/>
              <a:gd name="connsiteY178" fmla="*/ 720332 h 1153348"/>
              <a:gd name="connsiteX179" fmla="*/ 838385 w 6837827"/>
              <a:gd name="connsiteY179" fmla="*/ 686313 h 1153348"/>
              <a:gd name="connsiteX180" fmla="*/ 820746 w 6837827"/>
              <a:gd name="connsiteY180" fmla="*/ 655234 h 1153348"/>
              <a:gd name="connsiteX181" fmla="*/ 796807 w 6837827"/>
              <a:gd name="connsiteY181" fmla="*/ 632975 h 1153348"/>
              <a:gd name="connsiteX182" fmla="*/ 769508 w 6837827"/>
              <a:gd name="connsiteY182" fmla="*/ 625416 h 1153348"/>
              <a:gd name="connsiteX183" fmla="*/ 731290 w 6837827"/>
              <a:gd name="connsiteY183" fmla="*/ 634655 h 1153348"/>
              <a:gd name="connsiteX184" fmla="*/ 708191 w 6837827"/>
              <a:gd name="connsiteY184" fmla="*/ 650615 h 1153348"/>
              <a:gd name="connsiteX185" fmla="*/ 691392 w 6837827"/>
              <a:gd name="connsiteY185" fmla="*/ 667414 h 1153348"/>
              <a:gd name="connsiteX186" fmla="*/ 672493 w 6837827"/>
              <a:gd name="connsiteY186" fmla="*/ 678333 h 1153348"/>
              <a:gd name="connsiteX187" fmla="*/ 674172 w 6837827"/>
              <a:gd name="connsiteY187" fmla="*/ 656914 h 1153348"/>
              <a:gd name="connsiteX188" fmla="*/ 1219729 w 6837827"/>
              <a:gd name="connsiteY188" fmla="*/ 678753 h 1153348"/>
              <a:gd name="connsiteX189" fmla="*/ 1233168 w 6837827"/>
              <a:gd name="connsiteY189" fmla="*/ 669934 h 1153348"/>
              <a:gd name="connsiteX190" fmla="*/ 1242408 w 6837827"/>
              <a:gd name="connsiteY190" fmla="*/ 657334 h 1153348"/>
              <a:gd name="connsiteX191" fmla="*/ 1244928 w 6837827"/>
              <a:gd name="connsiteY191" fmla="*/ 641375 h 1153348"/>
              <a:gd name="connsiteX192" fmla="*/ 1238628 w 6837827"/>
              <a:gd name="connsiteY192" fmla="*/ 622896 h 1153348"/>
              <a:gd name="connsiteX193" fmla="*/ 1226449 w 6837827"/>
              <a:gd name="connsiteY193" fmla="*/ 616176 h 1153348"/>
              <a:gd name="connsiteX194" fmla="*/ 1210489 w 6837827"/>
              <a:gd name="connsiteY194" fmla="*/ 617016 h 1153348"/>
              <a:gd name="connsiteX195" fmla="*/ 1192430 w 6837827"/>
              <a:gd name="connsiteY195" fmla="*/ 621216 h 1153348"/>
              <a:gd name="connsiteX196" fmla="*/ 1147912 w 6837827"/>
              <a:gd name="connsiteY196" fmla="*/ 630876 h 1153348"/>
              <a:gd name="connsiteX197" fmla="*/ 1101714 w 6837827"/>
              <a:gd name="connsiteY197" fmla="*/ 640535 h 1153348"/>
              <a:gd name="connsiteX198" fmla="*/ 1083655 w 6837827"/>
              <a:gd name="connsiteY198" fmla="*/ 642635 h 1153348"/>
              <a:gd name="connsiteX199" fmla="*/ 1068116 w 6837827"/>
              <a:gd name="connsiteY199" fmla="*/ 639695 h 1153348"/>
              <a:gd name="connsiteX200" fmla="*/ 1052996 w 6837827"/>
              <a:gd name="connsiteY200" fmla="*/ 638015 h 1153348"/>
              <a:gd name="connsiteX201" fmla="*/ 1036617 w 6837827"/>
              <a:gd name="connsiteY201" fmla="*/ 642635 h 1153348"/>
              <a:gd name="connsiteX202" fmla="*/ 1024857 w 6837827"/>
              <a:gd name="connsiteY202" fmla="*/ 663214 h 1153348"/>
              <a:gd name="connsiteX203" fmla="*/ 1019818 w 6837827"/>
              <a:gd name="connsiteY203" fmla="*/ 687153 h 1153348"/>
              <a:gd name="connsiteX204" fmla="*/ 1016458 w 6837827"/>
              <a:gd name="connsiteY204" fmla="*/ 711932 h 1153348"/>
              <a:gd name="connsiteX205" fmla="*/ 1010158 w 6837827"/>
              <a:gd name="connsiteY205" fmla="*/ 736291 h 1153348"/>
              <a:gd name="connsiteX206" fmla="*/ 1004278 w 6837827"/>
              <a:gd name="connsiteY206" fmla="*/ 761910 h 1153348"/>
              <a:gd name="connsiteX207" fmla="*/ 1000078 w 6837827"/>
              <a:gd name="connsiteY207" fmla="*/ 800968 h 1153348"/>
              <a:gd name="connsiteX208" fmla="*/ 997979 w 6837827"/>
              <a:gd name="connsiteY208" fmla="*/ 845906 h 1153348"/>
              <a:gd name="connsiteX209" fmla="*/ 997559 w 6837827"/>
              <a:gd name="connsiteY209" fmla="*/ 890004 h 1153348"/>
              <a:gd name="connsiteX210" fmla="*/ 998399 w 6837827"/>
              <a:gd name="connsiteY210" fmla="*/ 926123 h 1153348"/>
              <a:gd name="connsiteX211" fmla="*/ 1000918 w 6837827"/>
              <a:gd name="connsiteY211" fmla="*/ 946282 h 1153348"/>
              <a:gd name="connsiteX212" fmla="*/ 1024857 w 6837827"/>
              <a:gd name="connsiteY212" fmla="*/ 987020 h 1153348"/>
              <a:gd name="connsiteX213" fmla="*/ 1062656 w 6837827"/>
              <a:gd name="connsiteY213" fmla="*/ 1002560 h 1153348"/>
              <a:gd name="connsiteX214" fmla="*/ 1107594 w 6837827"/>
              <a:gd name="connsiteY214" fmla="*/ 998780 h 1153348"/>
              <a:gd name="connsiteX215" fmla="*/ 1152952 w 6837827"/>
              <a:gd name="connsiteY215" fmla="*/ 981140 h 1153348"/>
              <a:gd name="connsiteX216" fmla="*/ 1192430 w 6837827"/>
              <a:gd name="connsiteY216" fmla="*/ 955941 h 1153348"/>
              <a:gd name="connsiteX217" fmla="*/ 1219729 w 6837827"/>
              <a:gd name="connsiteY217" fmla="*/ 929063 h 1153348"/>
              <a:gd name="connsiteX218" fmla="*/ 1228969 w 6837827"/>
              <a:gd name="connsiteY218" fmla="*/ 918983 h 1153348"/>
              <a:gd name="connsiteX219" fmla="*/ 1236948 w 6837827"/>
              <a:gd name="connsiteY219" fmla="*/ 909324 h 1153348"/>
              <a:gd name="connsiteX220" fmla="*/ 1240728 w 6837827"/>
              <a:gd name="connsiteY220" fmla="*/ 897144 h 1153348"/>
              <a:gd name="connsiteX221" fmla="*/ 1238208 w 6837827"/>
              <a:gd name="connsiteY221" fmla="*/ 879505 h 1153348"/>
              <a:gd name="connsiteX222" fmla="*/ 1206710 w 6837827"/>
              <a:gd name="connsiteY222" fmla="*/ 859766 h 1153348"/>
              <a:gd name="connsiteX223" fmla="*/ 1179831 w 6837827"/>
              <a:gd name="connsiteY223" fmla="*/ 883285 h 1153348"/>
              <a:gd name="connsiteX224" fmla="*/ 1149172 w 6837827"/>
              <a:gd name="connsiteY224" fmla="*/ 909743 h 1153348"/>
              <a:gd name="connsiteX225" fmla="*/ 1115153 w 6837827"/>
              <a:gd name="connsiteY225" fmla="*/ 927383 h 1153348"/>
              <a:gd name="connsiteX226" fmla="*/ 1077775 w 6837827"/>
              <a:gd name="connsiteY226" fmla="*/ 924023 h 1153348"/>
              <a:gd name="connsiteX227" fmla="*/ 1068535 w 6837827"/>
              <a:gd name="connsiteY227" fmla="*/ 912263 h 1153348"/>
              <a:gd name="connsiteX228" fmla="*/ 1064756 w 6837827"/>
              <a:gd name="connsiteY228" fmla="*/ 891684 h 1153348"/>
              <a:gd name="connsiteX229" fmla="*/ 1064756 w 6837827"/>
              <a:gd name="connsiteY229" fmla="*/ 869845 h 1153348"/>
              <a:gd name="connsiteX230" fmla="*/ 1068116 w 6837827"/>
              <a:gd name="connsiteY230" fmla="*/ 853886 h 1153348"/>
              <a:gd name="connsiteX231" fmla="*/ 1080295 w 6837827"/>
              <a:gd name="connsiteY231" fmla="*/ 844646 h 1153348"/>
              <a:gd name="connsiteX232" fmla="*/ 1101294 w 6837827"/>
              <a:gd name="connsiteY232" fmla="*/ 839186 h 1153348"/>
              <a:gd name="connsiteX233" fmla="*/ 1123973 w 6837827"/>
              <a:gd name="connsiteY233" fmla="*/ 835827 h 1153348"/>
              <a:gd name="connsiteX234" fmla="*/ 1141612 w 6837827"/>
              <a:gd name="connsiteY234" fmla="*/ 833307 h 1153348"/>
              <a:gd name="connsiteX235" fmla="*/ 1157152 w 6837827"/>
              <a:gd name="connsiteY235" fmla="*/ 829947 h 1153348"/>
              <a:gd name="connsiteX236" fmla="*/ 1169751 w 6837827"/>
              <a:gd name="connsiteY236" fmla="*/ 823647 h 1153348"/>
              <a:gd name="connsiteX237" fmla="*/ 1177731 w 6837827"/>
              <a:gd name="connsiteY237" fmla="*/ 812728 h 1153348"/>
              <a:gd name="connsiteX238" fmla="*/ 1178991 w 6837827"/>
              <a:gd name="connsiteY238" fmla="*/ 795088 h 1153348"/>
              <a:gd name="connsiteX239" fmla="*/ 1174791 w 6837827"/>
              <a:gd name="connsiteY239" fmla="*/ 779969 h 1153348"/>
              <a:gd name="connsiteX240" fmla="*/ 1165131 w 6837827"/>
              <a:gd name="connsiteY240" fmla="*/ 769889 h 1153348"/>
              <a:gd name="connsiteX241" fmla="*/ 1139513 w 6837827"/>
              <a:gd name="connsiteY241" fmla="*/ 766530 h 1153348"/>
              <a:gd name="connsiteX242" fmla="*/ 1111374 w 6837827"/>
              <a:gd name="connsiteY242" fmla="*/ 770729 h 1153348"/>
              <a:gd name="connsiteX243" fmla="*/ 1099194 w 6837827"/>
              <a:gd name="connsiteY243" fmla="*/ 772829 h 1153348"/>
              <a:gd name="connsiteX244" fmla="*/ 1085335 w 6837827"/>
              <a:gd name="connsiteY244" fmla="*/ 771989 h 1153348"/>
              <a:gd name="connsiteX245" fmla="*/ 1077775 w 6837827"/>
              <a:gd name="connsiteY245" fmla="*/ 761490 h 1153348"/>
              <a:gd name="connsiteX246" fmla="*/ 1083655 w 6837827"/>
              <a:gd name="connsiteY246" fmla="*/ 733351 h 1153348"/>
              <a:gd name="connsiteX247" fmla="*/ 1106334 w 6837827"/>
              <a:gd name="connsiteY247" fmla="*/ 706892 h 1153348"/>
              <a:gd name="connsiteX248" fmla="*/ 1137832 w 6837827"/>
              <a:gd name="connsiteY248" fmla="*/ 700173 h 1153348"/>
              <a:gd name="connsiteX249" fmla="*/ 1172691 w 6837827"/>
              <a:gd name="connsiteY249" fmla="*/ 697652 h 1153348"/>
              <a:gd name="connsiteX250" fmla="*/ 1205030 w 6837827"/>
              <a:gd name="connsiteY250" fmla="*/ 685053 h 1153348"/>
              <a:gd name="connsiteX251" fmla="*/ 1219729 w 6837827"/>
              <a:gd name="connsiteY251" fmla="*/ 678753 h 1153348"/>
              <a:gd name="connsiteX252" fmla="*/ 1370083 w 6837827"/>
              <a:gd name="connsiteY252" fmla="*/ 654394 h 1153348"/>
              <a:gd name="connsiteX253" fmla="*/ 1367563 w 6837827"/>
              <a:gd name="connsiteY253" fmla="*/ 702272 h 1153348"/>
              <a:gd name="connsiteX254" fmla="*/ 1383522 w 6837827"/>
              <a:gd name="connsiteY254" fmla="*/ 753090 h 1153348"/>
              <a:gd name="connsiteX255" fmla="*/ 1403681 w 6837827"/>
              <a:gd name="connsiteY255" fmla="*/ 812308 h 1153348"/>
              <a:gd name="connsiteX256" fmla="*/ 1407881 w 6837827"/>
              <a:gd name="connsiteY256" fmla="*/ 825327 h 1153348"/>
              <a:gd name="connsiteX257" fmla="*/ 1414181 w 6837827"/>
              <a:gd name="connsiteY257" fmla="*/ 845066 h 1153348"/>
              <a:gd name="connsiteX258" fmla="*/ 1420060 w 6837827"/>
              <a:gd name="connsiteY258" fmla="*/ 868585 h 1153348"/>
              <a:gd name="connsiteX259" fmla="*/ 1423000 w 6837827"/>
              <a:gd name="connsiteY259" fmla="*/ 891264 h 1153348"/>
              <a:gd name="connsiteX260" fmla="*/ 1420480 w 6837827"/>
              <a:gd name="connsiteY260" fmla="*/ 909743 h 1153348"/>
              <a:gd name="connsiteX261" fmla="*/ 1409981 w 6837827"/>
              <a:gd name="connsiteY261" fmla="*/ 920243 h 1153348"/>
              <a:gd name="connsiteX262" fmla="*/ 1400321 w 6837827"/>
              <a:gd name="connsiteY262" fmla="*/ 920243 h 1153348"/>
              <a:gd name="connsiteX263" fmla="*/ 1391922 w 6837827"/>
              <a:gd name="connsiteY263" fmla="*/ 914783 h 1153348"/>
              <a:gd name="connsiteX264" fmla="*/ 1384362 w 6837827"/>
              <a:gd name="connsiteY264" fmla="*/ 906804 h 1153348"/>
              <a:gd name="connsiteX265" fmla="*/ 1378062 w 6837827"/>
              <a:gd name="connsiteY265" fmla="*/ 899664 h 1153348"/>
              <a:gd name="connsiteX266" fmla="*/ 1360003 w 6837827"/>
              <a:gd name="connsiteY266" fmla="*/ 890004 h 1153348"/>
              <a:gd name="connsiteX267" fmla="*/ 1344044 w 6837827"/>
              <a:gd name="connsiteY267" fmla="*/ 896724 h 1153348"/>
              <a:gd name="connsiteX268" fmla="*/ 1333124 w 6837827"/>
              <a:gd name="connsiteY268" fmla="*/ 913943 h 1153348"/>
              <a:gd name="connsiteX269" fmla="*/ 1330184 w 6837827"/>
              <a:gd name="connsiteY269" fmla="*/ 934522 h 1153348"/>
              <a:gd name="connsiteX270" fmla="*/ 1336484 w 6837827"/>
              <a:gd name="connsiteY270" fmla="*/ 958041 h 1153348"/>
              <a:gd name="connsiteX271" fmla="*/ 1349923 w 6837827"/>
              <a:gd name="connsiteY271" fmla="*/ 980301 h 1153348"/>
              <a:gd name="connsiteX272" fmla="*/ 1369663 w 6837827"/>
              <a:gd name="connsiteY272" fmla="*/ 996680 h 1153348"/>
              <a:gd name="connsiteX273" fmla="*/ 1394441 w 6837827"/>
              <a:gd name="connsiteY273" fmla="*/ 1002560 h 1153348"/>
              <a:gd name="connsiteX274" fmla="*/ 1449879 w 6837827"/>
              <a:gd name="connsiteY274" fmla="*/ 986600 h 1153348"/>
              <a:gd name="connsiteX275" fmla="*/ 1481798 w 6837827"/>
              <a:gd name="connsiteY275" fmla="*/ 949222 h 1153348"/>
              <a:gd name="connsiteX276" fmla="*/ 1493557 w 6837827"/>
              <a:gd name="connsiteY276" fmla="*/ 901344 h 1153348"/>
              <a:gd name="connsiteX277" fmla="*/ 1488517 w 6837827"/>
              <a:gd name="connsiteY277" fmla="*/ 852626 h 1153348"/>
              <a:gd name="connsiteX278" fmla="*/ 1475918 w 6837827"/>
              <a:gd name="connsiteY278" fmla="*/ 817347 h 1153348"/>
              <a:gd name="connsiteX279" fmla="*/ 1459959 w 6837827"/>
              <a:gd name="connsiteY279" fmla="*/ 781649 h 1153348"/>
              <a:gd name="connsiteX280" fmla="*/ 1446099 w 6837827"/>
              <a:gd name="connsiteY280" fmla="*/ 745531 h 1153348"/>
              <a:gd name="connsiteX281" fmla="*/ 1439380 w 6837827"/>
              <a:gd name="connsiteY281" fmla="*/ 709412 h 1153348"/>
              <a:gd name="connsiteX282" fmla="*/ 1443159 w 6837827"/>
              <a:gd name="connsiteY282" fmla="*/ 671194 h 1153348"/>
              <a:gd name="connsiteX283" fmla="*/ 1457859 w 6837827"/>
              <a:gd name="connsiteY283" fmla="*/ 653135 h 1153348"/>
              <a:gd name="connsiteX284" fmla="*/ 1483058 w 6837827"/>
              <a:gd name="connsiteY284" fmla="*/ 644315 h 1153348"/>
              <a:gd name="connsiteX285" fmla="*/ 1518336 w 6837827"/>
              <a:gd name="connsiteY285" fmla="*/ 633815 h 1153348"/>
              <a:gd name="connsiteX286" fmla="*/ 1533876 w 6837827"/>
              <a:gd name="connsiteY286" fmla="*/ 625836 h 1153348"/>
              <a:gd name="connsiteX287" fmla="*/ 1543115 w 6837827"/>
              <a:gd name="connsiteY287" fmla="*/ 610716 h 1153348"/>
              <a:gd name="connsiteX288" fmla="*/ 1538075 w 6837827"/>
              <a:gd name="connsiteY288" fmla="*/ 593497 h 1153348"/>
              <a:gd name="connsiteX289" fmla="*/ 1530096 w 6837827"/>
              <a:gd name="connsiteY289" fmla="*/ 580478 h 1153348"/>
              <a:gd name="connsiteX290" fmla="*/ 1516656 w 6837827"/>
              <a:gd name="connsiteY290" fmla="*/ 572918 h 1153348"/>
              <a:gd name="connsiteX291" fmla="*/ 1496077 w 6837827"/>
              <a:gd name="connsiteY291" fmla="*/ 571658 h 1153348"/>
              <a:gd name="connsiteX292" fmla="*/ 1472558 w 6837827"/>
              <a:gd name="connsiteY292" fmla="*/ 575018 h 1153348"/>
              <a:gd name="connsiteX293" fmla="*/ 1447359 w 6837827"/>
              <a:gd name="connsiteY293" fmla="*/ 581318 h 1153348"/>
              <a:gd name="connsiteX294" fmla="*/ 1423840 w 6837827"/>
              <a:gd name="connsiteY294" fmla="*/ 590977 h 1153348"/>
              <a:gd name="connsiteX295" fmla="*/ 1404941 w 6837827"/>
              <a:gd name="connsiteY295" fmla="*/ 604837 h 1153348"/>
              <a:gd name="connsiteX296" fmla="*/ 1370083 w 6837827"/>
              <a:gd name="connsiteY296" fmla="*/ 654394 h 1153348"/>
              <a:gd name="connsiteX297" fmla="*/ 1784185 w 6837827"/>
              <a:gd name="connsiteY297" fmla="*/ 569138 h 1153348"/>
              <a:gd name="connsiteX298" fmla="*/ 1776205 w 6837827"/>
              <a:gd name="connsiteY298" fmla="*/ 569978 h 1153348"/>
              <a:gd name="connsiteX299" fmla="*/ 1748906 w 6837827"/>
              <a:gd name="connsiteY299" fmla="*/ 575858 h 1153348"/>
              <a:gd name="connsiteX300" fmla="*/ 1727907 w 6837827"/>
              <a:gd name="connsiteY300" fmla="*/ 585097 h 1153348"/>
              <a:gd name="connsiteX301" fmla="*/ 1707328 w 6837827"/>
              <a:gd name="connsiteY301" fmla="*/ 596857 h 1153348"/>
              <a:gd name="connsiteX302" fmla="*/ 1680869 w 6837827"/>
              <a:gd name="connsiteY302" fmla="*/ 609876 h 1153348"/>
              <a:gd name="connsiteX303" fmla="*/ 1672050 w 6837827"/>
              <a:gd name="connsiteY303" fmla="*/ 611976 h 1153348"/>
              <a:gd name="connsiteX304" fmla="*/ 1662390 w 6837827"/>
              <a:gd name="connsiteY304" fmla="*/ 612396 h 1153348"/>
              <a:gd name="connsiteX305" fmla="*/ 1652730 w 6837827"/>
              <a:gd name="connsiteY305" fmla="*/ 614496 h 1153348"/>
              <a:gd name="connsiteX306" fmla="*/ 1644751 w 6837827"/>
              <a:gd name="connsiteY306" fmla="*/ 620796 h 1153348"/>
              <a:gd name="connsiteX307" fmla="*/ 1621652 w 6837827"/>
              <a:gd name="connsiteY307" fmla="*/ 722851 h 1153348"/>
              <a:gd name="connsiteX308" fmla="*/ 1619552 w 6837827"/>
              <a:gd name="connsiteY308" fmla="*/ 825747 h 1153348"/>
              <a:gd name="connsiteX309" fmla="*/ 1623752 w 6837827"/>
              <a:gd name="connsiteY309" fmla="*/ 853886 h 1153348"/>
              <a:gd name="connsiteX310" fmla="*/ 1630051 w 6837827"/>
              <a:gd name="connsiteY310" fmla="*/ 881605 h 1153348"/>
              <a:gd name="connsiteX311" fmla="*/ 1649791 w 6837827"/>
              <a:gd name="connsiteY311" fmla="*/ 922343 h 1153348"/>
              <a:gd name="connsiteX312" fmla="*/ 1684649 w 6837827"/>
              <a:gd name="connsiteY312" fmla="*/ 950482 h 1153348"/>
              <a:gd name="connsiteX313" fmla="*/ 1736307 w 6837827"/>
              <a:gd name="connsiteY313" fmla="*/ 959721 h 1153348"/>
              <a:gd name="connsiteX314" fmla="*/ 1766546 w 6837827"/>
              <a:gd name="connsiteY314" fmla="*/ 951742 h 1153348"/>
              <a:gd name="connsiteX315" fmla="*/ 1793844 w 6837827"/>
              <a:gd name="connsiteY315" fmla="*/ 936622 h 1153348"/>
              <a:gd name="connsiteX316" fmla="*/ 1811484 w 6837827"/>
              <a:gd name="connsiteY316" fmla="*/ 911004 h 1153348"/>
              <a:gd name="connsiteX317" fmla="*/ 1819883 w 6837827"/>
              <a:gd name="connsiteY317" fmla="*/ 892524 h 1153348"/>
              <a:gd name="connsiteX318" fmla="*/ 1823243 w 6837827"/>
              <a:gd name="connsiteY318" fmla="*/ 871525 h 1153348"/>
              <a:gd name="connsiteX319" fmla="*/ 1812324 w 6837827"/>
              <a:gd name="connsiteY319" fmla="*/ 851786 h 1153348"/>
              <a:gd name="connsiteX320" fmla="*/ 1789225 w 6837827"/>
              <a:gd name="connsiteY320" fmla="*/ 843806 h 1153348"/>
              <a:gd name="connsiteX321" fmla="*/ 1778725 w 6837827"/>
              <a:gd name="connsiteY321" fmla="*/ 845066 h 1153348"/>
              <a:gd name="connsiteX322" fmla="*/ 1772425 w 6837827"/>
              <a:gd name="connsiteY322" fmla="*/ 848846 h 1153348"/>
              <a:gd name="connsiteX323" fmla="*/ 1768225 w 6837827"/>
              <a:gd name="connsiteY323" fmla="*/ 855146 h 1153348"/>
              <a:gd name="connsiteX324" fmla="*/ 1763186 w 6837827"/>
              <a:gd name="connsiteY324" fmla="*/ 863545 h 1153348"/>
              <a:gd name="connsiteX325" fmla="*/ 1752266 w 6837827"/>
              <a:gd name="connsiteY325" fmla="*/ 873625 h 1153348"/>
              <a:gd name="connsiteX326" fmla="*/ 1739247 w 6837827"/>
              <a:gd name="connsiteY326" fmla="*/ 877825 h 1153348"/>
              <a:gd name="connsiteX327" fmla="*/ 1710268 w 6837827"/>
              <a:gd name="connsiteY327" fmla="*/ 869425 h 1153348"/>
              <a:gd name="connsiteX328" fmla="*/ 1697668 w 6837827"/>
              <a:gd name="connsiteY328" fmla="*/ 840026 h 1153348"/>
              <a:gd name="connsiteX329" fmla="*/ 1714888 w 6837827"/>
              <a:gd name="connsiteY329" fmla="*/ 827427 h 1153348"/>
              <a:gd name="connsiteX330" fmla="*/ 1735047 w 6837827"/>
              <a:gd name="connsiteY330" fmla="*/ 816508 h 1153348"/>
              <a:gd name="connsiteX331" fmla="*/ 1754786 w 6837827"/>
              <a:gd name="connsiteY331" fmla="*/ 804328 h 1153348"/>
              <a:gd name="connsiteX332" fmla="*/ 1770745 w 6837827"/>
              <a:gd name="connsiteY332" fmla="*/ 788369 h 1153348"/>
              <a:gd name="connsiteX333" fmla="*/ 1779145 w 6837827"/>
              <a:gd name="connsiteY333" fmla="*/ 771989 h 1153348"/>
              <a:gd name="connsiteX334" fmla="*/ 1781245 w 6837827"/>
              <a:gd name="connsiteY334" fmla="*/ 753510 h 1153348"/>
              <a:gd name="connsiteX335" fmla="*/ 1771585 w 6837827"/>
              <a:gd name="connsiteY335" fmla="*/ 735451 h 1153348"/>
              <a:gd name="connsiteX336" fmla="*/ 1751006 w 6837827"/>
              <a:gd name="connsiteY336" fmla="*/ 729571 h 1153348"/>
              <a:gd name="connsiteX337" fmla="*/ 1730007 w 6837827"/>
              <a:gd name="connsiteY337" fmla="*/ 734611 h 1153348"/>
              <a:gd name="connsiteX338" fmla="*/ 1712368 w 6837827"/>
              <a:gd name="connsiteY338" fmla="*/ 742591 h 1153348"/>
              <a:gd name="connsiteX339" fmla="*/ 1702288 w 6837827"/>
              <a:gd name="connsiteY339" fmla="*/ 746790 h 1153348"/>
              <a:gd name="connsiteX340" fmla="*/ 1697248 w 6837827"/>
              <a:gd name="connsiteY340" fmla="*/ 745531 h 1153348"/>
              <a:gd name="connsiteX341" fmla="*/ 1695569 w 6837827"/>
              <a:gd name="connsiteY341" fmla="*/ 740491 h 1153348"/>
              <a:gd name="connsiteX342" fmla="*/ 1694729 w 6837827"/>
              <a:gd name="connsiteY342" fmla="*/ 734191 h 1153348"/>
              <a:gd name="connsiteX343" fmla="*/ 1695569 w 6837827"/>
              <a:gd name="connsiteY343" fmla="*/ 721172 h 1153348"/>
              <a:gd name="connsiteX344" fmla="*/ 1698928 w 6837827"/>
              <a:gd name="connsiteY344" fmla="*/ 706472 h 1153348"/>
              <a:gd name="connsiteX345" fmla="*/ 1702708 w 6837827"/>
              <a:gd name="connsiteY345" fmla="*/ 693453 h 1153348"/>
              <a:gd name="connsiteX346" fmla="*/ 1705228 w 6837827"/>
              <a:gd name="connsiteY346" fmla="*/ 684633 h 1153348"/>
              <a:gd name="connsiteX347" fmla="*/ 1716568 w 6837827"/>
              <a:gd name="connsiteY347" fmla="*/ 671194 h 1153348"/>
              <a:gd name="connsiteX348" fmla="*/ 1737567 w 6837827"/>
              <a:gd name="connsiteY348" fmla="*/ 659014 h 1153348"/>
              <a:gd name="connsiteX349" fmla="*/ 1761086 w 6837827"/>
              <a:gd name="connsiteY349" fmla="*/ 648935 h 1153348"/>
              <a:gd name="connsiteX350" fmla="*/ 1779145 w 6837827"/>
              <a:gd name="connsiteY350" fmla="*/ 642635 h 1153348"/>
              <a:gd name="connsiteX351" fmla="*/ 1811484 w 6837827"/>
              <a:gd name="connsiteY351" fmla="*/ 627516 h 1153348"/>
              <a:gd name="connsiteX352" fmla="*/ 1826603 w 6837827"/>
              <a:gd name="connsiteY352" fmla="*/ 595597 h 1153348"/>
              <a:gd name="connsiteX353" fmla="*/ 1823663 w 6837827"/>
              <a:gd name="connsiteY353" fmla="*/ 585518 h 1153348"/>
              <a:gd name="connsiteX354" fmla="*/ 1815263 w 6837827"/>
              <a:gd name="connsiteY354" fmla="*/ 577538 h 1153348"/>
              <a:gd name="connsiteX355" fmla="*/ 1804344 w 6837827"/>
              <a:gd name="connsiteY355" fmla="*/ 572078 h 1153348"/>
              <a:gd name="connsiteX356" fmla="*/ 1793844 w 6837827"/>
              <a:gd name="connsiteY356" fmla="*/ 569978 h 1153348"/>
              <a:gd name="connsiteX357" fmla="*/ 1784185 w 6837827"/>
              <a:gd name="connsiteY357" fmla="*/ 569138 h 1153348"/>
              <a:gd name="connsiteX358" fmla="*/ 1963097 w 6837827"/>
              <a:gd name="connsiteY358" fmla="*/ 933263 h 1153348"/>
              <a:gd name="connsiteX359" fmla="*/ 1977796 w 6837827"/>
              <a:gd name="connsiteY359" fmla="*/ 923183 h 1153348"/>
              <a:gd name="connsiteX360" fmla="*/ 1987456 w 6837827"/>
              <a:gd name="connsiteY360" fmla="*/ 902604 h 1153348"/>
              <a:gd name="connsiteX361" fmla="*/ 1993756 w 6837827"/>
              <a:gd name="connsiteY361" fmla="*/ 876985 h 1153348"/>
              <a:gd name="connsiteX362" fmla="*/ 1998376 w 6837827"/>
              <a:gd name="connsiteY362" fmla="*/ 851786 h 1153348"/>
              <a:gd name="connsiteX363" fmla="*/ 2003415 w 6837827"/>
              <a:gd name="connsiteY363" fmla="*/ 832047 h 1153348"/>
              <a:gd name="connsiteX364" fmla="*/ 2011815 w 6837827"/>
              <a:gd name="connsiteY364" fmla="*/ 816087 h 1153348"/>
              <a:gd name="connsiteX365" fmla="*/ 2029874 w 6837827"/>
              <a:gd name="connsiteY365" fmla="*/ 813568 h 1153348"/>
              <a:gd name="connsiteX366" fmla="*/ 2057173 w 6837827"/>
              <a:gd name="connsiteY366" fmla="*/ 811888 h 1153348"/>
              <a:gd name="connsiteX367" fmla="*/ 2078172 w 6837827"/>
              <a:gd name="connsiteY367" fmla="*/ 808528 h 1153348"/>
              <a:gd name="connsiteX368" fmla="*/ 2097491 w 6837827"/>
              <a:gd name="connsiteY368" fmla="*/ 801388 h 1153348"/>
              <a:gd name="connsiteX369" fmla="*/ 2119330 w 6837827"/>
              <a:gd name="connsiteY369" fmla="*/ 788789 h 1153348"/>
              <a:gd name="connsiteX370" fmla="*/ 2129830 w 6837827"/>
              <a:gd name="connsiteY370" fmla="*/ 818187 h 1153348"/>
              <a:gd name="connsiteX371" fmla="*/ 2135290 w 6837827"/>
              <a:gd name="connsiteY371" fmla="*/ 854306 h 1153348"/>
              <a:gd name="connsiteX372" fmla="*/ 2146209 w 6837827"/>
              <a:gd name="connsiteY372" fmla="*/ 885384 h 1153348"/>
              <a:gd name="connsiteX373" fmla="*/ 2173088 w 6837827"/>
              <a:gd name="connsiteY373" fmla="*/ 900084 h 1153348"/>
              <a:gd name="connsiteX374" fmla="*/ 2197867 w 6837827"/>
              <a:gd name="connsiteY374" fmla="*/ 895884 h 1153348"/>
              <a:gd name="connsiteX375" fmla="*/ 2215926 w 6837827"/>
              <a:gd name="connsiteY375" fmla="*/ 880765 h 1153348"/>
              <a:gd name="connsiteX376" fmla="*/ 2226006 w 6837827"/>
              <a:gd name="connsiteY376" fmla="*/ 858926 h 1153348"/>
              <a:gd name="connsiteX377" fmla="*/ 2226846 w 6837827"/>
              <a:gd name="connsiteY377" fmla="*/ 833727 h 1153348"/>
              <a:gd name="connsiteX378" fmla="*/ 2221386 w 6837827"/>
              <a:gd name="connsiteY378" fmla="*/ 819867 h 1153348"/>
              <a:gd name="connsiteX379" fmla="*/ 2210886 w 6837827"/>
              <a:gd name="connsiteY379" fmla="*/ 803068 h 1153348"/>
              <a:gd name="connsiteX380" fmla="*/ 2199547 w 6837827"/>
              <a:gd name="connsiteY380" fmla="*/ 783749 h 1153348"/>
              <a:gd name="connsiteX381" fmla="*/ 2191987 w 6837827"/>
              <a:gd name="connsiteY381" fmla="*/ 762330 h 1153348"/>
              <a:gd name="connsiteX382" fmla="*/ 2187787 w 6837827"/>
              <a:gd name="connsiteY382" fmla="*/ 742171 h 1153348"/>
              <a:gd name="connsiteX383" fmla="*/ 2181908 w 6837827"/>
              <a:gd name="connsiteY383" fmla="*/ 718652 h 1153348"/>
              <a:gd name="connsiteX384" fmla="*/ 2175608 w 6837827"/>
              <a:gd name="connsiteY384" fmla="*/ 695133 h 1153348"/>
              <a:gd name="connsiteX385" fmla="*/ 2170568 w 6837827"/>
              <a:gd name="connsiteY385" fmla="*/ 674553 h 1153348"/>
              <a:gd name="connsiteX386" fmla="*/ 2163848 w 6837827"/>
              <a:gd name="connsiteY386" fmla="*/ 643475 h 1153348"/>
              <a:gd name="connsiteX387" fmla="*/ 2156289 w 6837827"/>
              <a:gd name="connsiteY387" fmla="*/ 614916 h 1153348"/>
              <a:gd name="connsiteX388" fmla="*/ 2146209 w 6837827"/>
              <a:gd name="connsiteY388" fmla="*/ 586777 h 1153348"/>
              <a:gd name="connsiteX389" fmla="*/ 2131930 w 6837827"/>
              <a:gd name="connsiteY389" fmla="*/ 556539 h 1153348"/>
              <a:gd name="connsiteX390" fmla="*/ 2120590 w 6837827"/>
              <a:gd name="connsiteY390" fmla="*/ 538479 h 1153348"/>
              <a:gd name="connsiteX391" fmla="*/ 2103791 w 6837827"/>
              <a:gd name="connsiteY391" fmla="*/ 520420 h 1153348"/>
              <a:gd name="connsiteX392" fmla="*/ 2083632 w 6837827"/>
              <a:gd name="connsiteY392" fmla="*/ 509501 h 1153348"/>
              <a:gd name="connsiteX393" fmla="*/ 2062213 w 6837827"/>
              <a:gd name="connsiteY393" fmla="*/ 514540 h 1153348"/>
              <a:gd name="connsiteX394" fmla="*/ 2051713 w 6837827"/>
              <a:gd name="connsiteY394" fmla="*/ 529240 h 1153348"/>
              <a:gd name="connsiteX395" fmla="*/ 2041634 w 6837827"/>
              <a:gd name="connsiteY395" fmla="*/ 553179 h 1153348"/>
              <a:gd name="connsiteX396" fmla="*/ 2032394 w 6837827"/>
              <a:gd name="connsiteY396" fmla="*/ 577958 h 1153348"/>
              <a:gd name="connsiteX397" fmla="*/ 2025674 w 6837827"/>
              <a:gd name="connsiteY397" fmla="*/ 596017 h 1153348"/>
              <a:gd name="connsiteX398" fmla="*/ 2014755 w 6837827"/>
              <a:gd name="connsiteY398" fmla="*/ 619116 h 1153348"/>
              <a:gd name="connsiteX399" fmla="*/ 2001316 w 6837827"/>
              <a:gd name="connsiteY399" fmla="*/ 648515 h 1153348"/>
              <a:gd name="connsiteX400" fmla="*/ 1990396 w 6837827"/>
              <a:gd name="connsiteY400" fmla="*/ 678333 h 1153348"/>
              <a:gd name="connsiteX401" fmla="*/ 1986196 w 6837827"/>
              <a:gd name="connsiteY401" fmla="*/ 701432 h 1153348"/>
              <a:gd name="connsiteX402" fmla="*/ 1966457 w 6837827"/>
              <a:gd name="connsiteY402" fmla="*/ 742171 h 1153348"/>
              <a:gd name="connsiteX403" fmla="*/ 1943778 w 6837827"/>
              <a:gd name="connsiteY403" fmla="*/ 786269 h 1153348"/>
              <a:gd name="connsiteX404" fmla="*/ 1926139 w 6837827"/>
              <a:gd name="connsiteY404" fmla="*/ 832887 h 1153348"/>
              <a:gd name="connsiteX405" fmla="*/ 1921519 w 6837827"/>
              <a:gd name="connsiteY405" fmla="*/ 881605 h 1153348"/>
              <a:gd name="connsiteX406" fmla="*/ 1927819 w 6837827"/>
              <a:gd name="connsiteY406" fmla="*/ 906804 h 1153348"/>
              <a:gd name="connsiteX407" fmla="*/ 1941678 w 6837827"/>
              <a:gd name="connsiteY407" fmla="*/ 927803 h 1153348"/>
              <a:gd name="connsiteX408" fmla="*/ 1963097 w 6837827"/>
              <a:gd name="connsiteY408" fmla="*/ 933263 h 1153348"/>
              <a:gd name="connsiteX409" fmla="*/ 2089512 w 6837827"/>
              <a:gd name="connsiteY409" fmla="*/ 624576 h 1153348"/>
              <a:gd name="connsiteX410" fmla="*/ 2092451 w 6837827"/>
              <a:gd name="connsiteY410" fmla="*/ 648095 h 1153348"/>
              <a:gd name="connsiteX411" fmla="*/ 2100011 w 6837827"/>
              <a:gd name="connsiteY411" fmla="*/ 679173 h 1153348"/>
              <a:gd name="connsiteX412" fmla="*/ 2106311 w 6837827"/>
              <a:gd name="connsiteY412" fmla="*/ 709412 h 1153348"/>
              <a:gd name="connsiteX413" fmla="*/ 2105891 w 6837827"/>
              <a:gd name="connsiteY413" fmla="*/ 730411 h 1153348"/>
              <a:gd name="connsiteX414" fmla="*/ 2091192 w 6837827"/>
              <a:gd name="connsiteY414" fmla="*/ 734191 h 1153348"/>
              <a:gd name="connsiteX415" fmla="*/ 2067673 w 6837827"/>
              <a:gd name="connsiteY415" fmla="*/ 737551 h 1153348"/>
              <a:gd name="connsiteX416" fmla="*/ 2045834 w 6837827"/>
              <a:gd name="connsiteY416" fmla="*/ 738811 h 1153348"/>
              <a:gd name="connsiteX417" fmla="*/ 2037014 w 6837827"/>
              <a:gd name="connsiteY417" fmla="*/ 735871 h 1153348"/>
              <a:gd name="connsiteX418" fmla="*/ 2056333 w 6837827"/>
              <a:gd name="connsiteY418" fmla="*/ 679593 h 1153348"/>
              <a:gd name="connsiteX419" fmla="*/ 2081532 w 6837827"/>
              <a:gd name="connsiteY419" fmla="*/ 624996 h 1153348"/>
              <a:gd name="connsiteX420" fmla="*/ 2089512 w 6837827"/>
              <a:gd name="connsiteY420" fmla="*/ 624576 h 1153348"/>
              <a:gd name="connsiteX421" fmla="*/ 2428437 w 6837827"/>
              <a:gd name="connsiteY421" fmla="*/ 757710 h 1153348"/>
              <a:gd name="connsiteX422" fmla="*/ 2439777 w 6837827"/>
              <a:gd name="connsiteY422" fmla="*/ 760650 h 1153348"/>
              <a:gd name="connsiteX423" fmla="*/ 2470435 w 6837827"/>
              <a:gd name="connsiteY423" fmla="*/ 771989 h 1153348"/>
              <a:gd name="connsiteX424" fmla="*/ 2498574 w 6837827"/>
              <a:gd name="connsiteY424" fmla="*/ 790049 h 1153348"/>
              <a:gd name="connsiteX425" fmla="*/ 2521253 w 6837827"/>
              <a:gd name="connsiteY425" fmla="*/ 809368 h 1153348"/>
              <a:gd name="connsiteX426" fmla="*/ 2548132 w 6837827"/>
              <a:gd name="connsiteY426" fmla="*/ 826167 h 1153348"/>
              <a:gd name="connsiteX427" fmla="*/ 2577531 w 6837827"/>
              <a:gd name="connsiteY427" fmla="*/ 837087 h 1153348"/>
              <a:gd name="connsiteX428" fmla="*/ 2608609 w 6837827"/>
              <a:gd name="connsiteY428" fmla="*/ 839186 h 1153348"/>
              <a:gd name="connsiteX429" fmla="*/ 2634648 w 6837827"/>
              <a:gd name="connsiteY429" fmla="*/ 830787 h 1153348"/>
              <a:gd name="connsiteX430" fmla="*/ 2651027 w 6837827"/>
              <a:gd name="connsiteY430" fmla="*/ 816087 h 1153348"/>
              <a:gd name="connsiteX431" fmla="*/ 2654388 w 6837827"/>
              <a:gd name="connsiteY431" fmla="*/ 798868 h 1153348"/>
              <a:gd name="connsiteX432" fmla="*/ 2645988 w 6837827"/>
              <a:gd name="connsiteY432" fmla="*/ 782489 h 1153348"/>
              <a:gd name="connsiteX433" fmla="*/ 2627509 w 6837827"/>
              <a:gd name="connsiteY433" fmla="*/ 769889 h 1153348"/>
              <a:gd name="connsiteX434" fmla="*/ 2616589 w 6837827"/>
              <a:gd name="connsiteY434" fmla="*/ 769049 h 1153348"/>
              <a:gd name="connsiteX435" fmla="*/ 2606509 w 6837827"/>
              <a:gd name="connsiteY435" fmla="*/ 766110 h 1153348"/>
              <a:gd name="connsiteX436" fmla="*/ 2577951 w 6837827"/>
              <a:gd name="connsiteY436" fmla="*/ 746790 h 1153348"/>
              <a:gd name="connsiteX437" fmla="*/ 2547712 w 6837827"/>
              <a:gd name="connsiteY437" fmla="*/ 729991 h 1153348"/>
              <a:gd name="connsiteX438" fmla="*/ 2516633 w 6837827"/>
              <a:gd name="connsiteY438" fmla="*/ 714032 h 1153348"/>
              <a:gd name="connsiteX439" fmla="*/ 2487234 w 6837827"/>
              <a:gd name="connsiteY439" fmla="*/ 695973 h 1153348"/>
              <a:gd name="connsiteX440" fmla="*/ 2519573 w 6837827"/>
              <a:gd name="connsiteY440" fmla="*/ 682953 h 1153348"/>
              <a:gd name="connsiteX441" fmla="*/ 2543932 w 6837827"/>
              <a:gd name="connsiteY441" fmla="*/ 650615 h 1153348"/>
              <a:gd name="connsiteX442" fmla="*/ 2559471 w 6837827"/>
              <a:gd name="connsiteY442" fmla="*/ 606517 h 1153348"/>
              <a:gd name="connsiteX443" fmla="*/ 2565351 w 6837827"/>
              <a:gd name="connsiteY443" fmla="*/ 558639 h 1153348"/>
              <a:gd name="connsiteX444" fmla="*/ 2560731 w 6837827"/>
              <a:gd name="connsiteY444" fmla="*/ 514121 h 1153348"/>
              <a:gd name="connsiteX445" fmla="*/ 2543932 w 6837827"/>
              <a:gd name="connsiteY445" fmla="*/ 480522 h 1153348"/>
              <a:gd name="connsiteX446" fmla="*/ 2514533 w 6837827"/>
              <a:gd name="connsiteY446" fmla="*/ 465403 h 1153348"/>
              <a:gd name="connsiteX447" fmla="*/ 2471695 w 6837827"/>
              <a:gd name="connsiteY447" fmla="*/ 476742 h 1153348"/>
              <a:gd name="connsiteX448" fmla="*/ 2460776 w 6837827"/>
              <a:gd name="connsiteY448" fmla="*/ 480522 h 1153348"/>
              <a:gd name="connsiteX449" fmla="*/ 2449856 w 6837827"/>
              <a:gd name="connsiteY449" fmla="*/ 491441 h 1153348"/>
              <a:gd name="connsiteX450" fmla="*/ 2439357 w 6837827"/>
              <a:gd name="connsiteY450" fmla="*/ 504881 h 1153348"/>
              <a:gd name="connsiteX451" fmla="*/ 2430117 w 6837827"/>
              <a:gd name="connsiteY451" fmla="*/ 515800 h 1153348"/>
              <a:gd name="connsiteX452" fmla="*/ 2420037 w 6837827"/>
              <a:gd name="connsiteY452" fmla="*/ 522100 h 1153348"/>
              <a:gd name="connsiteX453" fmla="*/ 2409958 w 6837827"/>
              <a:gd name="connsiteY453" fmla="*/ 526720 h 1153348"/>
              <a:gd name="connsiteX454" fmla="*/ 2401558 w 6837827"/>
              <a:gd name="connsiteY454" fmla="*/ 532600 h 1153348"/>
              <a:gd name="connsiteX455" fmla="*/ 2396938 w 6837827"/>
              <a:gd name="connsiteY455" fmla="*/ 543099 h 1153348"/>
              <a:gd name="connsiteX456" fmla="*/ 2388959 w 6837827"/>
              <a:gd name="connsiteY456" fmla="*/ 576698 h 1153348"/>
              <a:gd name="connsiteX457" fmla="*/ 2378459 w 6837827"/>
              <a:gd name="connsiteY457" fmla="*/ 608196 h 1153348"/>
              <a:gd name="connsiteX458" fmla="*/ 2367120 w 6837827"/>
              <a:gd name="connsiteY458" fmla="*/ 639695 h 1153348"/>
              <a:gd name="connsiteX459" fmla="*/ 2356620 w 6837827"/>
              <a:gd name="connsiteY459" fmla="*/ 672454 h 1153348"/>
              <a:gd name="connsiteX460" fmla="*/ 2346961 w 6837827"/>
              <a:gd name="connsiteY460" fmla="*/ 714452 h 1153348"/>
              <a:gd name="connsiteX461" fmla="*/ 2338561 w 6837827"/>
              <a:gd name="connsiteY461" fmla="*/ 755610 h 1153348"/>
              <a:gd name="connsiteX462" fmla="*/ 2332261 w 6837827"/>
              <a:gd name="connsiteY462" fmla="*/ 779129 h 1153348"/>
              <a:gd name="connsiteX463" fmla="*/ 2323022 w 6837827"/>
              <a:gd name="connsiteY463" fmla="*/ 817347 h 1153348"/>
              <a:gd name="connsiteX464" fmla="*/ 2315042 w 6837827"/>
              <a:gd name="connsiteY464" fmla="*/ 861445 h 1153348"/>
              <a:gd name="connsiteX465" fmla="*/ 2313782 w 6837827"/>
              <a:gd name="connsiteY465" fmla="*/ 902604 h 1153348"/>
              <a:gd name="connsiteX466" fmla="*/ 2323022 w 6837827"/>
              <a:gd name="connsiteY466" fmla="*/ 932003 h 1153348"/>
              <a:gd name="connsiteX467" fmla="*/ 2347381 w 6837827"/>
              <a:gd name="connsiteY467" fmla="*/ 941662 h 1153348"/>
              <a:gd name="connsiteX468" fmla="*/ 2367120 w 6837827"/>
              <a:gd name="connsiteY468" fmla="*/ 932842 h 1153348"/>
              <a:gd name="connsiteX469" fmla="*/ 2378459 w 6837827"/>
              <a:gd name="connsiteY469" fmla="*/ 914783 h 1153348"/>
              <a:gd name="connsiteX470" fmla="*/ 2383499 w 6837827"/>
              <a:gd name="connsiteY470" fmla="*/ 891264 h 1153348"/>
              <a:gd name="connsiteX471" fmla="*/ 2384339 w 6837827"/>
              <a:gd name="connsiteY471" fmla="*/ 866485 h 1153348"/>
              <a:gd name="connsiteX472" fmla="*/ 2388119 w 6837827"/>
              <a:gd name="connsiteY472" fmla="*/ 840446 h 1153348"/>
              <a:gd name="connsiteX473" fmla="*/ 2396938 w 6837827"/>
              <a:gd name="connsiteY473" fmla="*/ 808108 h 1153348"/>
              <a:gd name="connsiteX474" fmla="*/ 2408698 w 6837827"/>
              <a:gd name="connsiteY474" fmla="*/ 775349 h 1153348"/>
              <a:gd name="connsiteX475" fmla="*/ 2420458 w 6837827"/>
              <a:gd name="connsiteY475" fmla="*/ 748470 h 1153348"/>
              <a:gd name="connsiteX476" fmla="*/ 2428437 w 6837827"/>
              <a:gd name="connsiteY476" fmla="*/ 757710 h 1153348"/>
              <a:gd name="connsiteX477" fmla="*/ 2460776 w 6837827"/>
              <a:gd name="connsiteY477" fmla="*/ 649355 h 1153348"/>
              <a:gd name="connsiteX478" fmla="*/ 2452376 w 6837827"/>
              <a:gd name="connsiteY478" fmla="*/ 659434 h 1153348"/>
              <a:gd name="connsiteX479" fmla="*/ 2443976 w 6837827"/>
              <a:gd name="connsiteY479" fmla="*/ 664894 h 1153348"/>
              <a:gd name="connsiteX480" fmla="*/ 2437257 w 6837827"/>
              <a:gd name="connsiteY480" fmla="*/ 663214 h 1153348"/>
              <a:gd name="connsiteX481" fmla="*/ 2434317 w 6837827"/>
              <a:gd name="connsiteY481" fmla="*/ 645995 h 1153348"/>
              <a:gd name="connsiteX482" fmla="*/ 2443557 w 6837827"/>
              <a:gd name="connsiteY482" fmla="*/ 622476 h 1153348"/>
              <a:gd name="connsiteX483" fmla="*/ 2458256 w 6837827"/>
              <a:gd name="connsiteY483" fmla="*/ 600217 h 1153348"/>
              <a:gd name="connsiteX484" fmla="*/ 2472115 w 6837827"/>
              <a:gd name="connsiteY484" fmla="*/ 586357 h 1153348"/>
              <a:gd name="connsiteX485" fmla="*/ 2472955 w 6837827"/>
              <a:gd name="connsiteY485" fmla="*/ 612396 h 1153348"/>
              <a:gd name="connsiteX486" fmla="*/ 2467075 w 6837827"/>
              <a:gd name="connsiteY486" fmla="*/ 638015 h 1153348"/>
              <a:gd name="connsiteX487" fmla="*/ 2460776 w 6837827"/>
              <a:gd name="connsiteY487" fmla="*/ 649355 h 1153348"/>
              <a:gd name="connsiteX488" fmla="*/ 2831200 w 6837827"/>
              <a:gd name="connsiteY488" fmla="*/ 496901 h 1153348"/>
              <a:gd name="connsiteX489" fmla="*/ 2790882 w 6837827"/>
              <a:gd name="connsiteY489" fmla="*/ 531340 h 1153348"/>
              <a:gd name="connsiteX490" fmla="*/ 2758543 w 6837827"/>
              <a:gd name="connsiteY490" fmla="*/ 578378 h 1153348"/>
              <a:gd name="connsiteX491" fmla="*/ 2735444 w 6837827"/>
              <a:gd name="connsiteY491" fmla="*/ 631716 h 1153348"/>
              <a:gd name="connsiteX492" fmla="*/ 2723685 w 6837827"/>
              <a:gd name="connsiteY492" fmla="*/ 685893 h 1153348"/>
              <a:gd name="connsiteX493" fmla="*/ 2725364 w 6837827"/>
              <a:gd name="connsiteY493" fmla="*/ 734191 h 1153348"/>
              <a:gd name="connsiteX494" fmla="*/ 2748043 w 6837827"/>
              <a:gd name="connsiteY494" fmla="*/ 784169 h 1153348"/>
              <a:gd name="connsiteX495" fmla="*/ 2790882 w 6837827"/>
              <a:gd name="connsiteY495" fmla="*/ 817767 h 1153348"/>
              <a:gd name="connsiteX496" fmla="*/ 2843799 w 6837827"/>
              <a:gd name="connsiteY496" fmla="*/ 826587 h 1153348"/>
              <a:gd name="connsiteX497" fmla="*/ 2896297 w 6837827"/>
              <a:gd name="connsiteY497" fmla="*/ 802648 h 1153348"/>
              <a:gd name="connsiteX498" fmla="*/ 2915616 w 6837827"/>
              <a:gd name="connsiteY498" fmla="*/ 788789 h 1153348"/>
              <a:gd name="connsiteX499" fmla="*/ 2937455 w 6837827"/>
              <a:gd name="connsiteY499" fmla="*/ 773669 h 1153348"/>
              <a:gd name="connsiteX500" fmla="*/ 2954254 w 6837827"/>
              <a:gd name="connsiteY500" fmla="*/ 755190 h 1153348"/>
              <a:gd name="connsiteX501" fmla="*/ 2959294 w 6837827"/>
              <a:gd name="connsiteY501" fmla="*/ 730831 h 1153348"/>
              <a:gd name="connsiteX502" fmla="*/ 2949635 w 6837827"/>
              <a:gd name="connsiteY502" fmla="*/ 717392 h 1153348"/>
              <a:gd name="connsiteX503" fmla="*/ 2929056 w 6837827"/>
              <a:gd name="connsiteY503" fmla="*/ 715712 h 1153348"/>
              <a:gd name="connsiteX504" fmla="*/ 2903017 w 6837827"/>
              <a:gd name="connsiteY504" fmla="*/ 721592 h 1153348"/>
              <a:gd name="connsiteX505" fmla="*/ 2876138 w 6837827"/>
              <a:gd name="connsiteY505" fmla="*/ 731251 h 1153348"/>
              <a:gd name="connsiteX506" fmla="*/ 2854299 w 6837827"/>
              <a:gd name="connsiteY506" fmla="*/ 740911 h 1153348"/>
              <a:gd name="connsiteX507" fmla="*/ 2842539 w 6837827"/>
              <a:gd name="connsiteY507" fmla="*/ 745531 h 1153348"/>
              <a:gd name="connsiteX508" fmla="*/ 2816081 w 6837827"/>
              <a:gd name="connsiteY508" fmla="*/ 743011 h 1153348"/>
              <a:gd name="connsiteX509" fmla="*/ 2802641 w 6837827"/>
              <a:gd name="connsiteY509" fmla="*/ 726211 h 1153348"/>
              <a:gd name="connsiteX510" fmla="*/ 2798861 w 6837827"/>
              <a:gd name="connsiteY510" fmla="*/ 700173 h 1153348"/>
              <a:gd name="connsiteX511" fmla="*/ 2802641 w 6837827"/>
              <a:gd name="connsiteY511" fmla="*/ 670354 h 1153348"/>
              <a:gd name="connsiteX512" fmla="*/ 2810621 w 6837827"/>
              <a:gd name="connsiteY512" fmla="*/ 642635 h 1153348"/>
              <a:gd name="connsiteX513" fmla="*/ 2819860 w 6837827"/>
              <a:gd name="connsiteY513" fmla="*/ 622056 h 1153348"/>
              <a:gd name="connsiteX514" fmla="*/ 2838759 w 6837827"/>
              <a:gd name="connsiteY514" fmla="*/ 590137 h 1153348"/>
              <a:gd name="connsiteX515" fmla="*/ 2860179 w 6837827"/>
              <a:gd name="connsiteY515" fmla="*/ 566198 h 1153348"/>
              <a:gd name="connsiteX516" fmla="*/ 2889157 w 6837827"/>
              <a:gd name="connsiteY516" fmla="*/ 555279 h 1153348"/>
              <a:gd name="connsiteX517" fmla="*/ 2931576 w 6837827"/>
              <a:gd name="connsiteY517" fmla="*/ 563258 h 1153348"/>
              <a:gd name="connsiteX518" fmla="*/ 2946275 w 6837827"/>
              <a:gd name="connsiteY518" fmla="*/ 554859 h 1153348"/>
              <a:gd name="connsiteX519" fmla="*/ 2951735 w 6837827"/>
              <a:gd name="connsiteY519" fmla="*/ 540579 h 1153348"/>
              <a:gd name="connsiteX520" fmla="*/ 2950475 w 6837827"/>
              <a:gd name="connsiteY520" fmla="*/ 523360 h 1153348"/>
              <a:gd name="connsiteX521" fmla="*/ 2945015 w 6837827"/>
              <a:gd name="connsiteY521" fmla="*/ 506561 h 1153348"/>
              <a:gd name="connsiteX522" fmla="*/ 2933676 w 6837827"/>
              <a:gd name="connsiteY522" fmla="*/ 493121 h 1153348"/>
              <a:gd name="connsiteX523" fmla="*/ 2916456 w 6837827"/>
              <a:gd name="connsiteY523" fmla="*/ 485142 h 1153348"/>
              <a:gd name="connsiteX524" fmla="*/ 2896717 w 6837827"/>
              <a:gd name="connsiteY524" fmla="*/ 481362 h 1153348"/>
              <a:gd name="connsiteX525" fmla="*/ 2878238 w 6837827"/>
              <a:gd name="connsiteY525" fmla="*/ 481362 h 1153348"/>
              <a:gd name="connsiteX526" fmla="*/ 2831200 w 6837827"/>
              <a:gd name="connsiteY526" fmla="*/ 496901 h 1153348"/>
              <a:gd name="connsiteX527" fmla="*/ 3248662 w 6837827"/>
              <a:gd name="connsiteY527" fmla="*/ 421725 h 1153348"/>
              <a:gd name="connsiteX528" fmla="*/ 3229763 w 6837827"/>
              <a:gd name="connsiteY528" fmla="*/ 451543 h 1153348"/>
              <a:gd name="connsiteX529" fmla="*/ 3225983 w 6837827"/>
              <a:gd name="connsiteY529" fmla="*/ 481362 h 1153348"/>
              <a:gd name="connsiteX530" fmla="*/ 3224723 w 6837827"/>
              <a:gd name="connsiteY530" fmla="*/ 510341 h 1153348"/>
              <a:gd name="connsiteX531" fmla="*/ 3223043 w 6837827"/>
              <a:gd name="connsiteY531" fmla="*/ 539739 h 1153348"/>
              <a:gd name="connsiteX532" fmla="*/ 3217163 w 6837827"/>
              <a:gd name="connsiteY532" fmla="*/ 568298 h 1153348"/>
              <a:gd name="connsiteX533" fmla="*/ 3201204 w 6837827"/>
              <a:gd name="connsiteY533" fmla="*/ 571238 h 1153348"/>
              <a:gd name="connsiteX534" fmla="*/ 3180625 w 6837827"/>
              <a:gd name="connsiteY534" fmla="*/ 574178 h 1153348"/>
              <a:gd name="connsiteX535" fmla="*/ 3160466 w 6837827"/>
              <a:gd name="connsiteY535" fmla="*/ 576278 h 1153348"/>
              <a:gd name="connsiteX536" fmla="*/ 3146186 w 6837827"/>
              <a:gd name="connsiteY536" fmla="*/ 576278 h 1153348"/>
              <a:gd name="connsiteX537" fmla="*/ 3141567 w 6837827"/>
              <a:gd name="connsiteY537" fmla="*/ 547719 h 1153348"/>
              <a:gd name="connsiteX538" fmla="*/ 3142406 w 6837827"/>
              <a:gd name="connsiteY538" fmla="*/ 522520 h 1153348"/>
              <a:gd name="connsiteX539" fmla="*/ 3144926 w 6837827"/>
              <a:gd name="connsiteY539" fmla="*/ 497741 h 1153348"/>
              <a:gd name="connsiteX540" fmla="*/ 3145766 w 6837827"/>
              <a:gd name="connsiteY540" fmla="*/ 470442 h 1153348"/>
              <a:gd name="connsiteX541" fmla="*/ 3139887 w 6837827"/>
              <a:gd name="connsiteY541" fmla="*/ 458683 h 1153348"/>
              <a:gd name="connsiteX542" fmla="*/ 3126867 w 6837827"/>
              <a:gd name="connsiteY542" fmla="*/ 449863 h 1153348"/>
              <a:gd name="connsiteX543" fmla="*/ 3111328 w 6837827"/>
              <a:gd name="connsiteY543" fmla="*/ 445663 h 1153348"/>
              <a:gd name="connsiteX544" fmla="*/ 3098728 w 6837827"/>
              <a:gd name="connsiteY544" fmla="*/ 446923 h 1153348"/>
              <a:gd name="connsiteX545" fmla="*/ 3085289 w 6837827"/>
              <a:gd name="connsiteY545" fmla="*/ 462043 h 1153348"/>
              <a:gd name="connsiteX546" fmla="*/ 3078989 w 6837827"/>
              <a:gd name="connsiteY546" fmla="*/ 487242 h 1153348"/>
              <a:gd name="connsiteX547" fmla="*/ 3077729 w 6837827"/>
              <a:gd name="connsiteY547" fmla="*/ 514121 h 1153348"/>
              <a:gd name="connsiteX548" fmla="*/ 3078989 w 6837827"/>
              <a:gd name="connsiteY548" fmla="*/ 534280 h 1153348"/>
              <a:gd name="connsiteX549" fmla="*/ 3079829 w 6837827"/>
              <a:gd name="connsiteY549" fmla="*/ 564098 h 1153348"/>
              <a:gd name="connsiteX550" fmla="*/ 3076049 w 6837827"/>
              <a:gd name="connsiteY550" fmla="*/ 593917 h 1153348"/>
              <a:gd name="connsiteX551" fmla="*/ 3072270 w 6837827"/>
              <a:gd name="connsiteY551" fmla="*/ 624576 h 1153348"/>
              <a:gd name="connsiteX552" fmla="*/ 3071430 w 6837827"/>
              <a:gd name="connsiteY552" fmla="*/ 655234 h 1153348"/>
              <a:gd name="connsiteX553" fmla="*/ 3072689 w 6837827"/>
              <a:gd name="connsiteY553" fmla="*/ 672034 h 1153348"/>
              <a:gd name="connsiteX554" fmla="*/ 3073529 w 6837827"/>
              <a:gd name="connsiteY554" fmla="*/ 691353 h 1153348"/>
              <a:gd name="connsiteX555" fmla="*/ 3073949 w 6837827"/>
              <a:gd name="connsiteY555" fmla="*/ 709412 h 1153348"/>
              <a:gd name="connsiteX556" fmla="*/ 3072689 w 6837827"/>
              <a:gd name="connsiteY556" fmla="*/ 722012 h 1153348"/>
              <a:gd name="connsiteX557" fmla="*/ 3071849 w 6837827"/>
              <a:gd name="connsiteY557" fmla="*/ 734611 h 1153348"/>
              <a:gd name="connsiteX558" fmla="*/ 3073529 w 6837827"/>
              <a:gd name="connsiteY558" fmla="*/ 752250 h 1153348"/>
              <a:gd name="connsiteX559" fmla="*/ 3076469 w 6837827"/>
              <a:gd name="connsiteY559" fmla="*/ 769889 h 1153348"/>
              <a:gd name="connsiteX560" fmla="*/ 3080249 w 6837827"/>
              <a:gd name="connsiteY560" fmla="*/ 781649 h 1153348"/>
              <a:gd name="connsiteX561" fmla="*/ 3100408 w 6837827"/>
              <a:gd name="connsiteY561" fmla="*/ 803908 h 1153348"/>
              <a:gd name="connsiteX562" fmla="*/ 3125187 w 6837827"/>
              <a:gd name="connsiteY562" fmla="*/ 809788 h 1153348"/>
              <a:gd name="connsiteX563" fmla="*/ 3145766 w 6837827"/>
              <a:gd name="connsiteY563" fmla="*/ 798868 h 1153348"/>
              <a:gd name="connsiteX564" fmla="*/ 3153746 w 6837827"/>
              <a:gd name="connsiteY564" fmla="*/ 769470 h 1153348"/>
              <a:gd name="connsiteX565" fmla="*/ 3152486 w 6837827"/>
              <a:gd name="connsiteY565" fmla="*/ 758970 h 1153348"/>
              <a:gd name="connsiteX566" fmla="*/ 3149966 w 6837827"/>
              <a:gd name="connsiteY566" fmla="*/ 753090 h 1153348"/>
              <a:gd name="connsiteX567" fmla="*/ 3147026 w 6837827"/>
              <a:gd name="connsiteY567" fmla="*/ 747630 h 1153348"/>
              <a:gd name="connsiteX568" fmla="*/ 3144926 w 6837827"/>
              <a:gd name="connsiteY568" fmla="*/ 738391 h 1153348"/>
              <a:gd name="connsiteX569" fmla="*/ 3141986 w 6837827"/>
              <a:gd name="connsiteY569" fmla="*/ 657334 h 1153348"/>
              <a:gd name="connsiteX570" fmla="*/ 3181045 w 6837827"/>
              <a:gd name="connsiteY570" fmla="*/ 640955 h 1153348"/>
              <a:gd name="connsiteX571" fmla="*/ 3222623 w 6837827"/>
              <a:gd name="connsiteY571" fmla="*/ 634655 h 1153348"/>
              <a:gd name="connsiteX572" fmla="*/ 3224303 w 6837827"/>
              <a:gd name="connsiteY572" fmla="*/ 646835 h 1153348"/>
              <a:gd name="connsiteX573" fmla="*/ 3224723 w 6837827"/>
              <a:gd name="connsiteY573" fmla="*/ 653554 h 1153348"/>
              <a:gd name="connsiteX574" fmla="*/ 3226823 w 6837827"/>
              <a:gd name="connsiteY574" fmla="*/ 671614 h 1153348"/>
              <a:gd name="connsiteX575" fmla="*/ 3225563 w 6837827"/>
              <a:gd name="connsiteY575" fmla="*/ 689673 h 1153348"/>
              <a:gd name="connsiteX576" fmla="*/ 3224303 w 6837827"/>
              <a:gd name="connsiteY576" fmla="*/ 708152 h 1153348"/>
              <a:gd name="connsiteX577" fmla="*/ 3228503 w 6837827"/>
              <a:gd name="connsiteY577" fmla="*/ 726211 h 1153348"/>
              <a:gd name="connsiteX578" fmla="*/ 3235222 w 6837827"/>
              <a:gd name="connsiteY578" fmla="*/ 742171 h 1153348"/>
              <a:gd name="connsiteX579" fmla="*/ 3245302 w 6837827"/>
              <a:gd name="connsiteY579" fmla="*/ 760650 h 1153348"/>
              <a:gd name="connsiteX580" fmla="*/ 3260001 w 6837827"/>
              <a:gd name="connsiteY580" fmla="*/ 774089 h 1153348"/>
              <a:gd name="connsiteX581" fmla="*/ 3280161 w 6837827"/>
              <a:gd name="connsiteY581" fmla="*/ 774509 h 1153348"/>
              <a:gd name="connsiteX582" fmla="*/ 3287720 w 6837827"/>
              <a:gd name="connsiteY582" fmla="*/ 769889 h 1153348"/>
              <a:gd name="connsiteX583" fmla="*/ 3295700 w 6837827"/>
              <a:gd name="connsiteY583" fmla="*/ 759810 h 1153348"/>
              <a:gd name="connsiteX584" fmla="*/ 3301160 w 6837827"/>
              <a:gd name="connsiteY584" fmla="*/ 744271 h 1153348"/>
              <a:gd name="connsiteX585" fmla="*/ 3301160 w 6837827"/>
              <a:gd name="connsiteY585" fmla="*/ 723691 h 1153348"/>
              <a:gd name="connsiteX586" fmla="*/ 3298220 w 6837827"/>
              <a:gd name="connsiteY586" fmla="*/ 701432 h 1153348"/>
              <a:gd name="connsiteX587" fmla="*/ 3296540 w 6837827"/>
              <a:gd name="connsiteY587" fmla="*/ 685053 h 1153348"/>
              <a:gd name="connsiteX588" fmla="*/ 3295700 w 6837827"/>
              <a:gd name="connsiteY588" fmla="*/ 669514 h 1153348"/>
              <a:gd name="connsiteX589" fmla="*/ 3295700 w 6837827"/>
              <a:gd name="connsiteY589" fmla="*/ 650195 h 1153348"/>
              <a:gd name="connsiteX590" fmla="*/ 3294440 w 6837827"/>
              <a:gd name="connsiteY590" fmla="*/ 622056 h 1153348"/>
              <a:gd name="connsiteX591" fmla="*/ 3291920 w 6837827"/>
              <a:gd name="connsiteY591" fmla="*/ 593917 h 1153348"/>
              <a:gd name="connsiteX592" fmla="*/ 3290240 w 6837827"/>
              <a:gd name="connsiteY592" fmla="*/ 565778 h 1153348"/>
              <a:gd name="connsiteX593" fmla="*/ 3290660 w 6837827"/>
              <a:gd name="connsiteY593" fmla="*/ 537639 h 1153348"/>
              <a:gd name="connsiteX594" fmla="*/ 3290660 w 6837827"/>
              <a:gd name="connsiteY594" fmla="*/ 522940 h 1153348"/>
              <a:gd name="connsiteX595" fmla="*/ 3290240 w 6837827"/>
              <a:gd name="connsiteY595" fmla="*/ 500261 h 1153348"/>
              <a:gd name="connsiteX596" fmla="*/ 3290660 w 6837827"/>
              <a:gd name="connsiteY596" fmla="*/ 478422 h 1153348"/>
              <a:gd name="connsiteX597" fmla="*/ 3293180 w 6837827"/>
              <a:gd name="connsiteY597" fmla="*/ 466662 h 1153348"/>
              <a:gd name="connsiteX598" fmla="*/ 3299900 w 6837827"/>
              <a:gd name="connsiteY598" fmla="*/ 454903 h 1153348"/>
              <a:gd name="connsiteX599" fmla="*/ 3301160 w 6837827"/>
              <a:gd name="connsiteY599" fmla="*/ 441044 h 1153348"/>
              <a:gd name="connsiteX600" fmla="*/ 3296540 w 6837827"/>
              <a:gd name="connsiteY600" fmla="*/ 428864 h 1153348"/>
              <a:gd name="connsiteX601" fmla="*/ 3286040 w 6837827"/>
              <a:gd name="connsiteY601" fmla="*/ 420464 h 1153348"/>
              <a:gd name="connsiteX602" fmla="*/ 3248662 w 6837827"/>
              <a:gd name="connsiteY602" fmla="*/ 421725 h 1153348"/>
              <a:gd name="connsiteX603" fmla="*/ 3685023 w 6837827"/>
              <a:gd name="connsiteY603" fmla="*/ 666994 h 1153348"/>
              <a:gd name="connsiteX604" fmla="*/ 3689643 w 6837827"/>
              <a:gd name="connsiteY604" fmla="*/ 647675 h 1153348"/>
              <a:gd name="connsiteX605" fmla="*/ 3692163 w 6837827"/>
              <a:gd name="connsiteY605" fmla="*/ 626676 h 1153348"/>
              <a:gd name="connsiteX606" fmla="*/ 3693843 w 6837827"/>
              <a:gd name="connsiteY606" fmla="*/ 598957 h 1153348"/>
              <a:gd name="connsiteX607" fmla="*/ 3698463 w 6837827"/>
              <a:gd name="connsiteY607" fmla="*/ 578378 h 1153348"/>
              <a:gd name="connsiteX608" fmla="*/ 3701822 w 6837827"/>
              <a:gd name="connsiteY608" fmla="*/ 557379 h 1153348"/>
              <a:gd name="connsiteX609" fmla="*/ 3703082 w 6837827"/>
              <a:gd name="connsiteY609" fmla="*/ 541419 h 1153348"/>
              <a:gd name="connsiteX610" fmla="*/ 3703502 w 6837827"/>
              <a:gd name="connsiteY610" fmla="*/ 522520 h 1153348"/>
              <a:gd name="connsiteX611" fmla="*/ 3705602 w 6837827"/>
              <a:gd name="connsiteY611" fmla="*/ 504041 h 1153348"/>
              <a:gd name="connsiteX612" fmla="*/ 3710642 w 6837827"/>
              <a:gd name="connsiteY612" fmla="*/ 488922 h 1153348"/>
              <a:gd name="connsiteX613" fmla="*/ 3719042 w 6837827"/>
              <a:gd name="connsiteY613" fmla="*/ 456583 h 1153348"/>
              <a:gd name="connsiteX614" fmla="*/ 3711062 w 6837827"/>
              <a:gd name="connsiteY614" fmla="*/ 429284 h 1153348"/>
              <a:gd name="connsiteX615" fmla="*/ 3692163 w 6837827"/>
              <a:gd name="connsiteY615" fmla="*/ 410385 h 1153348"/>
              <a:gd name="connsiteX616" fmla="*/ 3668644 w 6837827"/>
              <a:gd name="connsiteY616" fmla="*/ 403665 h 1153348"/>
              <a:gd name="connsiteX617" fmla="*/ 3646805 w 6837827"/>
              <a:gd name="connsiteY617" fmla="*/ 412905 h 1153348"/>
              <a:gd name="connsiteX618" fmla="*/ 3632525 w 6837827"/>
              <a:gd name="connsiteY618" fmla="*/ 441044 h 1153348"/>
              <a:gd name="connsiteX619" fmla="*/ 3627485 w 6837827"/>
              <a:gd name="connsiteY619" fmla="*/ 491022 h 1153348"/>
              <a:gd name="connsiteX620" fmla="*/ 3622026 w 6837827"/>
              <a:gd name="connsiteY620" fmla="*/ 540999 h 1153348"/>
              <a:gd name="connsiteX621" fmla="*/ 3621186 w 6837827"/>
              <a:gd name="connsiteY621" fmla="*/ 556539 h 1153348"/>
              <a:gd name="connsiteX622" fmla="*/ 3617826 w 6837827"/>
              <a:gd name="connsiteY622" fmla="*/ 571238 h 1153348"/>
              <a:gd name="connsiteX623" fmla="*/ 3613626 w 6837827"/>
              <a:gd name="connsiteY623" fmla="*/ 579218 h 1153348"/>
              <a:gd name="connsiteX624" fmla="*/ 3611526 w 6837827"/>
              <a:gd name="connsiteY624" fmla="*/ 587617 h 1153348"/>
              <a:gd name="connsiteX625" fmla="*/ 3595147 w 6837827"/>
              <a:gd name="connsiteY625" fmla="*/ 565358 h 1153348"/>
              <a:gd name="connsiteX626" fmla="*/ 3583387 w 6837827"/>
              <a:gd name="connsiteY626" fmla="*/ 548139 h 1153348"/>
              <a:gd name="connsiteX627" fmla="*/ 3574148 w 6837827"/>
              <a:gd name="connsiteY627" fmla="*/ 532180 h 1153348"/>
              <a:gd name="connsiteX628" fmla="*/ 3565748 w 6837827"/>
              <a:gd name="connsiteY628" fmla="*/ 513700 h 1153348"/>
              <a:gd name="connsiteX629" fmla="*/ 3554409 w 6837827"/>
              <a:gd name="connsiteY629" fmla="*/ 485562 h 1153348"/>
              <a:gd name="connsiteX630" fmla="*/ 3539709 w 6837827"/>
              <a:gd name="connsiteY630" fmla="*/ 459103 h 1153348"/>
              <a:gd name="connsiteX631" fmla="*/ 3502331 w 6837827"/>
              <a:gd name="connsiteY631" fmla="*/ 432224 h 1153348"/>
              <a:gd name="connsiteX632" fmla="*/ 3472092 w 6837827"/>
              <a:gd name="connsiteY632" fmla="*/ 445663 h 1153348"/>
              <a:gd name="connsiteX633" fmla="*/ 3452773 w 6837827"/>
              <a:gd name="connsiteY633" fmla="*/ 483462 h 1153348"/>
              <a:gd name="connsiteX634" fmla="*/ 3448573 w 6837827"/>
              <a:gd name="connsiteY634" fmla="*/ 529660 h 1153348"/>
              <a:gd name="connsiteX635" fmla="*/ 3449833 w 6837827"/>
              <a:gd name="connsiteY635" fmla="*/ 539739 h 1153348"/>
              <a:gd name="connsiteX636" fmla="*/ 3451933 w 6837827"/>
              <a:gd name="connsiteY636" fmla="*/ 550239 h 1153348"/>
              <a:gd name="connsiteX637" fmla="*/ 3451513 w 6837827"/>
              <a:gd name="connsiteY637" fmla="*/ 560319 h 1153348"/>
              <a:gd name="connsiteX638" fmla="*/ 3446053 w 6837827"/>
              <a:gd name="connsiteY638" fmla="*/ 569558 h 1153348"/>
              <a:gd name="connsiteX639" fmla="*/ 3441854 w 6837827"/>
              <a:gd name="connsiteY639" fmla="*/ 588037 h 1153348"/>
              <a:gd name="connsiteX640" fmla="*/ 3441854 w 6837827"/>
              <a:gd name="connsiteY640" fmla="*/ 607356 h 1153348"/>
              <a:gd name="connsiteX641" fmla="*/ 3439334 w 6837827"/>
              <a:gd name="connsiteY641" fmla="*/ 626256 h 1153348"/>
              <a:gd name="connsiteX642" fmla="*/ 3435134 w 6837827"/>
              <a:gd name="connsiteY642" fmla="*/ 656494 h 1153348"/>
              <a:gd name="connsiteX643" fmla="*/ 3429674 w 6837827"/>
              <a:gd name="connsiteY643" fmla="*/ 685893 h 1153348"/>
              <a:gd name="connsiteX644" fmla="*/ 3424214 w 6837827"/>
              <a:gd name="connsiteY644" fmla="*/ 702272 h 1153348"/>
              <a:gd name="connsiteX645" fmla="*/ 3419175 w 6837827"/>
              <a:gd name="connsiteY645" fmla="*/ 714872 h 1153348"/>
              <a:gd name="connsiteX646" fmla="*/ 3417494 w 6837827"/>
              <a:gd name="connsiteY646" fmla="*/ 732931 h 1153348"/>
              <a:gd name="connsiteX647" fmla="*/ 3417915 w 6837827"/>
              <a:gd name="connsiteY647" fmla="*/ 751830 h 1153348"/>
              <a:gd name="connsiteX648" fmla="*/ 3418755 w 6837827"/>
              <a:gd name="connsiteY648" fmla="*/ 766530 h 1153348"/>
              <a:gd name="connsiteX649" fmla="*/ 3420855 w 6837827"/>
              <a:gd name="connsiteY649" fmla="*/ 782909 h 1153348"/>
              <a:gd name="connsiteX650" fmla="*/ 3426314 w 6837827"/>
              <a:gd name="connsiteY650" fmla="*/ 798868 h 1153348"/>
              <a:gd name="connsiteX651" fmla="*/ 3436814 w 6837827"/>
              <a:gd name="connsiteY651" fmla="*/ 810208 h 1153348"/>
              <a:gd name="connsiteX652" fmla="*/ 3454033 w 6837827"/>
              <a:gd name="connsiteY652" fmla="*/ 814408 h 1153348"/>
              <a:gd name="connsiteX653" fmla="*/ 3477132 w 6837827"/>
              <a:gd name="connsiteY653" fmla="*/ 805588 h 1153348"/>
              <a:gd name="connsiteX654" fmla="*/ 3486792 w 6837827"/>
              <a:gd name="connsiteY654" fmla="*/ 782909 h 1153348"/>
              <a:gd name="connsiteX655" fmla="*/ 3488891 w 6837827"/>
              <a:gd name="connsiteY655" fmla="*/ 754350 h 1153348"/>
              <a:gd name="connsiteX656" fmla="*/ 3492251 w 6837827"/>
              <a:gd name="connsiteY656" fmla="*/ 725791 h 1153348"/>
              <a:gd name="connsiteX657" fmla="*/ 3501491 w 6837827"/>
              <a:gd name="connsiteY657" fmla="*/ 677074 h 1153348"/>
              <a:gd name="connsiteX658" fmla="*/ 3509471 w 6837827"/>
              <a:gd name="connsiteY658" fmla="*/ 628355 h 1153348"/>
              <a:gd name="connsiteX659" fmla="*/ 3511151 w 6837827"/>
              <a:gd name="connsiteY659" fmla="*/ 608196 h 1153348"/>
              <a:gd name="connsiteX660" fmla="*/ 3514510 w 6837827"/>
              <a:gd name="connsiteY660" fmla="*/ 587617 h 1153348"/>
              <a:gd name="connsiteX661" fmla="*/ 3515770 w 6837827"/>
              <a:gd name="connsiteY661" fmla="*/ 593497 h 1153348"/>
              <a:gd name="connsiteX662" fmla="*/ 3520810 w 6837827"/>
              <a:gd name="connsiteY662" fmla="*/ 600217 h 1153348"/>
              <a:gd name="connsiteX663" fmla="*/ 3527110 w 6837827"/>
              <a:gd name="connsiteY663" fmla="*/ 606517 h 1153348"/>
              <a:gd name="connsiteX664" fmla="*/ 3531730 w 6837827"/>
              <a:gd name="connsiteY664" fmla="*/ 611556 h 1153348"/>
              <a:gd name="connsiteX665" fmla="*/ 3553989 w 6837827"/>
              <a:gd name="connsiteY665" fmla="*/ 647255 h 1153348"/>
              <a:gd name="connsiteX666" fmla="*/ 3578348 w 6837827"/>
              <a:gd name="connsiteY666" fmla="*/ 685893 h 1153348"/>
              <a:gd name="connsiteX667" fmla="*/ 3609006 w 6837827"/>
              <a:gd name="connsiteY667" fmla="*/ 715712 h 1153348"/>
              <a:gd name="connsiteX668" fmla="*/ 3651424 w 6837827"/>
              <a:gd name="connsiteY668" fmla="*/ 724951 h 1153348"/>
              <a:gd name="connsiteX669" fmla="*/ 3662764 w 6837827"/>
              <a:gd name="connsiteY669" fmla="*/ 720332 h 1153348"/>
              <a:gd name="connsiteX670" fmla="*/ 3669904 w 6837827"/>
              <a:gd name="connsiteY670" fmla="*/ 711512 h 1153348"/>
              <a:gd name="connsiteX671" fmla="*/ 3674523 w 6837827"/>
              <a:gd name="connsiteY671" fmla="*/ 700592 h 1153348"/>
              <a:gd name="connsiteX672" fmla="*/ 3678303 w 6837827"/>
              <a:gd name="connsiteY672" fmla="*/ 689673 h 1153348"/>
              <a:gd name="connsiteX673" fmla="*/ 3685023 w 6837827"/>
              <a:gd name="connsiteY673" fmla="*/ 666994 h 1153348"/>
              <a:gd name="connsiteX674" fmla="*/ 3998330 w 6837827"/>
              <a:gd name="connsiteY674" fmla="*/ 336468 h 1153348"/>
              <a:gd name="connsiteX675" fmla="*/ 3990350 w 6837827"/>
              <a:gd name="connsiteY675" fmla="*/ 337308 h 1153348"/>
              <a:gd name="connsiteX676" fmla="*/ 3963051 w 6837827"/>
              <a:gd name="connsiteY676" fmla="*/ 342768 h 1153348"/>
              <a:gd name="connsiteX677" fmla="*/ 3942052 w 6837827"/>
              <a:gd name="connsiteY677" fmla="*/ 352007 h 1153348"/>
              <a:gd name="connsiteX678" fmla="*/ 3921473 w 6837827"/>
              <a:gd name="connsiteY678" fmla="*/ 363767 h 1153348"/>
              <a:gd name="connsiteX679" fmla="*/ 3895014 w 6837827"/>
              <a:gd name="connsiteY679" fmla="*/ 376786 h 1153348"/>
              <a:gd name="connsiteX680" fmla="*/ 3885774 w 6837827"/>
              <a:gd name="connsiteY680" fmla="*/ 378886 h 1153348"/>
              <a:gd name="connsiteX681" fmla="*/ 3875695 w 6837827"/>
              <a:gd name="connsiteY681" fmla="*/ 379306 h 1153348"/>
              <a:gd name="connsiteX682" fmla="*/ 3866035 w 6837827"/>
              <a:gd name="connsiteY682" fmla="*/ 381406 h 1153348"/>
              <a:gd name="connsiteX683" fmla="*/ 3858056 w 6837827"/>
              <a:gd name="connsiteY683" fmla="*/ 387706 h 1153348"/>
              <a:gd name="connsiteX684" fmla="*/ 3834957 w 6837827"/>
              <a:gd name="connsiteY684" fmla="*/ 489342 h 1153348"/>
              <a:gd name="connsiteX685" fmla="*/ 3832437 w 6837827"/>
              <a:gd name="connsiteY685" fmla="*/ 592237 h 1153348"/>
              <a:gd name="connsiteX686" fmla="*/ 3836637 w 6837827"/>
              <a:gd name="connsiteY686" fmla="*/ 619956 h 1153348"/>
              <a:gd name="connsiteX687" fmla="*/ 3842936 w 6837827"/>
              <a:gd name="connsiteY687" fmla="*/ 647675 h 1153348"/>
              <a:gd name="connsiteX688" fmla="*/ 3862675 w 6837827"/>
              <a:gd name="connsiteY688" fmla="*/ 688413 h 1153348"/>
              <a:gd name="connsiteX689" fmla="*/ 3897534 w 6837827"/>
              <a:gd name="connsiteY689" fmla="*/ 716972 h 1153348"/>
              <a:gd name="connsiteX690" fmla="*/ 3949192 w 6837827"/>
              <a:gd name="connsiteY690" fmla="*/ 726211 h 1153348"/>
              <a:gd name="connsiteX691" fmla="*/ 3979431 w 6837827"/>
              <a:gd name="connsiteY691" fmla="*/ 718232 h 1153348"/>
              <a:gd name="connsiteX692" fmla="*/ 4006729 w 6837827"/>
              <a:gd name="connsiteY692" fmla="*/ 703112 h 1153348"/>
              <a:gd name="connsiteX693" fmla="*/ 4024368 w 6837827"/>
              <a:gd name="connsiteY693" fmla="*/ 677493 h 1153348"/>
              <a:gd name="connsiteX694" fmla="*/ 4032348 w 6837827"/>
              <a:gd name="connsiteY694" fmla="*/ 659014 h 1153348"/>
              <a:gd name="connsiteX695" fmla="*/ 4035708 w 6837827"/>
              <a:gd name="connsiteY695" fmla="*/ 638015 h 1153348"/>
              <a:gd name="connsiteX696" fmla="*/ 4024788 w 6837827"/>
              <a:gd name="connsiteY696" fmla="*/ 618276 h 1153348"/>
              <a:gd name="connsiteX697" fmla="*/ 4001689 w 6837827"/>
              <a:gd name="connsiteY697" fmla="*/ 609876 h 1153348"/>
              <a:gd name="connsiteX698" fmla="*/ 3991190 w 6837827"/>
              <a:gd name="connsiteY698" fmla="*/ 611136 h 1153348"/>
              <a:gd name="connsiteX699" fmla="*/ 3984890 w 6837827"/>
              <a:gd name="connsiteY699" fmla="*/ 614916 h 1153348"/>
              <a:gd name="connsiteX700" fmla="*/ 3980690 w 6837827"/>
              <a:gd name="connsiteY700" fmla="*/ 621216 h 1153348"/>
              <a:gd name="connsiteX701" fmla="*/ 3975651 w 6837827"/>
              <a:gd name="connsiteY701" fmla="*/ 629616 h 1153348"/>
              <a:gd name="connsiteX702" fmla="*/ 3964731 w 6837827"/>
              <a:gd name="connsiteY702" fmla="*/ 639695 h 1153348"/>
              <a:gd name="connsiteX703" fmla="*/ 3951291 w 6837827"/>
              <a:gd name="connsiteY703" fmla="*/ 643895 h 1153348"/>
              <a:gd name="connsiteX704" fmla="*/ 3922313 w 6837827"/>
              <a:gd name="connsiteY704" fmla="*/ 635495 h 1153348"/>
              <a:gd name="connsiteX705" fmla="*/ 3909713 w 6837827"/>
              <a:gd name="connsiteY705" fmla="*/ 606096 h 1153348"/>
              <a:gd name="connsiteX706" fmla="*/ 3926933 w 6837827"/>
              <a:gd name="connsiteY706" fmla="*/ 593497 h 1153348"/>
              <a:gd name="connsiteX707" fmla="*/ 3947092 w 6837827"/>
              <a:gd name="connsiteY707" fmla="*/ 582578 h 1153348"/>
              <a:gd name="connsiteX708" fmla="*/ 3966831 w 6837827"/>
              <a:gd name="connsiteY708" fmla="*/ 570398 h 1153348"/>
              <a:gd name="connsiteX709" fmla="*/ 3982790 w 6837827"/>
              <a:gd name="connsiteY709" fmla="*/ 554439 h 1153348"/>
              <a:gd name="connsiteX710" fmla="*/ 3991190 w 6837827"/>
              <a:gd name="connsiteY710" fmla="*/ 538059 h 1153348"/>
              <a:gd name="connsiteX711" fmla="*/ 3993290 w 6837827"/>
              <a:gd name="connsiteY711" fmla="*/ 519580 h 1153348"/>
              <a:gd name="connsiteX712" fmla="*/ 3983630 w 6837827"/>
              <a:gd name="connsiteY712" fmla="*/ 501521 h 1153348"/>
              <a:gd name="connsiteX713" fmla="*/ 3962631 w 6837827"/>
              <a:gd name="connsiteY713" fmla="*/ 495641 h 1153348"/>
              <a:gd name="connsiteX714" fmla="*/ 3942052 w 6837827"/>
              <a:gd name="connsiteY714" fmla="*/ 500681 h 1153348"/>
              <a:gd name="connsiteX715" fmla="*/ 3924413 w 6837827"/>
              <a:gd name="connsiteY715" fmla="*/ 508661 h 1153348"/>
              <a:gd name="connsiteX716" fmla="*/ 3914333 w 6837827"/>
              <a:gd name="connsiteY716" fmla="*/ 512860 h 1153348"/>
              <a:gd name="connsiteX717" fmla="*/ 3909294 w 6837827"/>
              <a:gd name="connsiteY717" fmla="*/ 511601 h 1153348"/>
              <a:gd name="connsiteX718" fmla="*/ 3907613 w 6837827"/>
              <a:gd name="connsiteY718" fmla="*/ 506561 h 1153348"/>
              <a:gd name="connsiteX719" fmla="*/ 3906773 w 6837827"/>
              <a:gd name="connsiteY719" fmla="*/ 500261 h 1153348"/>
              <a:gd name="connsiteX720" fmla="*/ 3907613 w 6837827"/>
              <a:gd name="connsiteY720" fmla="*/ 487242 h 1153348"/>
              <a:gd name="connsiteX721" fmla="*/ 3910973 w 6837827"/>
              <a:gd name="connsiteY721" fmla="*/ 472542 h 1153348"/>
              <a:gd name="connsiteX722" fmla="*/ 3914753 w 6837827"/>
              <a:gd name="connsiteY722" fmla="*/ 459523 h 1153348"/>
              <a:gd name="connsiteX723" fmla="*/ 3917273 w 6837827"/>
              <a:gd name="connsiteY723" fmla="*/ 450703 h 1153348"/>
              <a:gd name="connsiteX724" fmla="*/ 3928613 w 6837827"/>
              <a:gd name="connsiteY724" fmla="*/ 437684 h 1153348"/>
              <a:gd name="connsiteX725" fmla="*/ 3949612 w 6837827"/>
              <a:gd name="connsiteY725" fmla="*/ 425504 h 1153348"/>
              <a:gd name="connsiteX726" fmla="*/ 3973131 w 6837827"/>
              <a:gd name="connsiteY726" fmla="*/ 415425 h 1153348"/>
              <a:gd name="connsiteX727" fmla="*/ 3991190 w 6837827"/>
              <a:gd name="connsiteY727" fmla="*/ 408705 h 1153348"/>
              <a:gd name="connsiteX728" fmla="*/ 4023529 w 6837827"/>
              <a:gd name="connsiteY728" fmla="*/ 393586 h 1153348"/>
              <a:gd name="connsiteX729" fmla="*/ 4038648 w 6837827"/>
              <a:gd name="connsiteY729" fmla="*/ 361667 h 1153348"/>
              <a:gd name="connsiteX730" fmla="*/ 4035708 w 6837827"/>
              <a:gd name="connsiteY730" fmla="*/ 351588 h 1153348"/>
              <a:gd name="connsiteX731" fmla="*/ 4027309 w 6837827"/>
              <a:gd name="connsiteY731" fmla="*/ 343608 h 1153348"/>
              <a:gd name="connsiteX732" fmla="*/ 4016389 w 6837827"/>
              <a:gd name="connsiteY732" fmla="*/ 338148 h 1153348"/>
              <a:gd name="connsiteX733" fmla="*/ 4006309 w 6837827"/>
              <a:gd name="connsiteY733" fmla="*/ 336468 h 1153348"/>
              <a:gd name="connsiteX734" fmla="*/ 3998330 w 6837827"/>
              <a:gd name="connsiteY734" fmla="*/ 336468 h 1153348"/>
              <a:gd name="connsiteX735" fmla="*/ 4295677 w 6837827"/>
              <a:gd name="connsiteY735" fmla="*/ 480522 h 1153348"/>
              <a:gd name="connsiteX736" fmla="*/ 4281818 w 6837827"/>
              <a:gd name="connsiteY736" fmla="*/ 511601 h 1153348"/>
              <a:gd name="connsiteX737" fmla="*/ 4266278 w 6837827"/>
              <a:gd name="connsiteY737" fmla="*/ 540999 h 1153348"/>
              <a:gd name="connsiteX738" fmla="*/ 4252839 w 6837827"/>
              <a:gd name="connsiteY738" fmla="*/ 557379 h 1153348"/>
              <a:gd name="connsiteX739" fmla="*/ 4247799 w 6837827"/>
              <a:gd name="connsiteY739" fmla="*/ 525460 h 1153348"/>
              <a:gd name="connsiteX740" fmla="*/ 4245279 w 6837827"/>
              <a:gd name="connsiteY740" fmla="*/ 494381 h 1153348"/>
              <a:gd name="connsiteX741" fmla="*/ 4242759 w 6837827"/>
              <a:gd name="connsiteY741" fmla="*/ 469182 h 1153348"/>
              <a:gd name="connsiteX742" fmla="*/ 4238559 w 6837827"/>
              <a:gd name="connsiteY742" fmla="*/ 443144 h 1153348"/>
              <a:gd name="connsiteX743" fmla="*/ 4234779 w 6837827"/>
              <a:gd name="connsiteY743" fmla="*/ 418785 h 1153348"/>
              <a:gd name="connsiteX744" fmla="*/ 4233940 w 6837827"/>
              <a:gd name="connsiteY744" fmla="*/ 397786 h 1153348"/>
              <a:gd name="connsiteX745" fmla="*/ 4229320 w 6837827"/>
              <a:gd name="connsiteY745" fmla="*/ 373847 h 1153348"/>
              <a:gd name="connsiteX746" fmla="*/ 4226800 w 6837827"/>
              <a:gd name="connsiteY746" fmla="*/ 345288 h 1153348"/>
              <a:gd name="connsiteX747" fmla="*/ 4223020 w 6837827"/>
              <a:gd name="connsiteY747" fmla="*/ 317149 h 1153348"/>
              <a:gd name="connsiteX748" fmla="*/ 4214621 w 6837827"/>
              <a:gd name="connsiteY748" fmla="*/ 293210 h 1153348"/>
              <a:gd name="connsiteX749" fmla="*/ 4198661 w 6837827"/>
              <a:gd name="connsiteY749" fmla="*/ 278511 h 1153348"/>
              <a:gd name="connsiteX750" fmla="*/ 4171782 w 6837827"/>
              <a:gd name="connsiteY750" fmla="*/ 276831 h 1153348"/>
              <a:gd name="connsiteX751" fmla="*/ 4160023 w 6837827"/>
              <a:gd name="connsiteY751" fmla="*/ 280610 h 1153348"/>
              <a:gd name="connsiteX752" fmla="*/ 4150363 w 6837827"/>
              <a:gd name="connsiteY752" fmla="*/ 285650 h 1153348"/>
              <a:gd name="connsiteX753" fmla="*/ 4144483 w 6837827"/>
              <a:gd name="connsiteY753" fmla="*/ 293630 h 1153348"/>
              <a:gd name="connsiteX754" fmla="*/ 4143643 w 6837827"/>
              <a:gd name="connsiteY754" fmla="*/ 306649 h 1153348"/>
              <a:gd name="connsiteX755" fmla="*/ 4150363 w 6837827"/>
              <a:gd name="connsiteY755" fmla="*/ 339408 h 1153348"/>
              <a:gd name="connsiteX756" fmla="*/ 4158343 w 6837827"/>
              <a:gd name="connsiteY756" fmla="*/ 373847 h 1153348"/>
              <a:gd name="connsiteX757" fmla="*/ 4160863 w 6837827"/>
              <a:gd name="connsiteY757" fmla="*/ 394006 h 1153348"/>
              <a:gd name="connsiteX758" fmla="*/ 4165062 w 6837827"/>
              <a:gd name="connsiteY758" fmla="*/ 430964 h 1153348"/>
              <a:gd name="connsiteX759" fmla="*/ 4170942 w 6837827"/>
              <a:gd name="connsiteY759" fmla="*/ 478002 h 1153348"/>
              <a:gd name="connsiteX760" fmla="*/ 4177662 w 6837827"/>
              <a:gd name="connsiteY760" fmla="*/ 528820 h 1153348"/>
              <a:gd name="connsiteX761" fmla="*/ 4185222 w 6837827"/>
              <a:gd name="connsiteY761" fmla="*/ 577118 h 1153348"/>
              <a:gd name="connsiteX762" fmla="*/ 4193201 w 6837827"/>
              <a:gd name="connsiteY762" fmla="*/ 616176 h 1153348"/>
              <a:gd name="connsiteX763" fmla="*/ 4196981 w 6837827"/>
              <a:gd name="connsiteY763" fmla="*/ 646415 h 1153348"/>
              <a:gd name="connsiteX764" fmla="*/ 4204121 w 6837827"/>
              <a:gd name="connsiteY764" fmla="*/ 677074 h 1153348"/>
              <a:gd name="connsiteX765" fmla="*/ 4222180 w 6837827"/>
              <a:gd name="connsiteY765" fmla="*/ 691353 h 1153348"/>
              <a:gd name="connsiteX766" fmla="*/ 4245699 w 6837827"/>
              <a:gd name="connsiteY766" fmla="*/ 690093 h 1153348"/>
              <a:gd name="connsiteX767" fmla="*/ 4266278 w 6837827"/>
              <a:gd name="connsiteY767" fmla="*/ 677493 h 1153348"/>
              <a:gd name="connsiteX768" fmla="*/ 4287698 w 6837827"/>
              <a:gd name="connsiteY768" fmla="*/ 651875 h 1153348"/>
              <a:gd name="connsiteX769" fmla="*/ 4308276 w 6837827"/>
              <a:gd name="connsiteY769" fmla="*/ 618276 h 1153348"/>
              <a:gd name="connsiteX770" fmla="*/ 4326336 w 6837827"/>
              <a:gd name="connsiteY770" fmla="*/ 581738 h 1153348"/>
              <a:gd name="connsiteX771" fmla="*/ 4339775 w 6837827"/>
              <a:gd name="connsiteY771" fmla="*/ 548559 h 1153348"/>
              <a:gd name="connsiteX772" fmla="*/ 4346915 w 6837827"/>
              <a:gd name="connsiteY772" fmla="*/ 523780 h 1153348"/>
              <a:gd name="connsiteX773" fmla="*/ 4354895 w 6837827"/>
              <a:gd name="connsiteY773" fmla="*/ 495641 h 1153348"/>
              <a:gd name="connsiteX774" fmla="*/ 4367914 w 6837827"/>
              <a:gd name="connsiteY774" fmla="*/ 466662 h 1153348"/>
              <a:gd name="connsiteX775" fmla="*/ 4382193 w 6837827"/>
              <a:gd name="connsiteY775" fmla="*/ 438104 h 1153348"/>
              <a:gd name="connsiteX776" fmla="*/ 4393953 w 6837827"/>
              <a:gd name="connsiteY776" fmla="*/ 410805 h 1153348"/>
              <a:gd name="connsiteX777" fmla="*/ 4401932 w 6837827"/>
              <a:gd name="connsiteY777" fmla="*/ 394846 h 1153348"/>
              <a:gd name="connsiteX778" fmla="*/ 4412852 w 6837827"/>
              <a:gd name="connsiteY778" fmla="*/ 380146 h 1153348"/>
              <a:gd name="connsiteX779" fmla="*/ 4423351 w 6837827"/>
              <a:gd name="connsiteY779" fmla="*/ 365027 h 1153348"/>
              <a:gd name="connsiteX780" fmla="*/ 4430491 w 6837827"/>
              <a:gd name="connsiteY780" fmla="*/ 349067 h 1153348"/>
              <a:gd name="connsiteX781" fmla="*/ 4433431 w 6837827"/>
              <a:gd name="connsiteY781" fmla="*/ 322189 h 1153348"/>
              <a:gd name="connsiteX782" fmla="*/ 4427131 w 6837827"/>
              <a:gd name="connsiteY782" fmla="*/ 297410 h 1153348"/>
              <a:gd name="connsiteX783" fmla="*/ 4410332 w 6837827"/>
              <a:gd name="connsiteY783" fmla="*/ 279770 h 1153348"/>
              <a:gd name="connsiteX784" fmla="*/ 4382193 w 6837827"/>
              <a:gd name="connsiteY784" fmla="*/ 275151 h 1153348"/>
              <a:gd name="connsiteX785" fmla="*/ 4367914 w 6837827"/>
              <a:gd name="connsiteY785" fmla="*/ 280610 h 1153348"/>
              <a:gd name="connsiteX786" fmla="*/ 4357834 w 6837827"/>
              <a:gd name="connsiteY786" fmla="*/ 291530 h 1153348"/>
              <a:gd name="connsiteX787" fmla="*/ 4350695 w 6837827"/>
              <a:gd name="connsiteY787" fmla="*/ 305809 h 1153348"/>
              <a:gd name="connsiteX788" fmla="*/ 4345235 w 6837827"/>
              <a:gd name="connsiteY788" fmla="*/ 320929 h 1153348"/>
              <a:gd name="connsiteX789" fmla="*/ 4326756 w 6837827"/>
              <a:gd name="connsiteY789" fmla="*/ 390226 h 1153348"/>
              <a:gd name="connsiteX790" fmla="*/ 4304497 w 6837827"/>
              <a:gd name="connsiteY790" fmla="*/ 459523 h 1153348"/>
              <a:gd name="connsiteX791" fmla="*/ 4295677 w 6837827"/>
              <a:gd name="connsiteY791" fmla="*/ 480522 h 1153348"/>
              <a:gd name="connsiteX792" fmla="*/ 4768156 w 6837827"/>
              <a:gd name="connsiteY792" fmla="*/ 305809 h 1153348"/>
              <a:gd name="connsiteX793" fmla="*/ 4781596 w 6837827"/>
              <a:gd name="connsiteY793" fmla="*/ 296570 h 1153348"/>
              <a:gd name="connsiteX794" fmla="*/ 4790836 w 6837827"/>
              <a:gd name="connsiteY794" fmla="*/ 283970 h 1153348"/>
              <a:gd name="connsiteX795" fmla="*/ 4793355 w 6837827"/>
              <a:gd name="connsiteY795" fmla="*/ 268011 h 1153348"/>
              <a:gd name="connsiteX796" fmla="*/ 4787056 w 6837827"/>
              <a:gd name="connsiteY796" fmla="*/ 249532 h 1153348"/>
              <a:gd name="connsiteX797" fmla="*/ 4774877 w 6837827"/>
              <a:gd name="connsiteY797" fmla="*/ 242812 h 1153348"/>
              <a:gd name="connsiteX798" fmla="*/ 4758917 w 6837827"/>
              <a:gd name="connsiteY798" fmla="*/ 243652 h 1153348"/>
              <a:gd name="connsiteX799" fmla="*/ 4740858 w 6837827"/>
              <a:gd name="connsiteY799" fmla="*/ 247852 h 1153348"/>
              <a:gd name="connsiteX800" fmla="*/ 4696340 w 6837827"/>
              <a:gd name="connsiteY800" fmla="*/ 257511 h 1153348"/>
              <a:gd name="connsiteX801" fmla="*/ 4650142 w 6837827"/>
              <a:gd name="connsiteY801" fmla="*/ 267171 h 1153348"/>
              <a:gd name="connsiteX802" fmla="*/ 4632083 w 6837827"/>
              <a:gd name="connsiteY802" fmla="*/ 269271 h 1153348"/>
              <a:gd name="connsiteX803" fmla="*/ 4616543 w 6837827"/>
              <a:gd name="connsiteY803" fmla="*/ 266751 h 1153348"/>
              <a:gd name="connsiteX804" fmla="*/ 4601424 w 6837827"/>
              <a:gd name="connsiteY804" fmla="*/ 265071 h 1153348"/>
              <a:gd name="connsiteX805" fmla="*/ 4585044 w 6837827"/>
              <a:gd name="connsiteY805" fmla="*/ 269691 h 1153348"/>
              <a:gd name="connsiteX806" fmla="*/ 4573285 w 6837827"/>
              <a:gd name="connsiteY806" fmla="*/ 290270 h 1153348"/>
              <a:gd name="connsiteX807" fmla="*/ 4568245 w 6837827"/>
              <a:gd name="connsiteY807" fmla="*/ 314209 h 1153348"/>
              <a:gd name="connsiteX808" fmla="*/ 4564886 w 6837827"/>
              <a:gd name="connsiteY808" fmla="*/ 339408 h 1153348"/>
              <a:gd name="connsiteX809" fmla="*/ 4558586 w 6837827"/>
              <a:gd name="connsiteY809" fmla="*/ 363767 h 1153348"/>
              <a:gd name="connsiteX810" fmla="*/ 4552706 w 6837827"/>
              <a:gd name="connsiteY810" fmla="*/ 388966 h 1153348"/>
              <a:gd name="connsiteX811" fmla="*/ 4548506 w 6837827"/>
              <a:gd name="connsiteY811" fmla="*/ 428024 h 1153348"/>
              <a:gd name="connsiteX812" fmla="*/ 4546406 w 6837827"/>
              <a:gd name="connsiteY812" fmla="*/ 472962 h 1153348"/>
              <a:gd name="connsiteX813" fmla="*/ 4545986 w 6837827"/>
              <a:gd name="connsiteY813" fmla="*/ 517060 h 1153348"/>
              <a:gd name="connsiteX814" fmla="*/ 4546826 w 6837827"/>
              <a:gd name="connsiteY814" fmla="*/ 553179 h 1153348"/>
              <a:gd name="connsiteX815" fmla="*/ 4549346 w 6837827"/>
              <a:gd name="connsiteY815" fmla="*/ 573338 h 1153348"/>
              <a:gd name="connsiteX816" fmla="*/ 4573285 w 6837827"/>
              <a:gd name="connsiteY816" fmla="*/ 614076 h 1153348"/>
              <a:gd name="connsiteX817" fmla="*/ 4611084 w 6837827"/>
              <a:gd name="connsiteY817" fmla="*/ 629616 h 1153348"/>
              <a:gd name="connsiteX818" fmla="*/ 4656021 w 6837827"/>
              <a:gd name="connsiteY818" fmla="*/ 625416 h 1153348"/>
              <a:gd name="connsiteX819" fmla="*/ 4701380 w 6837827"/>
              <a:gd name="connsiteY819" fmla="*/ 607777 h 1153348"/>
              <a:gd name="connsiteX820" fmla="*/ 4740858 w 6837827"/>
              <a:gd name="connsiteY820" fmla="*/ 582578 h 1153348"/>
              <a:gd name="connsiteX821" fmla="*/ 4768156 w 6837827"/>
              <a:gd name="connsiteY821" fmla="*/ 555699 h 1153348"/>
              <a:gd name="connsiteX822" fmla="*/ 4777396 w 6837827"/>
              <a:gd name="connsiteY822" fmla="*/ 545619 h 1153348"/>
              <a:gd name="connsiteX823" fmla="*/ 4785376 w 6837827"/>
              <a:gd name="connsiteY823" fmla="*/ 535540 h 1153348"/>
              <a:gd name="connsiteX824" fmla="*/ 4789156 w 6837827"/>
              <a:gd name="connsiteY824" fmla="*/ 523360 h 1153348"/>
              <a:gd name="connsiteX825" fmla="*/ 4786636 w 6837827"/>
              <a:gd name="connsiteY825" fmla="*/ 505721 h 1153348"/>
              <a:gd name="connsiteX826" fmla="*/ 4755137 w 6837827"/>
              <a:gd name="connsiteY826" fmla="*/ 485982 h 1153348"/>
              <a:gd name="connsiteX827" fmla="*/ 4728258 w 6837827"/>
              <a:gd name="connsiteY827" fmla="*/ 509501 h 1153348"/>
              <a:gd name="connsiteX828" fmla="*/ 4697600 w 6837827"/>
              <a:gd name="connsiteY828" fmla="*/ 535959 h 1153348"/>
              <a:gd name="connsiteX829" fmla="*/ 4663581 w 6837827"/>
              <a:gd name="connsiteY829" fmla="*/ 553599 h 1153348"/>
              <a:gd name="connsiteX830" fmla="*/ 4626203 w 6837827"/>
              <a:gd name="connsiteY830" fmla="*/ 550239 h 1153348"/>
              <a:gd name="connsiteX831" fmla="*/ 4616963 w 6837827"/>
              <a:gd name="connsiteY831" fmla="*/ 538479 h 1153348"/>
              <a:gd name="connsiteX832" fmla="*/ 4613184 w 6837827"/>
              <a:gd name="connsiteY832" fmla="*/ 517900 h 1153348"/>
              <a:gd name="connsiteX833" fmla="*/ 4613184 w 6837827"/>
              <a:gd name="connsiteY833" fmla="*/ 495641 h 1153348"/>
              <a:gd name="connsiteX834" fmla="*/ 4616123 w 6837827"/>
              <a:gd name="connsiteY834" fmla="*/ 479682 h 1153348"/>
              <a:gd name="connsiteX835" fmla="*/ 4627883 w 6837827"/>
              <a:gd name="connsiteY835" fmla="*/ 470442 h 1153348"/>
              <a:gd name="connsiteX836" fmla="*/ 4648882 w 6837827"/>
              <a:gd name="connsiteY836" fmla="*/ 464983 h 1153348"/>
              <a:gd name="connsiteX837" fmla="*/ 4671561 w 6837827"/>
              <a:gd name="connsiteY837" fmla="*/ 461203 h 1153348"/>
              <a:gd name="connsiteX838" fmla="*/ 4689200 w 6837827"/>
              <a:gd name="connsiteY838" fmla="*/ 458683 h 1153348"/>
              <a:gd name="connsiteX839" fmla="*/ 4704739 w 6837827"/>
              <a:gd name="connsiteY839" fmla="*/ 455323 h 1153348"/>
              <a:gd name="connsiteX840" fmla="*/ 4717339 w 6837827"/>
              <a:gd name="connsiteY840" fmla="*/ 449023 h 1153348"/>
              <a:gd name="connsiteX841" fmla="*/ 4725318 w 6837827"/>
              <a:gd name="connsiteY841" fmla="*/ 438104 h 1153348"/>
              <a:gd name="connsiteX842" fmla="*/ 4726579 w 6837827"/>
              <a:gd name="connsiteY842" fmla="*/ 420464 h 1153348"/>
              <a:gd name="connsiteX843" fmla="*/ 4722379 w 6837827"/>
              <a:gd name="connsiteY843" fmla="*/ 405345 h 1153348"/>
              <a:gd name="connsiteX844" fmla="*/ 4712719 w 6837827"/>
              <a:gd name="connsiteY844" fmla="*/ 395265 h 1153348"/>
              <a:gd name="connsiteX845" fmla="*/ 4687100 w 6837827"/>
              <a:gd name="connsiteY845" fmla="*/ 391486 h 1153348"/>
              <a:gd name="connsiteX846" fmla="*/ 4658961 w 6837827"/>
              <a:gd name="connsiteY846" fmla="*/ 395686 h 1153348"/>
              <a:gd name="connsiteX847" fmla="*/ 4646782 w 6837827"/>
              <a:gd name="connsiteY847" fmla="*/ 397786 h 1153348"/>
              <a:gd name="connsiteX848" fmla="*/ 4632922 w 6837827"/>
              <a:gd name="connsiteY848" fmla="*/ 396946 h 1153348"/>
              <a:gd name="connsiteX849" fmla="*/ 4625363 w 6837827"/>
              <a:gd name="connsiteY849" fmla="*/ 386446 h 1153348"/>
              <a:gd name="connsiteX850" fmla="*/ 4631242 w 6837827"/>
              <a:gd name="connsiteY850" fmla="*/ 358307 h 1153348"/>
              <a:gd name="connsiteX851" fmla="*/ 4653922 w 6837827"/>
              <a:gd name="connsiteY851" fmla="*/ 331848 h 1153348"/>
              <a:gd name="connsiteX852" fmla="*/ 4685420 w 6837827"/>
              <a:gd name="connsiteY852" fmla="*/ 325129 h 1153348"/>
              <a:gd name="connsiteX853" fmla="*/ 4720279 w 6837827"/>
              <a:gd name="connsiteY853" fmla="*/ 323029 h 1153348"/>
              <a:gd name="connsiteX854" fmla="*/ 4752617 w 6837827"/>
              <a:gd name="connsiteY854" fmla="*/ 310009 h 1153348"/>
              <a:gd name="connsiteX855" fmla="*/ 4768156 w 6837827"/>
              <a:gd name="connsiteY855" fmla="*/ 305809 h 1153348"/>
              <a:gd name="connsiteX856" fmla="*/ 4989067 w 6837827"/>
              <a:gd name="connsiteY856" fmla="*/ 488502 h 1153348"/>
              <a:gd name="connsiteX857" fmla="*/ 5000407 w 6837827"/>
              <a:gd name="connsiteY857" fmla="*/ 491861 h 1153348"/>
              <a:gd name="connsiteX858" fmla="*/ 5031066 w 6837827"/>
              <a:gd name="connsiteY858" fmla="*/ 503201 h 1153348"/>
              <a:gd name="connsiteX859" fmla="*/ 5059204 w 6837827"/>
              <a:gd name="connsiteY859" fmla="*/ 521260 h 1153348"/>
              <a:gd name="connsiteX860" fmla="*/ 5081883 w 6837827"/>
              <a:gd name="connsiteY860" fmla="*/ 540579 h 1153348"/>
              <a:gd name="connsiteX861" fmla="*/ 5108342 w 6837827"/>
              <a:gd name="connsiteY861" fmla="*/ 557379 h 1153348"/>
              <a:gd name="connsiteX862" fmla="*/ 5137741 w 6837827"/>
              <a:gd name="connsiteY862" fmla="*/ 568298 h 1153348"/>
              <a:gd name="connsiteX863" fmla="*/ 5169239 w 6837827"/>
              <a:gd name="connsiteY863" fmla="*/ 570398 h 1153348"/>
              <a:gd name="connsiteX864" fmla="*/ 5195278 w 6837827"/>
              <a:gd name="connsiteY864" fmla="*/ 561998 h 1153348"/>
              <a:gd name="connsiteX865" fmla="*/ 5211658 w 6837827"/>
              <a:gd name="connsiteY865" fmla="*/ 547299 h 1153348"/>
              <a:gd name="connsiteX866" fmla="*/ 5215017 w 6837827"/>
              <a:gd name="connsiteY866" fmla="*/ 530080 h 1153348"/>
              <a:gd name="connsiteX867" fmla="*/ 5206618 w 6837827"/>
              <a:gd name="connsiteY867" fmla="*/ 513700 h 1153348"/>
              <a:gd name="connsiteX868" fmla="*/ 5188138 w 6837827"/>
              <a:gd name="connsiteY868" fmla="*/ 501101 h 1153348"/>
              <a:gd name="connsiteX869" fmla="*/ 5177639 w 6837827"/>
              <a:gd name="connsiteY869" fmla="*/ 500261 h 1153348"/>
              <a:gd name="connsiteX870" fmla="*/ 5167560 w 6837827"/>
              <a:gd name="connsiteY870" fmla="*/ 497321 h 1153348"/>
              <a:gd name="connsiteX871" fmla="*/ 5139001 w 6837827"/>
              <a:gd name="connsiteY871" fmla="*/ 478002 h 1153348"/>
              <a:gd name="connsiteX872" fmla="*/ 5108762 w 6837827"/>
              <a:gd name="connsiteY872" fmla="*/ 461203 h 1153348"/>
              <a:gd name="connsiteX873" fmla="*/ 5077683 w 6837827"/>
              <a:gd name="connsiteY873" fmla="*/ 445243 h 1153348"/>
              <a:gd name="connsiteX874" fmla="*/ 5048285 w 6837827"/>
              <a:gd name="connsiteY874" fmla="*/ 427184 h 1153348"/>
              <a:gd name="connsiteX875" fmla="*/ 5080623 w 6837827"/>
              <a:gd name="connsiteY875" fmla="*/ 413745 h 1153348"/>
              <a:gd name="connsiteX876" fmla="*/ 5104982 w 6837827"/>
              <a:gd name="connsiteY876" fmla="*/ 381406 h 1153348"/>
              <a:gd name="connsiteX877" fmla="*/ 5120102 w 6837827"/>
              <a:gd name="connsiteY877" fmla="*/ 337308 h 1153348"/>
              <a:gd name="connsiteX878" fmla="*/ 5125981 w 6837827"/>
              <a:gd name="connsiteY878" fmla="*/ 289430 h 1153348"/>
              <a:gd name="connsiteX879" fmla="*/ 5121362 w 6837827"/>
              <a:gd name="connsiteY879" fmla="*/ 244912 h 1153348"/>
              <a:gd name="connsiteX880" fmla="*/ 5104562 w 6837827"/>
              <a:gd name="connsiteY880" fmla="*/ 211313 h 1153348"/>
              <a:gd name="connsiteX881" fmla="*/ 5075164 w 6837827"/>
              <a:gd name="connsiteY881" fmla="*/ 196194 h 1153348"/>
              <a:gd name="connsiteX882" fmla="*/ 5032325 w 6837827"/>
              <a:gd name="connsiteY882" fmla="*/ 207534 h 1153348"/>
              <a:gd name="connsiteX883" fmla="*/ 5021826 w 6837827"/>
              <a:gd name="connsiteY883" fmla="*/ 211313 h 1153348"/>
              <a:gd name="connsiteX884" fmla="*/ 5010486 w 6837827"/>
              <a:gd name="connsiteY884" fmla="*/ 222233 h 1153348"/>
              <a:gd name="connsiteX885" fmla="*/ 4999987 w 6837827"/>
              <a:gd name="connsiteY885" fmla="*/ 235672 h 1153348"/>
              <a:gd name="connsiteX886" fmla="*/ 4990747 w 6837827"/>
              <a:gd name="connsiteY886" fmla="*/ 246592 h 1153348"/>
              <a:gd name="connsiteX887" fmla="*/ 4980668 w 6837827"/>
              <a:gd name="connsiteY887" fmla="*/ 252892 h 1153348"/>
              <a:gd name="connsiteX888" fmla="*/ 4970588 w 6837827"/>
              <a:gd name="connsiteY888" fmla="*/ 257511 h 1153348"/>
              <a:gd name="connsiteX889" fmla="*/ 4962188 w 6837827"/>
              <a:gd name="connsiteY889" fmla="*/ 263391 h 1153348"/>
              <a:gd name="connsiteX890" fmla="*/ 4957569 w 6837827"/>
              <a:gd name="connsiteY890" fmla="*/ 273891 h 1153348"/>
              <a:gd name="connsiteX891" fmla="*/ 4949589 w 6837827"/>
              <a:gd name="connsiteY891" fmla="*/ 307489 h 1153348"/>
              <a:gd name="connsiteX892" fmla="*/ 4939089 w 6837827"/>
              <a:gd name="connsiteY892" fmla="*/ 338988 h 1153348"/>
              <a:gd name="connsiteX893" fmla="*/ 4927750 w 6837827"/>
              <a:gd name="connsiteY893" fmla="*/ 370067 h 1153348"/>
              <a:gd name="connsiteX894" fmla="*/ 4917250 w 6837827"/>
              <a:gd name="connsiteY894" fmla="*/ 403245 h 1153348"/>
              <a:gd name="connsiteX895" fmla="*/ 4907591 w 6837827"/>
              <a:gd name="connsiteY895" fmla="*/ 445243 h 1153348"/>
              <a:gd name="connsiteX896" fmla="*/ 4899191 w 6837827"/>
              <a:gd name="connsiteY896" fmla="*/ 486402 h 1153348"/>
              <a:gd name="connsiteX897" fmla="*/ 4892891 w 6837827"/>
              <a:gd name="connsiteY897" fmla="*/ 509921 h 1153348"/>
              <a:gd name="connsiteX898" fmla="*/ 4883651 w 6837827"/>
              <a:gd name="connsiteY898" fmla="*/ 548139 h 1153348"/>
              <a:gd name="connsiteX899" fmla="*/ 4875672 w 6837827"/>
              <a:gd name="connsiteY899" fmla="*/ 592237 h 1153348"/>
              <a:gd name="connsiteX900" fmla="*/ 4874412 w 6837827"/>
              <a:gd name="connsiteY900" fmla="*/ 633395 h 1153348"/>
              <a:gd name="connsiteX901" fmla="*/ 4883651 w 6837827"/>
              <a:gd name="connsiteY901" fmla="*/ 662794 h 1153348"/>
              <a:gd name="connsiteX902" fmla="*/ 4908011 w 6837827"/>
              <a:gd name="connsiteY902" fmla="*/ 672454 h 1153348"/>
              <a:gd name="connsiteX903" fmla="*/ 4928170 w 6837827"/>
              <a:gd name="connsiteY903" fmla="*/ 663634 h 1153348"/>
              <a:gd name="connsiteX904" fmla="*/ 4939509 w 6837827"/>
              <a:gd name="connsiteY904" fmla="*/ 645575 h 1153348"/>
              <a:gd name="connsiteX905" fmla="*/ 4944549 w 6837827"/>
              <a:gd name="connsiteY905" fmla="*/ 622056 h 1153348"/>
              <a:gd name="connsiteX906" fmla="*/ 4945389 w 6837827"/>
              <a:gd name="connsiteY906" fmla="*/ 597697 h 1153348"/>
              <a:gd name="connsiteX907" fmla="*/ 4948749 w 6837827"/>
              <a:gd name="connsiteY907" fmla="*/ 571658 h 1153348"/>
              <a:gd name="connsiteX908" fmla="*/ 4957569 w 6837827"/>
              <a:gd name="connsiteY908" fmla="*/ 539320 h 1153348"/>
              <a:gd name="connsiteX909" fmla="*/ 4968908 w 6837827"/>
              <a:gd name="connsiteY909" fmla="*/ 506561 h 1153348"/>
              <a:gd name="connsiteX910" fmla="*/ 4980668 w 6837827"/>
              <a:gd name="connsiteY910" fmla="*/ 479682 h 1153348"/>
              <a:gd name="connsiteX911" fmla="*/ 4989067 w 6837827"/>
              <a:gd name="connsiteY911" fmla="*/ 488502 h 1153348"/>
              <a:gd name="connsiteX912" fmla="*/ 5020986 w 6837827"/>
              <a:gd name="connsiteY912" fmla="*/ 380146 h 1153348"/>
              <a:gd name="connsiteX913" fmla="*/ 5013006 w 6837827"/>
              <a:gd name="connsiteY913" fmla="*/ 390226 h 1153348"/>
              <a:gd name="connsiteX914" fmla="*/ 5004606 w 6837827"/>
              <a:gd name="connsiteY914" fmla="*/ 395686 h 1153348"/>
              <a:gd name="connsiteX915" fmla="*/ 4997887 w 6837827"/>
              <a:gd name="connsiteY915" fmla="*/ 394426 h 1153348"/>
              <a:gd name="connsiteX916" fmla="*/ 4994947 w 6837827"/>
              <a:gd name="connsiteY916" fmla="*/ 377206 h 1153348"/>
              <a:gd name="connsiteX917" fmla="*/ 5004187 w 6837827"/>
              <a:gd name="connsiteY917" fmla="*/ 353687 h 1153348"/>
              <a:gd name="connsiteX918" fmla="*/ 5018886 w 6837827"/>
              <a:gd name="connsiteY918" fmla="*/ 331428 h 1153348"/>
              <a:gd name="connsiteX919" fmla="*/ 5032745 w 6837827"/>
              <a:gd name="connsiteY919" fmla="*/ 317149 h 1153348"/>
              <a:gd name="connsiteX920" fmla="*/ 5033585 w 6837827"/>
              <a:gd name="connsiteY920" fmla="*/ 343188 h 1153348"/>
              <a:gd name="connsiteX921" fmla="*/ 5027705 w 6837827"/>
              <a:gd name="connsiteY921" fmla="*/ 368387 h 1153348"/>
              <a:gd name="connsiteX922" fmla="*/ 5020986 w 6837827"/>
              <a:gd name="connsiteY922" fmla="*/ 380146 h 1153348"/>
              <a:gd name="connsiteX923" fmla="*/ 5336392 w 6837827"/>
              <a:gd name="connsiteY923" fmla="*/ 237352 h 1153348"/>
              <a:gd name="connsiteX924" fmla="*/ 5333872 w 6837827"/>
              <a:gd name="connsiteY924" fmla="*/ 285230 h 1153348"/>
              <a:gd name="connsiteX925" fmla="*/ 5349831 w 6837827"/>
              <a:gd name="connsiteY925" fmla="*/ 336048 h 1153348"/>
              <a:gd name="connsiteX926" fmla="*/ 5369991 w 6837827"/>
              <a:gd name="connsiteY926" fmla="*/ 395265 h 1153348"/>
              <a:gd name="connsiteX927" fmla="*/ 5374191 w 6837827"/>
              <a:gd name="connsiteY927" fmla="*/ 408285 h 1153348"/>
              <a:gd name="connsiteX928" fmla="*/ 5380490 w 6837827"/>
              <a:gd name="connsiteY928" fmla="*/ 428024 h 1153348"/>
              <a:gd name="connsiteX929" fmla="*/ 5386370 w 6837827"/>
              <a:gd name="connsiteY929" fmla="*/ 451543 h 1153348"/>
              <a:gd name="connsiteX930" fmla="*/ 5389310 w 6837827"/>
              <a:gd name="connsiteY930" fmla="*/ 474642 h 1153348"/>
              <a:gd name="connsiteX931" fmla="*/ 5386790 w 6837827"/>
              <a:gd name="connsiteY931" fmla="*/ 493121 h 1153348"/>
              <a:gd name="connsiteX932" fmla="*/ 5376291 w 6837827"/>
              <a:gd name="connsiteY932" fmla="*/ 503621 h 1153348"/>
              <a:gd name="connsiteX933" fmla="*/ 5366631 w 6837827"/>
              <a:gd name="connsiteY933" fmla="*/ 503621 h 1153348"/>
              <a:gd name="connsiteX934" fmla="*/ 5358231 w 6837827"/>
              <a:gd name="connsiteY934" fmla="*/ 498161 h 1153348"/>
              <a:gd name="connsiteX935" fmla="*/ 5351092 w 6837827"/>
              <a:gd name="connsiteY935" fmla="*/ 490182 h 1153348"/>
              <a:gd name="connsiteX936" fmla="*/ 5344792 w 6837827"/>
              <a:gd name="connsiteY936" fmla="*/ 483042 h 1153348"/>
              <a:gd name="connsiteX937" fmla="*/ 5326732 w 6837827"/>
              <a:gd name="connsiteY937" fmla="*/ 473382 h 1153348"/>
              <a:gd name="connsiteX938" fmla="*/ 5310773 w 6837827"/>
              <a:gd name="connsiteY938" fmla="*/ 480102 h 1153348"/>
              <a:gd name="connsiteX939" fmla="*/ 5299854 w 6837827"/>
              <a:gd name="connsiteY939" fmla="*/ 497321 h 1153348"/>
              <a:gd name="connsiteX940" fmla="*/ 5296914 w 6837827"/>
              <a:gd name="connsiteY940" fmla="*/ 517900 h 1153348"/>
              <a:gd name="connsiteX941" fmla="*/ 5303214 w 6837827"/>
              <a:gd name="connsiteY941" fmla="*/ 541419 h 1153348"/>
              <a:gd name="connsiteX942" fmla="*/ 5316653 w 6837827"/>
              <a:gd name="connsiteY942" fmla="*/ 563678 h 1153348"/>
              <a:gd name="connsiteX943" fmla="*/ 5336392 w 6837827"/>
              <a:gd name="connsiteY943" fmla="*/ 579638 h 1153348"/>
              <a:gd name="connsiteX944" fmla="*/ 5361171 w 6837827"/>
              <a:gd name="connsiteY944" fmla="*/ 585518 h 1153348"/>
              <a:gd name="connsiteX945" fmla="*/ 5416609 w 6837827"/>
              <a:gd name="connsiteY945" fmla="*/ 569558 h 1153348"/>
              <a:gd name="connsiteX946" fmla="*/ 5448527 w 6837827"/>
              <a:gd name="connsiteY946" fmla="*/ 532180 h 1153348"/>
              <a:gd name="connsiteX947" fmla="*/ 5460287 w 6837827"/>
              <a:gd name="connsiteY947" fmla="*/ 484302 h 1153348"/>
              <a:gd name="connsiteX948" fmla="*/ 5455247 w 6837827"/>
              <a:gd name="connsiteY948" fmla="*/ 435584 h 1153348"/>
              <a:gd name="connsiteX949" fmla="*/ 5442648 w 6837827"/>
              <a:gd name="connsiteY949" fmla="*/ 400305 h 1153348"/>
              <a:gd name="connsiteX950" fmla="*/ 5426688 w 6837827"/>
              <a:gd name="connsiteY950" fmla="*/ 364607 h 1153348"/>
              <a:gd name="connsiteX951" fmla="*/ 5412829 w 6837827"/>
              <a:gd name="connsiteY951" fmla="*/ 328489 h 1153348"/>
              <a:gd name="connsiteX952" fmla="*/ 5406109 w 6837827"/>
              <a:gd name="connsiteY952" fmla="*/ 292370 h 1153348"/>
              <a:gd name="connsiteX953" fmla="*/ 5409889 w 6837827"/>
              <a:gd name="connsiteY953" fmla="*/ 254152 h 1153348"/>
              <a:gd name="connsiteX954" fmla="*/ 5424588 w 6837827"/>
              <a:gd name="connsiteY954" fmla="*/ 236512 h 1153348"/>
              <a:gd name="connsiteX955" fmla="*/ 5449787 w 6837827"/>
              <a:gd name="connsiteY955" fmla="*/ 227693 h 1153348"/>
              <a:gd name="connsiteX956" fmla="*/ 5485066 w 6837827"/>
              <a:gd name="connsiteY956" fmla="*/ 217193 h 1153348"/>
              <a:gd name="connsiteX957" fmla="*/ 5500605 w 6837827"/>
              <a:gd name="connsiteY957" fmla="*/ 209214 h 1153348"/>
              <a:gd name="connsiteX958" fmla="*/ 5509845 w 6837827"/>
              <a:gd name="connsiteY958" fmla="*/ 194094 h 1153348"/>
              <a:gd name="connsiteX959" fmla="*/ 5504805 w 6837827"/>
              <a:gd name="connsiteY959" fmla="*/ 176875 h 1153348"/>
              <a:gd name="connsiteX960" fmla="*/ 5496405 w 6837827"/>
              <a:gd name="connsiteY960" fmla="*/ 164275 h 1153348"/>
              <a:gd name="connsiteX961" fmla="*/ 5482966 w 6837827"/>
              <a:gd name="connsiteY961" fmla="*/ 156716 h 1153348"/>
              <a:gd name="connsiteX962" fmla="*/ 5462387 w 6837827"/>
              <a:gd name="connsiteY962" fmla="*/ 155876 h 1153348"/>
              <a:gd name="connsiteX963" fmla="*/ 5438868 w 6837827"/>
              <a:gd name="connsiteY963" fmla="*/ 159236 h 1153348"/>
              <a:gd name="connsiteX964" fmla="*/ 5413669 w 6837827"/>
              <a:gd name="connsiteY964" fmla="*/ 165536 h 1153348"/>
              <a:gd name="connsiteX965" fmla="*/ 5390150 w 6837827"/>
              <a:gd name="connsiteY965" fmla="*/ 175195 h 1153348"/>
              <a:gd name="connsiteX966" fmla="*/ 5370831 w 6837827"/>
              <a:gd name="connsiteY966" fmla="*/ 189054 h 1153348"/>
              <a:gd name="connsiteX967" fmla="*/ 5336392 w 6837827"/>
              <a:gd name="connsiteY967" fmla="*/ 237352 h 1153348"/>
              <a:gd name="connsiteX968" fmla="*/ 5839951 w 6837827"/>
              <a:gd name="connsiteY968" fmla="*/ 119757 h 1153348"/>
              <a:gd name="connsiteX969" fmla="*/ 5827771 w 6837827"/>
              <a:gd name="connsiteY969" fmla="*/ 118498 h 1153348"/>
              <a:gd name="connsiteX970" fmla="*/ 5814332 w 6837827"/>
              <a:gd name="connsiteY970" fmla="*/ 119757 h 1153348"/>
              <a:gd name="connsiteX971" fmla="*/ 5802152 w 6837827"/>
              <a:gd name="connsiteY971" fmla="*/ 121437 h 1153348"/>
              <a:gd name="connsiteX972" fmla="*/ 5743775 w 6837827"/>
              <a:gd name="connsiteY972" fmla="*/ 129417 h 1153348"/>
              <a:gd name="connsiteX973" fmla="*/ 5684977 w 6837827"/>
              <a:gd name="connsiteY973" fmla="*/ 142856 h 1153348"/>
              <a:gd name="connsiteX974" fmla="*/ 5629540 w 6837827"/>
              <a:gd name="connsiteY974" fmla="*/ 160916 h 1153348"/>
              <a:gd name="connsiteX975" fmla="*/ 5580822 w 6837827"/>
              <a:gd name="connsiteY975" fmla="*/ 183175 h 1153348"/>
              <a:gd name="connsiteX976" fmla="*/ 5572842 w 6837827"/>
              <a:gd name="connsiteY976" fmla="*/ 188635 h 1153348"/>
              <a:gd name="connsiteX977" fmla="*/ 5571162 w 6837827"/>
              <a:gd name="connsiteY977" fmla="*/ 198294 h 1153348"/>
              <a:gd name="connsiteX978" fmla="*/ 5572842 w 6837827"/>
              <a:gd name="connsiteY978" fmla="*/ 209634 h 1153348"/>
              <a:gd name="connsiteX979" fmla="*/ 5576622 w 6837827"/>
              <a:gd name="connsiteY979" fmla="*/ 221393 h 1153348"/>
              <a:gd name="connsiteX980" fmla="*/ 5582921 w 6837827"/>
              <a:gd name="connsiteY980" fmla="*/ 231473 h 1153348"/>
              <a:gd name="connsiteX981" fmla="*/ 5592161 w 6837827"/>
              <a:gd name="connsiteY981" fmla="*/ 237352 h 1153348"/>
              <a:gd name="connsiteX982" fmla="*/ 5614420 w 6837827"/>
              <a:gd name="connsiteY982" fmla="*/ 239032 h 1153348"/>
              <a:gd name="connsiteX983" fmla="*/ 5638359 w 6837827"/>
              <a:gd name="connsiteY983" fmla="*/ 233572 h 1153348"/>
              <a:gd name="connsiteX984" fmla="*/ 5661878 w 6837827"/>
              <a:gd name="connsiteY984" fmla="*/ 224333 h 1153348"/>
              <a:gd name="connsiteX985" fmla="*/ 5682038 w 6837827"/>
              <a:gd name="connsiteY985" fmla="*/ 215093 h 1153348"/>
              <a:gd name="connsiteX986" fmla="*/ 5677417 w 6837827"/>
              <a:gd name="connsiteY986" fmla="*/ 286910 h 1153348"/>
              <a:gd name="connsiteX987" fmla="*/ 5670278 w 6837827"/>
              <a:gd name="connsiteY987" fmla="*/ 354527 h 1153348"/>
              <a:gd name="connsiteX988" fmla="*/ 5664818 w 6837827"/>
              <a:gd name="connsiteY988" fmla="*/ 421725 h 1153348"/>
              <a:gd name="connsiteX989" fmla="*/ 5665238 w 6837827"/>
              <a:gd name="connsiteY989" fmla="*/ 492281 h 1153348"/>
              <a:gd name="connsiteX990" fmla="*/ 5670278 w 6837827"/>
              <a:gd name="connsiteY990" fmla="*/ 512021 h 1153348"/>
              <a:gd name="connsiteX991" fmla="*/ 5680777 w 6837827"/>
              <a:gd name="connsiteY991" fmla="*/ 529240 h 1153348"/>
              <a:gd name="connsiteX992" fmla="*/ 5696317 w 6837827"/>
              <a:gd name="connsiteY992" fmla="*/ 538899 h 1153348"/>
              <a:gd name="connsiteX993" fmla="*/ 5715636 w 6837827"/>
              <a:gd name="connsiteY993" fmla="*/ 536799 h 1153348"/>
              <a:gd name="connsiteX994" fmla="*/ 5739575 w 6837827"/>
              <a:gd name="connsiteY994" fmla="*/ 518740 h 1153348"/>
              <a:gd name="connsiteX995" fmla="*/ 5744614 w 6837827"/>
              <a:gd name="connsiteY995" fmla="*/ 497321 h 1153348"/>
              <a:gd name="connsiteX996" fmla="*/ 5739995 w 6837827"/>
              <a:gd name="connsiteY996" fmla="*/ 472542 h 1153348"/>
              <a:gd name="connsiteX997" fmla="*/ 5734115 w 6837827"/>
              <a:gd name="connsiteY997" fmla="*/ 444403 h 1153348"/>
              <a:gd name="connsiteX998" fmla="*/ 5733275 w 6837827"/>
              <a:gd name="connsiteY998" fmla="*/ 386866 h 1153348"/>
              <a:gd name="connsiteX999" fmla="*/ 5738735 w 6837827"/>
              <a:gd name="connsiteY999" fmla="*/ 328908 h 1153348"/>
              <a:gd name="connsiteX1000" fmla="*/ 5745455 w 6837827"/>
              <a:gd name="connsiteY1000" fmla="*/ 270111 h 1153348"/>
              <a:gd name="connsiteX1001" fmla="*/ 5748394 w 6837827"/>
              <a:gd name="connsiteY1001" fmla="*/ 210054 h 1153348"/>
              <a:gd name="connsiteX1002" fmla="*/ 5750494 w 6837827"/>
              <a:gd name="connsiteY1002" fmla="*/ 199134 h 1153348"/>
              <a:gd name="connsiteX1003" fmla="*/ 5756374 w 6837827"/>
              <a:gd name="connsiteY1003" fmla="*/ 192834 h 1153348"/>
              <a:gd name="connsiteX1004" fmla="*/ 5765194 w 6837827"/>
              <a:gd name="connsiteY1004" fmla="*/ 189054 h 1153348"/>
              <a:gd name="connsiteX1005" fmla="*/ 5774853 w 6837827"/>
              <a:gd name="connsiteY1005" fmla="*/ 186535 h 1153348"/>
              <a:gd name="connsiteX1006" fmla="*/ 5809712 w 6837827"/>
              <a:gd name="connsiteY1006" fmla="*/ 181075 h 1153348"/>
              <a:gd name="connsiteX1007" fmla="*/ 5844151 w 6837827"/>
              <a:gd name="connsiteY1007" fmla="*/ 174775 h 1153348"/>
              <a:gd name="connsiteX1008" fmla="*/ 5855070 w 6837827"/>
              <a:gd name="connsiteY1008" fmla="*/ 165955 h 1153348"/>
              <a:gd name="connsiteX1009" fmla="*/ 5855910 w 6837827"/>
              <a:gd name="connsiteY1009" fmla="*/ 153356 h 1153348"/>
              <a:gd name="connsiteX1010" fmla="*/ 5852130 w 6837827"/>
              <a:gd name="connsiteY1010" fmla="*/ 138657 h 1153348"/>
              <a:gd name="connsiteX1011" fmla="*/ 5849610 w 6837827"/>
              <a:gd name="connsiteY1011" fmla="*/ 123537 h 1153348"/>
              <a:gd name="connsiteX1012" fmla="*/ 5839951 w 6837827"/>
              <a:gd name="connsiteY1012" fmla="*/ 119757 h 1153348"/>
              <a:gd name="connsiteX1013" fmla="*/ 6155357 w 6837827"/>
              <a:gd name="connsiteY1013" fmla="*/ 108418 h 1153348"/>
              <a:gd name="connsiteX1014" fmla="*/ 6139818 w 6837827"/>
              <a:gd name="connsiteY1014" fmla="*/ 104638 h 1153348"/>
              <a:gd name="connsiteX1015" fmla="*/ 6114199 w 6837827"/>
              <a:gd name="connsiteY1015" fmla="*/ 92459 h 1153348"/>
              <a:gd name="connsiteX1016" fmla="*/ 6087320 w 6837827"/>
              <a:gd name="connsiteY1016" fmla="*/ 86159 h 1153348"/>
              <a:gd name="connsiteX1017" fmla="*/ 6054141 w 6837827"/>
              <a:gd name="connsiteY1017" fmla="*/ 100018 h 1153348"/>
              <a:gd name="connsiteX1018" fmla="*/ 6029782 w 6837827"/>
              <a:gd name="connsiteY1018" fmla="*/ 127737 h 1153348"/>
              <a:gd name="connsiteX1019" fmla="*/ 6010883 w 6837827"/>
              <a:gd name="connsiteY1019" fmla="*/ 161756 h 1153348"/>
              <a:gd name="connsiteX1020" fmla="*/ 5994084 w 6837827"/>
              <a:gd name="connsiteY1020" fmla="*/ 195774 h 1153348"/>
              <a:gd name="connsiteX1021" fmla="*/ 5975185 w 6837827"/>
              <a:gd name="connsiteY1021" fmla="*/ 238612 h 1153348"/>
              <a:gd name="connsiteX1022" fmla="*/ 5956285 w 6837827"/>
              <a:gd name="connsiteY1022" fmla="*/ 291950 h 1153348"/>
              <a:gd name="connsiteX1023" fmla="*/ 5942846 w 6837827"/>
              <a:gd name="connsiteY1023" fmla="*/ 349488 h 1153348"/>
              <a:gd name="connsiteX1024" fmla="*/ 5940326 w 6837827"/>
              <a:gd name="connsiteY1024" fmla="*/ 405345 h 1153348"/>
              <a:gd name="connsiteX1025" fmla="*/ 5954605 w 6837827"/>
              <a:gd name="connsiteY1025" fmla="*/ 453643 h 1153348"/>
              <a:gd name="connsiteX1026" fmla="*/ 5991144 w 6837827"/>
              <a:gd name="connsiteY1026" fmla="*/ 488502 h 1153348"/>
              <a:gd name="connsiteX1027" fmla="*/ 6011723 w 6837827"/>
              <a:gd name="connsiteY1027" fmla="*/ 495641 h 1153348"/>
              <a:gd name="connsiteX1028" fmla="*/ 6031882 w 6837827"/>
              <a:gd name="connsiteY1028" fmla="*/ 496481 h 1153348"/>
              <a:gd name="connsiteX1029" fmla="*/ 6072621 w 6837827"/>
              <a:gd name="connsiteY1029" fmla="*/ 482202 h 1153348"/>
              <a:gd name="connsiteX1030" fmla="*/ 6113359 w 6837827"/>
              <a:gd name="connsiteY1030" fmla="*/ 452803 h 1153348"/>
              <a:gd name="connsiteX1031" fmla="*/ 6148637 w 6837827"/>
              <a:gd name="connsiteY1031" fmla="*/ 416685 h 1153348"/>
              <a:gd name="connsiteX1032" fmla="*/ 6172576 w 6837827"/>
              <a:gd name="connsiteY1032" fmla="*/ 382666 h 1153348"/>
              <a:gd name="connsiteX1033" fmla="*/ 6186016 w 6837827"/>
              <a:gd name="connsiteY1033" fmla="*/ 361667 h 1153348"/>
              <a:gd name="connsiteX1034" fmla="*/ 6197775 w 6837827"/>
              <a:gd name="connsiteY1034" fmla="*/ 342348 h 1153348"/>
              <a:gd name="connsiteX1035" fmla="*/ 6207855 w 6837827"/>
              <a:gd name="connsiteY1035" fmla="*/ 319249 h 1153348"/>
              <a:gd name="connsiteX1036" fmla="*/ 6214574 w 6837827"/>
              <a:gd name="connsiteY1036" fmla="*/ 288170 h 1153348"/>
              <a:gd name="connsiteX1037" fmla="*/ 6218774 w 6837827"/>
              <a:gd name="connsiteY1037" fmla="*/ 270531 h 1153348"/>
              <a:gd name="connsiteX1038" fmla="*/ 6222134 w 6837827"/>
              <a:gd name="connsiteY1038" fmla="*/ 255832 h 1153348"/>
              <a:gd name="connsiteX1039" fmla="*/ 6224654 w 6837827"/>
              <a:gd name="connsiteY1039" fmla="*/ 216773 h 1153348"/>
              <a:gd name="connsiteX1040" fmla="*/ 6220454 w 6837827"/>
              <a:gd name="connsiteY1040" fmla="*/ 171415 h 1153348"/>
              <a:gd name="connsiteX1041" fmla="*/ 6204075 w 6837827"/>
              <a:gd name="connsiteY1041" fmla="*/ 131937 h 1153348"/>
              <a:gd name="connsiteX1042" fmla="*/ 6172156 w 6837827"/>
              <a:gd name="connsiteY1042" fmla="*/ 110098 h 1153348"/>
              <a:gd name="connsiteX1043" fmla="*/ 6155357 w 6837827"/>
              <a:gd name="connsiteY1043" fmla="*/ 108418 h 1153348"/>
              <a:gd name="connsiteX1044" fmla="*/ 6134778 w 6837827"/>
              <a:gd name="connsiteY1044" fmla="*/ 332268 h 1153348"/>
              <a:gd name="connsiteX1045" fmla="*/ 6107059 w 6837827"/>
              <a:gd name="connsiteY1045" fmla="*/ 372166 h 1153348"/>
              <a:gd name="connsiteX1046" fmla="*/ 6073041 w 6837827"/>
              <a:gd name="connsiteY1046" fmla="*/ 405765 h 1153348"/>
              <a:gd name="connsiteX1047" fmla="*/ 6036502 w 6837827"/>
              <a:gd name="connsiteY1047" fmla="*/ 427604 h 1153348"/>
              <a:gd name="connsiteX1048" fmla="*/ 6019703 w 6837827"/>
              <a:gd name="connsiteY1048" fmla="*/ 427604 h 1153348"/>
              <a:gd name="connsiteX1049" fmla="*/ 6008783 w 6837827"/>
              <a:gd name="connsiteY1049" fmla="*/ 415845 h 1153348"/>
              <a:gd name="connsiteX1050" fmla="*/ 6002903 w 6837827"/>
              <a:gd name="connsiteY1050" fmla="*/ 396946 h 1153348"/>
              <a:gd name="connsiteX1051" fmla="*/ 6001224 w 6837827"/>
              <a:gd name="connsiteY1051" fmla="*/ 375106 h 1153348"/>
              <a:gd name="connsiteX1052" fmla="*/ 6002903 w 6837827"/>
              <a:gd name="connsiteY1052" fmla="*/ 354527 h 1153348"/>
              <a:gd name="connsiteX1053" fmla="*/ 6007524 w 6837827"/>
              <a:gd name="connsiteY1053" fmla="*/ 340248 h 1153348"/>
              <a:gd name="connsiteX1054" fmla="*/ 6018863 w 6837827"/>
              <a:gd name="connsiteY1054" fmla="*/ 307069 h 1153348"/>
              <a:gd name="connsiteX1055" fmla="*/ 6026002 w 6837827"/>
              <a:gd name="connsiteY1055" fmla="*/ 272211 h 1153348"/>
              <a:gd name="connsiteX1056" fmla="*/ 6050362 w 6837827"/>
              <a:gd name="connsiteY1056" fmla="*/ 219713 h 1153348"/>
              <a:gd name="connsiteX1057" fmla="*/ 6091520 w 6837827"/>
              <a:gd name="connsiteY1057" fmla="*/ 177715 h 1153348"/>
              <a:gd name="connsiteX1058" fmla="*/ 6105799 w 6837827"/>
              <a:gd name="connsiteY1058" fmla="*/ 174355 h 1153348"/>
              <a:gd name="connsiteX1059" fmla="*/ 6122598 w 6837827"/>
              <a:gd name="connsiteY1059" fmla="*/ 174355 h 1153348"/>
              <a:gd name="connsiteX1060" fmla="*/ 6141918 w 6837827"/>
              <a:gd name="connsiteY1060" fmla="*/ 179395 h 1153348"/>
              <a:gd name="connsiteX1061" fmla="*/ 6153257 w 6837827"/>
              <a:gd name="connsiteY1061" fmla="*/ 196614 h 1153348"/>
              <a:gd name="connsiteX1062" fmla="*/ 6158297 w 6837827"/>
              <a:gd name="connsiteY1062" fmla="*/ 220973 h 1153348"/>
              <a:gd name="connsiteX1063" fmla="*/ 6158717 w 6837827"/>
              <a:gd name="connsiteY1063" fmla="*/ 247852 h 1153348"/>
              <a:gd name="connsiteX1064" fmla="*/ 6156197 w 6837827"/>
              <a:gd name="connsiteY1064" fmla="*/ 272631 h 1153348"/>
              <a:gd name="connsiteX1065" fmla="*/ 6152837 w 6837827"/>
              <a:gd name="connsiteY1065" fmla="*/ 290270 h 1153348"/>
              <a:gd name="connsiteX1066" fmla="*/ 6134778 w 6837827"/>
              <a:gd name="connsiteY1066" fmla="*/ 332268 h 1153348"/>
              <a:gd name="connsiteX1067" fmla="*/ 6433385 w 6837827"/>
              <a:gd name="connsiteY1067" fmla="*/ 242392 h 1153348"/>
              <a:gd name="connsiteX1068" fmla="*/ 6451864 w 6837827"/>
              <a:gd name="connsiteY1068" fmla="*/ 243652 h 1153348"/>
              <a:gd name="connsiteX1069" fmla="*/ 6469083 w 6837827"/>
              <a:gd name="connsiteY1069" fmla="*/ 239032 h 1153348"/>
              <a:gd name="connsiteX1070" fmla="*/ 6483363 w 6837827"/>
              <a:gd name="connsiteY1070" fmla="*/ 227273 h 1153348"/>
              <a:gd name="connsiteX1071" fmla="*/ 6495542 w 6837827"/>
              <a:gd name="connsiteY1071" fmla="*/ 211313 h 1153348"/>
              <a:gd name="connsiteX1072" fmla="*/ 6505622 w 6837827"/>
              <a:gd name="connsiteY1072" fmla="*/ 195774 h 1153348"/>
              <a:gd name="connsiteX1073" fmla="*/ 6518641 w 6837827"/>
              <a:gd name="connsiteY1073" fmla="*/ 169735 h 1153348"/>
              <a:gd name="connsiteX1074" fmla="*/ 6532921 w 6837827"/>
              <a:gd name="connsiteY1074" fmla="*/ 143696 h 1153348"/>
              <a:gd name="connsiteX1075" fmla="*/ 6543420 w 6837827"/>
              <a:gd name="connsiteY1075" fmla="*/ 116817 h 1153348"/>
              <a:gd name="connsiteX1076" fmla="*/ 6545940 w 6837827"/>
              <a:gd name="connsiteY1076" fmla="*/ 87839 h 1153348"/>
              <a:gd name="connsiteX1077" fmla="*/ 6530401 w 6837827"/>
              <a:gd name="connsiteY1077" fmla="*/ 50460 h 1153348"/>
              <a:gd name="connsiteX1078" fmla="*/ 6497642 w 6837827"/>
              <a:gd name="connsiteY1078" fmla="*/ 22322 h 1153348"/>
              <a:gd name="connsiteX1079" fmla="*/ 6456484 w 6837827"/>
              <a:gd name="connsiteY1079" fmla="*/ 6362 h 1153348"/>
              <a:gd name="connsiteX1080" fmla="*/ 6414486 w 6837827"/>
              <a:gd name="connsiteY1080" fmla="*/ 5522 h 1153348"/>
              <a:gd name="connsiteX1081" fmla="*/ 6399366 w 6837827"/>
              <a:gd name="connsiteY1081" fmla="*/ 63 h 1153348"/>
              <a:gd name="connsiteX1082" fmla="*/ 6378367 w 6837827"/>
              <a:gd name="connsiteY1082" fmla="*/ 5522 h 1153348"/>
              <a:gd name="connsiteX1083" fmla="*/ 6359468 w 6837827"/>
              <a:gd name="connsiteY1083" fmla="*/ 17702 h 1153348"/>
              <a:gd name="connsiteX1084" fmla="*/ 6350229 w 6837827"/>
              <a:gd name="connsiteY1084" fmla="*/ 32401 h 1153348"/>
              <a:gd name="connsiteX1085" fmla="*/ 6351909 w 6837827"/>
              <a:gd name="connsiteY1085" fmla="*/ 51300 h 1153348"/>
              <a:gd name="connsiteX1086" fmla="*/ 6355268 w 6837827"/>
              <a:gd name="connsiteY1086" fmla="*/ 70200 h 1153348"/>
              <a:gd name="connsiteX1087" fmla="*/ 6351909 w 6837827"/>
              <a:gd name="connsiteY1087" fmla="*/ 106318 h 1153348"/>
              <a:gd name="connsiteX1088" fmla="*/ 6347289 w 6837827"/>
              <a:gd name="connsiteY1088" fmla="*/ 142437 h 1153348"/>
              <a:gd name="connsiteX1089" fmla="*/ 6344349 w 6837827"/>
              <a:gd name="connsiteY1089" fmla="*/ 205854 h 1153348"/>
              <a:gd name="connsiteX1090" fmla="*/ 6338469 w 6837827"/>
              <a:gd name="connsiteY1090" fmla="*/ 271371 h 1153348"/>
              <a:gd name="connsiteX1091" fmla="*/ 6334269 w 6837827"/>
              <a:gd name="connsiteY1091" fmla="*/ 337308 h 1153348"/>
              <a:gd name="connsiteX1092" fmla="*/ 6336369 w 6837827"/>
              <a:gd name="connsiteY1092" fmla="*/ 401565 h 1153348"/>
              <a:gd name="connsiteX1093" fmla="*/ 6337629 w 6837827"/>
              <a:gd name="connsiteY1093" fmla="*/ 431804 h 1153348"/>
              <a:gd name="connsiteX1094" fmla="*/ 6336789 w 6837827"/>
              <a:gd name="connsiteY1094" fmla="*/ 453223 h 1153348"/>
              <a:gd name="connsiteX1095" fmla="*/ 6335949 w 6837827"/>
              <a:gd name="connsiteY1095" fmla="*/ 470442 h 1153348"/>
              <a:gd name="connsiteX1096" fmla="*/ 6337629 w 6837827"/>
              <a:gd name="connsiteY1096" fmla="*/ 487662 h 1153348"/>
              <a:gd name="connsiteX1097" fmla="*/ 6348969 w 6837827"/>
              <a:gd name="connsiteY1097" fmla="*/ 502781 h 1153348"/>
              <a:gd name="connsiteX1098" fmla="*/ 6369128 w 6837827"/>
              <a:gd name="connsiteY1098" fmla="*/ 509501 h 1153348"/>
              <a:gd name="connsiteX1099" fmla="*/ 6390547 w 6837827"/>
              <a:gd name="connsiteY1099" fmla="*/ 507401 h 1153348"/>
              <a:gd name="connsiteX1100" fmla="*/ 6406926 w 6837827"/>
              <a:gd name="connsiteY1100" fmla="*/ 496481 h 1153348"/>
              <a:gd name="connsiteX1101" fmla="*/ 6411126 w 6837827"/>
              <a:gd name="connsiteY1101" fmla="*/ 482202 h 1153348"/>
              <a:gd name="connsiteX1102" fmla="*/ 6412806 w 6837827"/>
              <a:gd name="connsiteY1102" fmla="*/ 458683 h 1153348"/>
              <a:gd name="connsiteX1103" fmla="*/ 6412806 w 6837827"/>
              <a:gd name="connsiteY1103" fmla="*/ 434324 h 1153348"/>
              <a:gd name="connsiteX1104" fmla="*/ 6411966 w 6837827"/>
              <a:gd name="connsiteY1104" fmla="*/ 417105 h 1153348"/>
              <a:gd name="connsiteX1105" fmla="*/ 6409866 w 6837827"/>
              <a:gd name="connsiteY1105" fmla="*/ 396946 h 1153348"/>
              <a:gd name="connsiteX1106" fmla="*/ 6408606 w 6837827"/>
              <a:gd name="connsiteY1106" fmla="*/ 380986 h 1153348"/>
              <a:gd name="connsiteX1107" fmla="*/ 6408186 w 6837827"/>
              <a:gd name="connsiteY1107" fmla="*/ 363767 h 1153348"/>
              <a:gd name="connsiteX1108" fmla="*/ 6409446 w 6837827"/>
              <a:gd name="connsiteY1108" fmla="*/ 340248 h 1153348"/>
              <a:gd name="connsiteX1109" fmla="*/ 6409446 w 6837827"/>
              <a:gd name="connsiteY1109" fmla="*/ 319669 h 1153348"/>
              <a:gd name="connsiteX1110" fmla="*/ 6408606 w 6837827"/>
              <a:gd name="connsiteY1110" fmla="*/ 297830 h 1153348"/>
              <a:gd name="connsiteX1111" fmla="*/ 6409866 w 6837827"/>
              <a:gd name="connsiteY1111" fmla="*/ 271371 h 1153348"/>
              <a:gd name="connsiteX1112" fmla="*/ 6417006 w 6837827"/>
              <a:gd name="connsiteY1112" fmla="*/ 236512 h 1153348"/>
              <a:gd name="connsiteX1113" fmla="*/ 6433385 w 6837827"/>
              <a:gd name="connsiteY1113" fmla="*/ 242392 h 1153348"/>
              <a:gd name="connsiteX1114" fmla="*/ 6423726 w 6837827"/>
              <a:gd name="connsiteY1114" fmla="*/ 98758 h 1153348"/>
              <a:gd name="connsiteX1115" fmla="*/ 6434225 w 6837827"/>
              <a:gd name="connsiteY1115" fmla="*/ 92459 h 1153348"/>
              <a:gd name="connsiteX1116" fmla="*/ 6446405 w 6837827"/>
              <a:gd name="connsiteY1116" fmla="*/ 94978 h 1153348"/>
              <a:gd name="connsiteX1117" fmla="*/ 6453964 w 6837827"/>
              <a:gd name="connsiteY1117" fmla="*/ 105478 h 1153348"/>
              <a:gd name="connsiteX1118" fmla="*/ 6454804 w 6837827"/>
              <a:gd name="connsiteY1118" fmla="*/ 118077 h 1153348"/>
              <a:gd name="connsiteX1119" fmla="*/ 6450605 w 6837827"/>
              <a:gd name="connsiteY1119" fmla="*/ 130677 h 1153348"/>
              <a:gd name="connsiteX1120" fmla="*/ 6442625 w 6837827"/>
              <a:gd name="connsiteY1120" fmla="*/ 141176 h 1153348"/>
              <a:gd name="connsiteX1121" fmla="*/ 6438425 w 6837827"/>
              <a:gd name="connsiteY1121" fmla="*/ 144116 h 1153348"/>
              <a:gd name="connsiteX1122" fmla="*/ 6430865 w 6837827"/>
              <a:gd name="connsiteY1122" fmla="*/ 148736 h 1153348"/>
              <a:gd name="connsiteX1123" fmla="*/ 6423726 w 6837827"/>
              <a:gd name="connsiteY1123" fmla="*/ 152096 h 1153348"/>
              <a:gd name="connsiteX1124" fmla="*/ 6419946 w 6837827"/>
              <a:gd name="connsiteY1124" fmla="*/ 151676 h 1153348"/>
              <a:gd name="connsiteX1125" fmla="*/ 6418266 w 6837827"/>
              <a:gd name="connsiteY1125" fmla="*/ 139497 h 1153348"/>
              <a:gd name="connsiteX1126" fmla="*/ 6418266 w 6837827"/>
              <a:gd name="connsiteY1126" fmla="*/ 123537 h 1153348"/>
              <a:gd name="connsiteX1127" fmla="*/ 6419946 w 6837827"/>
              <a:gd name="connsiteY1127" fmla="*/ 107998 h 1153348"/>
              <a:gd name="connsiteX1128" fmla="*/ 6423306 w 6837827"/>
              <a:gd name="connsiteY1128" fmla="*/ 96239 h 1153348"/>
              <a:gd name="connsiteX1129" fmla="*/ 6423726 w 6837827"/>
              <a:gd name="connsiteY1129" fmla="*/ 98758 h 1153348"/>
              <a:gd name="connsiteX1130" fmla="*/ 6664795 w 6837827"/>
              <a:gd name="connsiteY1130" fmla="*/ 97498 h 1153348"/>
              <a:gd name="connsiteX1131" fmla="*/ 6662275 w 6837827"/>
              <a:gd name="connsiteY1131" fmla="*/ 145376 h 1153348"/>
              <a:gd name="connsiteX1132" fmla="*/ 6678235 w 6837827"/>
              <a:gd name="connsiteY1132" fmla="*/ 196194 h 1153348"/>
              <a:gd name="connsiteX1133" fmla="*/ 6698394 w 6837827"/>
              <a:gd name="connsiteY1133" fmla="*/ 254992 h 1153348"/>
              <a:gd name="connsiteX1134" fmla="*/ 6702594 w 6837827"/>
              <a:gd name="connsiteY1134" fmla="*/ 268011 h 1153348"/>
              <a:gd name="connsiteX1135" fmla="*/ 6708893 w 6837827"/>
              <a:gd name="connsiteY1135" fmla="*/ 287750 h 1153348"/>
              <a:gd name="connsiteX1136" fmla="*/ 6714773 w 6837827"/>
              <a:gd name="connsiteY1136" fmla="*/ 311269 h 1153348"/>
              <a:gd name="connsiteX1137" fmla="*/ 6717713 w 6837827"/>
              <a:gd name="connsiteY1137" fmla="*/ 333948 h 1153348"/>
              <a:gd name="connsiteX1138" fmla="*/ 6715193 w 6837827"/>
              <a:gd name="connsiteY1138" fmla="*/ 352428 h 1153348"/>
              <a:gd name="connsiteX1139" fmla="*/ 6704694 w 6837827"/>
              <a:gd name="connsiteY1139" fmla="*/ 362927 h 1153348"/>
              <a:gd name="connsiteX1140" fmla="*/ 6695034 w 6837827"/>
              <a:gd name="connsiteY1140" fmla="*/ 362927 h 1153348"/>
              <a:gd name="connsiteX1141" fmla="*/ 6686634 w 6837827"/>
              <a:gd name="connsiteY1141" fmla="*/ 357467 h 1153348"/>
              <a:gd name="connsiteX1142" fmla="*/ 6679074 w 6837827"/>
              <a:gd name="connsiteY1142" fmla="*/ 349488 h 1153348"/>
              <a:gd name="connsiteX1143" fmla="*/ 6672775 w 6837827"/>
              <a:gd name="connsiteY1143" fmla="*/ 342348 h 1153348"/>
              <a:gd name="connsiteX1144" fmla="*/ 6654716 w 6837827"/>
              <a:gd name="connsiteY1144" fmla="*/ 332688 h 1153348"/>
              <a:gd name="connsiteX1145" fmla="*/ 6638756 w 6837827"/>
              <a:gd name="connsiteY1145" fmla="*/ 339408 h 1153348"/>
              <a:gd name="connsiteX1146" fmla="*/ 6627837 w 6837827"/>
              <a:gd name="connsiteY1146" fmla="*/ 356627 h 1153348"/>
              <a:gd name="connsiteX1147" fmla="*/ 6624897 w 6837827"/>
              <a:gd name="connsiteY1147" fmla="*/ 377626 h 1153348"/>
              <a:gd name="connsiteX1148" fmla="*/ 6631197 w 6837827"/>
              <a:gd name="connsiteY1148" fmla="*/ 401145 h 1153348"/>
              <a:gd name="connsiteX1149" fmla="*/ 6644636 w 6837827"/>
              <a:gd name="connsiteY1149" fmla="*/ 423404 h 1153348"/>
              <a:gd name="connsiteX1150" fmla="*/ 6664375 w 6837827"/>
              <a:gd name="connsiteY1150" fmla="*/ 439784 h 1153348"/>
              <a:gd name="connsiteX1151" fmla="*/ 6689154 w 6837827"/>
              <a:gd name="connsiteY1151" fmla="*/ 445663 h 1153348"/>
              <a:gd name="connsiteX1152" fmla="*/ 6744592 w 6837827"/>
              <a:gd name="connsiteY1152" fmla="*/ 429284 h 1153348"/>
              <a:gd name="connsiteX1153" fmla="*/ 6776510 w 6837827"/>
              <a:gd name="connsiteY1153" fmla="*/ 391906 h 1153348"/>
              <a:gd name="connsiteX1154" fmla="*/ 6788270 w 6837827"/>
              <a:gd name="connsiteY1154" fmla="*/ 344028 h 1153348"/>
              <a:gd name="connsiteX1155" fmla="*/ 6783230 w 6837827"/>
              <a:gd name="connsiteY1155" fmla="*/ 295310 h 1153348"/>
              <a:gd name="connsiteX1156" fmla="*/ 6770631 w 6837827"/>
              <a:gd name="connsiteY1156" fmla="*/ 260031 h 1153348"/>
              <a:gd name="connsiteX1157" fmla="*/ 6754671 w 6837827"/>
              <a:gd name="connsiteY1157" fmla="*/ 224333 h 1153348"/>
              <a:gd name="connsiteX1158" fmla="*/ 6740812 w 6837827"/>
              <a:gd name="connsiteY1158" fmla="*/ 188214 h 1153348"/>
              <a:gd name="connsiteX1159" fmla="*/ 6734092 w 6837827"/>
              <a:gd name="connsiteY1159" fmla="*/ 152096 h 1153348"/>
              <a:gd name="connsiteX1160" fmla="*/ 6737872 w 6837827"/>
              <a:gd name="connsiteY1160" fmla="*/ 113878 h 1153348"/>
              <a:gd name="connsiteX1161" fmla="*/ 6752571 w 6837827"/>
              <a:gd name="connsiteY1161" fmla="*/ 95818 h 1153348"/>
              <a:gd name="connsiteX1162" fmla="*/ 6777770 w 6837827"/>
              <a:gd name="connsiteY1162" fmla="*/ 86999 h 1153348"/>
              <a:gd name="connsiteX1163" fmla="*/ 6813049 w 6837827"/>
              <a:gd name="connsiteY1163" fmla="*/ 76499 h 1153348"/>
              <a:gd name="connsiteX1164" fmla="*/ 6828588 w 6837827"/>
              <a:gd name="connsiteY1164" fmla="*/ 68520 h 1153348"/>
              <a:gd name="connsiteX1165" fmla="*/ 6837828 w 6837827"/>
              <a:gd name="connsiteY1165" fmla="*/ 53400 h 1153348"/>
              <a:gd name="connsiteX1166" fmla="*/ 6832788 w 6837827"/>
              <a:gd name="connsiteY1166" fmla="*/ 36181 h 1153348"/>
              <a:gd name="connsiteX1167" fmla="*/ 6824808 w 6837827"/>
              <a:gd name="connsiteY1167" fmla="*/ 23162 h 1153348"/>
              <a:gd name="connsiteX1168" fmla="*/ 6811369 w 6837827"/>
              <a:gd name="connsiteY1168" fmla="*/ 15602 h 1153348"/>
              <a:gd name="connsiteX1169" fmla="*/ 6790790 w 6837827"/>
              <a:gd name="connsiteY1169" fmla="*/ 14342 h 1153348"/>
              <a:gd name="connsiteX1170" fmla="*/ 6767271 w 6837827"/>
              <a:gd name="connsiteY1170" fmla="*/ 18122 h 1153348"/>
              <a:gd name="connsiteX1171" fmla="*/ 6742492 w 6837827"/>
              <a:gd name="connsiteY1171" fmla="*/ 24421 h 1153348"/>
              <a:gd name="connsiteX1172" fmla="*/ 6718973 w 6837827"/>
              <a:gd name="connsiteY1172" fmla="*/ 34081 h 1153348"/>
              <a:gd name="connsiteX1173" fmla="*/ 6700073 w 6837827"/>
              <a:gd name="connsiteY1173" fmla="*/ 47941 h 1153348"/>
              <a:gd name="connsiteX1174" fmla="*/ 6664795 w 6837827"/>
              <a:gd name="connsiteY1174" fmla="*/ 97498 h 115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</a:cxnLst>
            <a:rect l="l" t="t" r="r" b="b"/>
            <a:pathLst>
              <a:path w="6837827" h="1153348">
                <a:moveTo>
                  <a:pt x="432263" y="777449"/>
                </a:moveTo>
                <a:cubicBezTo>
                  <a:pt x="425963" y="774089"/>
                  <a:pt x="419243" y="772409"/>
                  <a:pt x="411264" y="771569"/>
                </a:cubicBezTo>
                <a:cubicBezTo>
                  <a:pt x="403284" y="770729"/>
                  <a:pt x="394884" y="770729"/>
                  <a:pt x="386065" y="771569"/>
                </a:cubicBezTo>
                <a:cubicBezTo>
                  <a:pt x="377245" y="772409"/>
                  <a:pt x="368426" y="773669"/>
                  <a:pt x="360026" y="774929"/>
                </a:cubicBezTo>
                <a:cubicBezTo>
                  <a:pt x="351626" y="776189"/>
                  <a:pt x="343647" y="777869"/>
                  <a:pt x="336507" y="779129"/>
                </a:cubicBezTo>
                <a:cubicBezTo>
                  <a:pt x="329367" y="780809"/>
                  <a:pt x="323068" y="781649"/>
                  <a:pt x="318028" y="782069"/>
                </a:cubicBezTo>
                <a:cubicBezTo>
                  <a:pt x="317608" y="776609"/>
                  <a:pt x="318868" y="769470"/>
                  <a:pt x="320548" y="761070"/>
                </a:cubicBezTo>
                <a:cubicBezTo>
                  <a:pt x="322648" y="753090"/>
                  <a:pt x="325167" y="744271"/>
                  <a:pt x="327687" y="734611"/>
                </a:cubicBezTo>
                <a:cubicBezTo>
                  <a:pt x="330207" y="725371"/>
                  <a:pt x="333147" y="715712"/>
                  <a:pt x="335667" y="706472"/>
                </a:cubicBezTo>
                <a:cubicBezTo>
                  <a:pt x="338187" y="697233"/>
                  <a:pt x="340287" y="687993"/>
                  <a:pt x="341127" y="679593"/>
                </a:cubicBezTo>
                <a:cubicBezTo>
                  <a:pt x="342387" y="671194"/>
                  <a:pt x="342387" y="663214"/>
                  <a:pt x="341547" y="656494"/>
                </a:cubicBezTo>
                <a:cubicBezTo>
                  <a:pt x="340707" y="649775"/>
                  <a:pt x="338187" y="644315"/>
                  <a:pt x="333987" y="640955"/>
                </a:cubicBezTo>
                <a:cubicBezTo>
                  <a:pt x="328527" y="636335"/>
                  <a:pt x="321388" y="633815"/>
                  <a:pt x="312988" y="632555"/>
                </a:cubicBezTo>
                <a:cubicBezTo>
                  <a:pt x="304588" y="631295"/>
                  <a:pt x="297029" y="631716"/>
                  <a:pt x="290729" y="633395"/>
                </a:cubicBezTo>
                <a:cubicBezTo>
                  <a:pt x="285269" y="635075"/>
                  <a:pt x="281489" y="638435"/>
                  <a:pt x="278549" y="643055"/>
                </a:cubicBezTo>
                <a:cubicBezTo>
                  <a:pt x="275610" y="647675"/>
                  <a:pt x="273930" y="653135"/>
                  <a:pt x="272250" y="659014"/>
                </a:cubicBezTo>
                <a:cubicBezTo>
                  <a:pt x="270990" y="664894"/>
                  <a:pt x="269730" y="670774"/>
                  <a:pt x="268890" y="676653"/>
                </a:cubicBezTo>
                <a:cubicBezTo>
                  <a:pt x="268050" y="682533"/>
                  <a:pt x="267210" y="687573"/>
                  <a:pt x="265950" y="691773"/>
                </a:cubicBezTo>
                <a:cubicBezTo>
                  <a:pt x="259650" y="711092"/>
                  <a:pt x="254610" y="728731"/>
                  <a:pt x="251251" y="745531"/>
                </a:cubicBezTo>
                <a:cubicBezTo>
                  <a:pt x="247891" y="762330"/>
                  <a:pt x="245371" y="780389"/>
                  <a:pt x="244111" y="800128"/>
                </a:cubicBezTo>
                <a:cubicBezTo>
                  <a:pt x="230251" y="802228"/>
                  <a:pt x="217232" y="805168"/>
                  <a:pt x="205053" y="808948"/>
                </a:cubicBezTo>
                <a:cubicBezTo>
                  <a:pt x="192453" y="812728"/>
                  <a:pt x="179434" y="815668"/>
                  <a:pt x="165994" y="818187"/>
                </a:cubicBezTo>
                <a:cubicBezTo>
                  <a:pt x="165154" y="806848"/>
                  <a:pt x="165994" y="796348"/>
                  <a:pt x="168514" y="786269"/>
                </a:cubicBezTo>
                <a:cubicBezTo>
                  <a:pt x="171034" y="776189"/>
                  <a:pt x="173554" y="766110"/>
                  <a:pt x="176494" y="756030"/>
                </a:cubicBezTo>
                <a:cubicBezTo>
                  <a:pt x="179434" y="745950"/>
                  <a:pt x="181954" y="735871"/>
                  <a:pt x="184053" y="725371"/>
                </a:cubicBezTo>
                <a:cubicBezTo>
                  <a:pt x="186153" y="714872"/>
                  <a:pt x="186573" y="703532"/>
                  <a:pt x="185313" y="691773"/>
                </a:cubicBezTo>
                <a:cubicBezTo>
                  <a:pt x="184473" y="685473"/>
                  <a:pt x="182374" y="679593"/>
                  <a:pt x="179014" y="675394"/>
                </a:cubicBezTo>
                <a:cubicBezTo>
                  <a:pt x="175234" y="670774"/>
                  <a:pt x="171454" y="667834"/>
                  <a:pt x="166414" y="666154"/>
                </a:cubicBezTo>
                <a:cubicBezTo>
                  <a:pt x="161794" y="664474"/>
                  <a:pt x="156755" y="664054"/>
                  <a:pt x="151295" y="664894"/>
                </a:cubicBezTo>
                <a:cubicBezTo>
                  <a:pt x="146255" y="666154"/>
                  <a:pt x="141215" y="669094"/>
                  <a:pt x="137016" y="674134"/>
                </a:cubicBezTo>
                <a:cubicBezTo>
                  <a:pt x="133236" y="678753"/>
                  <a:pt x="130716" y="684213"/>
                  <a:pt x="129036" y="690933"/>
                </a:cubicBezTo>
                <a:cubicBezTo>
                  <a:pt x="127776" y="697652"/>
                  <a:pt x="125676" y="703532"/>
                  <a:pt x="123156" y="708992"/>
                </a:cubicBezTo>
                <a:cubicBezTo>
                  <a:pt x="118116" y="717812"/>
                  <a:pt x="114336" y="727891"/>
                  <a:pt x="112237" y="738391"/>
                </a:cubicBezTo>
                <a:cubicBezTo>
                  <a:pt x="110137" y="749310"/>
                  <a:pt x="108457" y="760230"/>
                  <a:pt x="107197" y="770729"/>
                </a:cubicBezTo>
                <a:cubicBezTo>
                  <a:pt x="105937" y="781649"/>
                  <a:pt x="104677" y="792569"/>
                  <a:pt x="103417" y="803068"/>
                </a:cubicBezTo>
                <a:cubicBezTo>
                  <a:pt x="102157" y="813988"/>
                  <a:pt x="99217" y="823647"/>
                  <a:pt x="95437" y="832467"/>
                </a:cubicBezTo>
                <a:cubicBezTo>
                  <a:pt x="88718" y="833307"/>
                  <a:pt x="81998" y="834567"/>
                  <a:pt x="74858" y="835407"/>
                </a:cubicBezTo>
                <a:cubicBezTo>
                  <a:pt x="68138" y="836247"/>
                  <a:pt x="60999" y="837507"/>
                  <a:pt x="53859" y="838767"/>
                </a:cubicBezTo>
                <a:cubicBezTo>
                  <a:pt x="44619" y="840026"/>
                  <a:pt x="37060" y="842546"/>
                  <a:pt x="32020" y="845906"/>
                </a:cubicBezTo>
                <a:cubicBezTo>
                  <a:pt x="26560" y="849266"/>
                  <a:pt x="23200" y="853466"/>
                  <a:pt x="21100" y="858506"/>
                </a:cubicBezTo>
                <a:cubicBezTo>
                  <a:pt x="19421" y="863545"/>
                  <a:pt x="19001" y="868585"/>
                  <a:pt x="19841" y="874465"/>
                </a:cubicBezTo>
                <a:cubicBezTo>
                  <a:pt x="21100" y="879925"/>
                  <a:pt x="23200" y="885805"/>
                  <a:pt x="26980" y="891684"/>
                </a:cubicBezTo>
                <a:cubicBezTo>
                  <a:pt x="29500" y="896724"/>
                  <a:pt x="33280" y="900084"/>
                  <a:pt x="38320" y="901764"/>
                </a:cubicBezTo>
                <a:cubicBezTo>
                  <a:pt x="43360" y="903864"/>
                  <a:pt x="48399" y="905124"/>
                  <a:pt x="54279" y="905544"/>
                </a:cubicBezTo>
                <a:cubicBezTo>
                  <a:pt x="59739" y="905964"/>
                  <a:pt x="65619" y="905964"/>
                  <a:pt x="71078" y="905544"/>
                </a:cubicBezTo>
                <a:cubicBezTo>
                  <a:pt x="76538" y="905124"/>
                  <a:pt x="81578" y="904284"/>
                  <a:pt x="85358" y="903864"/>
                </a:cubicBezTo>
                <a:cubicBezTo>
                  <a:pt x="81998" y="918983"/>
                  <a:pt x="79058" y="933263"/>
                  <a:pt x="76538" y="947542"/>
                </a:cubicBezTo>
                <a:cubicBezTo>
                  <a:pt x="74018" y="961821"/>
                  <a:pt x="71498" y="976101"/>
                  <a:pt x="69398" y="989960"/>
                </a:cubicBezTo>
                <a:cubicBezTo>
                  <a:pt x="62259" y="992060"/>
                  <a:pt x="55539" y="994160"/>
                  <a:pt x="49659" y="995420"/>
                </a:cubicBezTo>
                <a:cubicBezTo>
                  <a:pt x="43360" y="997100"/>
                  <a:pt x="36640" y="998780"/>
                  <a:pt x="29920" y="1000880"/>
                </a:cubicBezTo>
                <a:cubicBezTo>
                  <a:pt x="24880" y="1002560"/>
                  <a:pt x="20261" y="1004659"/>
                  <a:pt x="16061" y="1007179"/>
                </a:cubicBezTo>
                <a:cubicBezTo>
                  <a:pt x="11861" y="1009699"/>
                  <a:pt x="8081" y="1012639"/>
                  <a:pt x="5141" y="1016419"/>
                </a:cubicBezTo>
                <a:cubicBezTo>
                  <a:pt x="2201" y="1020199"/>
                  <a:pt x="521" y="1023979"/>
                  <a:pt x="101" y="1028598"/>
                </a:cubicBezTo>
                <a:cubicBezTo>
                  <a:pt x="-319" y="1033218"/>
                  <a:pt x="521" y="1038258"/>
                  <a:pt x="3461" y="1043718"/>
                </a:cubicBezTo>
                <a:cubicBezTo>
                  <a:pt x="9761" y="1055057"/>
                  <a:pt x="17741" y="1062197"/>
                  <a:pt x="27820" y="1064717"/>
                </a:cubicBezTo>
                <a:cubicBezTo>
                  <a:pt x="37900" y="1067237"/>
                  <a:pt x="48819" y="1068077"/>
                  <a:pt x="60999" y="1066397"/>
                </a:cubicBezTo>
                <a:cubicBezTo>
                  <a:pt x="59319" y="1076056"/>
                  <a:pt x="57639" y="1086976"/>
                  <a:pt x="56379" y="1099155"/>
                </a:cubicBezTo>
                <a:cubicBezTo>
                  <a:pt x="55119" y="1111335"/>
                  <a:pt x="55959" y="1121834"/>
                  <a:pt x="58479" y="1131074"/>
                </a:cubicBezTo>
                <a:cubicBezTo>
                  <a:pt x="63939" y="1141574"/>
                  <a:pt x="71078" y="1148293"/>
                  <a:pt x="79898" y="1151653"/>
                </a:cubicBezTo>
                <a:cubicBezTo>
                  <a:pt x="88718" y="1155013"/>
                  <a:pt x="97957" y="1153333"/>
                  <a:pt x="107617" y="1147033"/>
                </a:cubicBezTo>
                <a:cubicBezTo>
                  <a:pt x="113497" y="1143253"/>
                  <a:pt x="117696" y="1137374"/>
                  <a:pt x="119796" y="1130234"/>
                </a:cubicBezTo>
                <a:cubicBezTo>
                  <a:pt x="122316" y="1122675"/>
                  <a:pt x="123996" y="1115115"/>
                  <a:pt x="124836" y="1106715"/>
                </a:cubicBezTo>
                <a:cubicBezTo>
                  <a:pt x="125676" y="1098315"/>
                  <a:pt x="126096" y="1089916"/>
                  <a:pt x="126096" y="1081516"/>
                </a:cubicBezTo>
                <a:cubicBezTo>
                  <a:pt x="126096" y="1073116"/>
                  <a:pt x="126096" y="1065977"/>
                  <a:pt x="126096" y="1060097"/>
                </a:cubicBezTo>
                <a:cubicBezTo>
                  <a:pt x="139535" y="1056737"/>
                  <a:pt x="152975" y="1053377"/>
                  <a:pt x="166414" y="1049598"/>
                </a:cubicBezTo>
                <a:cubicBezTo>
                  <a:pt x="179854" y="1045818"/>
                  <a:pt x="193293" y="1042878"/>
                  <a:pt x="207152" y="1041198"/>
                </a:cubicBezTo>
                <a:cubicBezTo>
                  <a:pt x="205893" y="1045818"/>
                  <a:pt x="205473" y="1051277"/>
                  <a:pt x="205473" y="1057157"/>
                </a:cubicBezTo>
                <a:cubicBezTo>
                  <a:pt x="205473" y="1063457"/>
                  <a:pt x="205893" y="1069757"/>
                  <a:pt x="206733" y="1076056"/>
                </a:cubicBezTo>
                <a:cubicBezTo>
                  <a:pt x="207572" y="1082356"/>
                  <a:pt x="208412" y="1089076"/>
                  <a:pt x="209672" y="1095375"/>
                </a:cubicBezTo>
                <a:cubicBezTo>
                  <a:pt x="210512" y="1101675"/>
                  <a:pt x="211352" y="1107135"/>
                  <a:pt x="212612" y="1111755"/>
                </a:cubicBezTo>
                <a:cubicBezTo>
                  <a:pt x="213872" y="1122254"/>
                  <a:pt x="218072" y="1129394"/>
                  <a:pt x="224792" y="1132754"/>
                </a:cubicBezTo>
                <a:cubicBezTo>
                  <a:pt x="231511" y="1136534"/>
                  <a:pt x="238651" y="1137794"/>
                  <a:pt x="246211" y="1136954"/>
                </a:cubicBezTo>
                <a:cubicBezTo>
                  <a:pt x="253771" y="1136114"/>
                  <a:pt x="261330" y="1133594"/>
                  <a:pt x="268050" y="1129814"/>
                </a:cubicBezTo>
                <a:cubicBezTo>
                  <a:pt x="274770" y="1125614"/>
                  <a:pt x="279389" y="1121414"/>
                  <a:pt x="281489" y="1116375"/>
                </a:cubicBezTo>
                <a:cubicBezTo>
                  <a:pt x="284009" y="1109655"/>
                  <a:pt x="284849" y="1102095"/>
                  <a:pt x="284429" y="1094116"/>
                </a:cubicBezTo>
                <a:cubicBezTo>
                  <a:pt x="283589" y="1086136"/>
                  <a:pt x="282749" y="1078156"/>
                  <a:pt x="281069" y="1069757"/>
                </a:cubicBezTo>
                <a:cubicBezTo>
                  <a:pt x="279389" y="1061357"/>
                  <a:pt x="278129" y="1052957"/>
                  <a:pt x="276450" y="1045398"/>
                </a:cubicBezTo>
                <a:cubicBezTo>
                  <a:pt x="275190" y="1037418"/>
                  <a:pt x="274770" y="1030278"/>
                  <a:pt x="274770" y="1023979"/>
                </a:cubicBezTo>
                <a:cubicBezTo>
                  <a:pt x="281069" y="1020199"/>
                  <a:pt x="288209" y="1017679"/>
                  <a:pt x="297029" y="1015999"/>
                </a:cubicBezTo>
                <a:cubicBezTo>
                  <a:pt x="305848" y="1013899"/>
                  <a:pt x="314248" y="1012219"/>
                  <a:pt x="323068" y="1010539"/>
                </a:cubicBezTo>
                <a:cubicBezTo>
                  <a:pt x="331887" y="1008859"/>
                  <a:pt x="340287" y="1006759"/>
                  <a:pt x="348266" y="1004659"/>
                </a:cubicBezTo>
                <a:cubicBezTo>
                  <a:pt x="356246" y="1002560"/>
                  <a:pt x="362546" y="999200"/>
                  <a:pt x="367586" y="994580"/>
                </a:cubicBezTo>
                <a:cubicBezTo>
                  <a:pt x="370526" y="992060"/>
                  <a:pt x="373045" y="988700"/>
                  <a:pt x="375145" y="984080"/>
                </a:cubicBezTo>
                <a:cubicBezTo>
                  <a:pt x="376825" y="979461"/>
                  <a:pt x="378085" y="974841"/>
                  <a:pt x="378085" y="969801"/>
                </a:cubicBezTo>
                <a:cubicBezTo>
                  <a:pt x="378085" y="964761"/>
                  <a:pt x="377665" y="960141"/>
                  <a:pt x="376405" y="955522"/>
                </a:cubicBezTo>
                <a:cubicBezTo>
                  <a:pt x="375145" y="950902"/>
                  <a:pt x="372625" y="947122"/>
                  <a:pt x="369266" y="944182"/>
                </a:cubicBezTo>
                <a:cubicBezTo>
                  <a:pt x="364646" y="939982"/>
                  <a:pt x="358346" y="937042"/>
                  <a:pt x="350786" y="935362"/>
                </a:cubicBezTo>
                <a:cubicBezTo>
                  <a:pt x="343227" y="933682"/>
                  <a:pt x="335667" y="932842"/>
                  <a:pt x="327687" y="932842"/>
                </a:cubicBezTo>
                <a:cubicBezTo>
                  <a:pt x="319708" y="932842"/>
                  <a:pt x="311728" y="933263"/>
                  <a:pt x="304168" y="934522"/>
                </a:cubicBezTo>
                <a:cubicBezTo>
                  <a:pt x="296609" y="935782"/>
                  <a:pt x="290309" y="936622"/>
                  <a:pt x="285269" y="937462"/>
                </a:cubicBezTo>
                <a:cubicBezTo>
                  <a:pt x="286109" y="921503"/>
                  <a:pt x="287789" y="907224"/>
                  <a:pt x="290309" y="895464"/>
                </a:cubicBezTo>
                <a:cubicBezTo>
                  <a:pt x="292829" y="883705"/>
                  <a:pt x="295349" y="871945"/>
                  <a:pt x="298289" y="860186"/>
                </a:cubicBezTo>
                <a:cubicBezTo>
                  <a:pt x="318448" y="855146"/>
                  <a:pt x="338187" y="850526"/>
                  <a:pt x="357506" y="845906"/>
                </a:cubicBezTo>
                <a:cubicBezTo>
                  <a:pt x="376825" y="841286"/>
                  <a:pt x="396984" y="837927"/>
                  <a:pt x="417143" y="835827"/>
                </a:cubicBezTo>
                <a:cubicBezTo>
                  <a:pt x="421763" y="835407"/>
                  <a:pt x="426383" y="833307"/>
                  <a:pt x="430583" y="829947"/>
                </a:cubicBezTo>
                <a:cubicBezTo>
                  <a:pt x="434783" y="826587"/>
                  <a:pt x="438143" y="822807"/>
                  <a:pt x="441082" y="818187"/>
                </a:cubicBezTo>
                <a:cubicBezTo>
                  <a:pt x="444022" y="813568"/>
                  <a:pt x="445702" y="808948"/>
                  <a:pt x="446962" y="804328"/>
                </a:cubicBezTo>
                <a:cubicBezTo>
                  <a:pt x="448222" y="799288"/>
                  <a:pt x="447802" y="795088"/>
                  <a:pt x="445702" y="791309"/>
                </a:cubicBezTo>
                <a:cubicBezTo>
                  <a:pt x="443182" y="785849"/>
                  <a:pt x="438563" y="780809"/>
                  <a:pt x="432263" y="777449"/>
                </a:cubicBezTo>
                <a:moveTo>
                  <a:pt x="142055" y="963081"/>
                </a:moveTo>
                <a:cubicBezTo>
                  <a:pt x="143735" y="951322"/>
                  <a:pt x="145415" y="939142"/>
                  <a:pt x="146675" y="926963"/>
                </a:cubicBezTo>
                <a:cubicBezTo>
                  <a:pt x="147935" y="914783"/>
                  <a:pt x="149615" y="903444"/>
                  <a:pt x="151295" y="893364"/>
                </a:cubicBezTo>
                <a:cubicBezTo>
                  <a:pt x="164314" y="891684"/>
                  <a:pt x="176914" y="889584"/>
                  <a:pt x="189093" y="887905"/>
                </a:cubicBezTo>
                <a:cubicBezTo>
                  <a:pt x="201273" y="885805"/>
                  <a:pt x="213872" y="882865"/>
                  <a:pt x="226052" y="879505"/>
                </a:cubicBezTo>
                <a:cubicBezTo>
                  <a:pt x="223112" y="887905"/>
                  <a:pt x="220592" y="894624"/>
                  <a:pt x="218912" y="900504"/>
                </a:cubicBezTo>
                <a:cubicBezTo>
                  <a:pt x="217232" y="905964"/>
                  <a:pt x="215972" y="911423"/>
                  <a:pt x="215552" y="916043"/>
                </a:cubicBezTo>
                <a:cubicBezTo>
                  <a:pt x="214712" y="920663"/>
                  <a:pt x="214292" y="925703"/>
                  <a:pt x="213872" y="931163"/>
                </a:cubicBezTo>
                <a:cubicBezTo>
                  <a:pt x="213452" y="936202"/>
                  <a:pt x="213032" y="942502"/>
                  <a:pt x="212192" y="949222"/>
                </a:cubicBezTo>
                <a:cubicBezTo>
                  <a:pt x="199173" y="952162"/>
                  <a:pt x="187413" y="955102"/>
                  <a:pt x="175654" y="957202"/>
                </a:cubicBezTo>
                <a:cubicBezTo>
                  <a:pt x="164314" y="959721"/>
                  <a:pt x="152975" y="962241"/>
                  <a:pt x="141635" y="965181"/>
                </a:cubicBezTo>
                <a:cubicBezTo>
                  <a:pt x="142055" y="964761"/>
                  <a:pt x="142055" y="963921"/>
                  <a:pt x="142055" y="963081"/>
                </a:cubicBezTo>
                <a:moveTo>
                  <a:pt x="674172" y="656914"/>
                </a:moveTo>
                <a:cubicBezTo>
                  <a:pt x="673332" y="648515"/>
                  <a:pt x="671233" y="640955"/>
                  <a:pt x="667873" y="634235"/>
                </a:cubicBezTo>
                <a:cubicBezTo>
                  <a:pt x="664513" y="627516"/>
                  <a:pt x="659473" y="621636"/>
                  <a:pt x="653173" y="617016"/>
                </a:cubicBezTo>
                <a:cubicBezTo>
                  <a:pt x="646874" y="612396"/>
                  <a:pt x="639314" y="610716"/>
                  <a:pt x="630914" y="612396"/>
                </a:cubicBezTo>
                <a:cubicBezTo>
                  <a:pt x="619155" y="612816"/>
                  <a:pt x="609915" y="617856"/>
                  <a:pt x="604455" y="626676"/>
                </a:cubicBezTo>
                <a:cubicBezTo>
                  <a:pt x="598576" y="635495"/>
                  <a:pt x="594376" y="646415"/>
                  <a:pt x="591856" y="658594"/>
                </a:cubicBezTo>
                <a:cubicBezTo>
                  <a:pt x="589336" y="670774"/>
                  <a:pt x="587656" y="683373"/>
                  <a:pt x="586396" y="696813"/>
                </a:cubicBezTo>
                <a:cubicBezTo>
                  <a:pt x="585556" y="710252"/>
                  <a:pt x="583456" y="721172"/>
                  <a:pt x="580936" y="730831"/>
                </a:cubicBezTo>
                <a:cubicBezTo>
                  <a:pt x="577157" y="743431"/>
                  <a:pt x="574637" y="758130"/>
                  <a:pt x="572537" y="774509"/>
                </a:cubicBezTo>
                <a:cubicBezTo>
                  <a:pt x="570857" y="790889"/>
                  <a:pt x="569177" y="807688"/>
                  <a:pt x="567077" y="824907"/>
                </a:cubicBezTo>
                <a:cubicBezTo>
                  <a:pt x="565397" y="842126"/>
                  <a:pt x="562877" y="858506"/>
                  <a:pt x="559937" y="874465"/>
                </a:cubicBezTo>
                <a:cubicBezTo>
                  <a:pt x="556997" y="890424"/>
                  <a:pt x="552378" y="904284"/>
                  <a:pt x="546498" y="915623"/>
                </a:cubicBezTo>
                <a:cubicBezTo>
                  <a:pt x="544818" y="918143"/>
                  <a:pt x="543558" y="923183"/>
                  <a:pt x="542298" y="929903"/>
                </a:cubicBezTo>
                <a:cubicBezTo>
                  <a:pt x="541038" y="936622"/>
                  <a:pt x="539778" y="944602"/>
                  <a:pt x="538098" y="953422"/>
                </a:cubicBezTo>
                <a:cubicBezTo>
                  <a:pt x="536838" y="962241"/>
                  <a:pt x="535578" y="971481"/>
                  <a:pt x="534318" y="980720"/>
                </a:cubicBezTo>
                <a:cubicBezTo>
                  <a:pt x="533478" y="990380"/>
                  <a:pt x="532219" y="999200"/>
                  <a:pt x="531379" y="1007179"/>
                </a:cubicBezTo>
                <a:cubicBezTo>
                  <a:pt x="530539" y="1015159"/>
                  <a:pt x="529699" y="1022299"/>
                  <a:pt x="529279" y="1028178"/>
                </a:cubicBezTo>
                <a:cubicBezTo>
                  <a:pt x="528859" y="1034058"/>
                  <a:pt x="528439" y="1037838"/>
                  <a:pt x="528439" y="1039098"/>
                </a:cubicBezTo>
                <a:cubicBezTo>
                  <a:pt x="528019" y="1045818"/>
                  <a:pt x="528859" y="1054217"/>
                  <a:pt x="530959" y="1064297"/>
                </a:cubicBezTo>
                <a:cubicBezTo>
                  <a:pt x="533059" y="1074376"/>
                  <a:pt x="535998" y="1084456"/>
                  <a:pt x="540198" y="1094116"/>
                </a:cubicBezTo>
                <a:cubicBezTo>
                  <a:pt x="544398" y="1103775"/>
                  <a:pt x="549858" y="1111755"/>
                  <a:pt x="556577" y="1118054"/>
                </a:cubicBezTo>
                <a:cubicBezTo>
                  <a:pt x="562877" y="1124354"/>
                  <a:pt x="570437" y="1127294"/>
                  <a:pt x="578837" y="1126454"/>
                </a:cubicBezTo>
                <a:cubicBezTo>
                  <a:pt x="587656" y="1125614"/>
                  <a:pt x="594796" y="1122254"/>
                  <a:pt x="600256" y="1116375"/>
                </a:cubicBezTo>
                <a:cubicBezTo>
                  <a:pt x="605295" y="1110495"/>
                  <a:pt x="609495" y="1103775"/>
                  <a:pt x="612015" y="1094956"/>
                </a:cubicBezTo>
                <a:cubicBezTo>
                  <a:pt x="614535" y="1086556"/>
                  <a:pt x="616215" y="1077316"/>
                  <a:pt x="616635" y="1066817"/>
                </a:cubicBezTo>
                <a:cubicBezTo>
                  <a:pt x="617055" y="1056737"/>
                  <a:pt x="617475" y="1046658"/>
                  <a:pt x="617895" y="1036578"/>
                </a:cubicBezTo>
                <a:cubicBezTo>
                  <a:pt x="617895" y="1026918"/>
                  <a:pt x="618315" y="1017259"/>
                  <a:pt x="618315" y="1008859"/>
                </a:cubicBezTo>
                <a:cubicBezTo>
                  <a:pt x="618315" y="1000039"/>
                  <a:pt x="619155" y="992900"/>
                  <a:pt x="620835" y="987440"/>
                </a:cubicBezTo>
                <a:cubicBezTo>
                  <a:pt x="625455" y="969381"/>
                  <a:pt x="628814" y="950902"/>
                  <a:pt x="630494" y="932423"/>
                </a:cubicBezTo>
                <a:cubicBezTo>
                  <a:pt x="632174" y="913523"/>
                  <a:pt x="635114" y="894624"/>
                  <a:pt x="639734" y="875725"/>
                </a:cubicBezTo>
                <a:cubicBezTo>
                  <a:pt x="642254" y="866905"/>
                  <a:pt x="643934" y="856826"/>
                  <a:pt x="646034" y="845906"/>
                </a:cubicBezTo>
                <a:cubicBezTo>
                  <a:pt x="647714" y="834987"/>
                  <a:pt x="649814" y="824067"/>
                  <a:pt x="652753" y="813148"/>
                </a:cubicBezTo>
                <a:cubicBezTo>
                  <a:pt x="655273" y="802228"/>
                  <a:pt x="659053" y="792148"/>
                  <a:pt x="663253" y="782489"/>
                </a:cubicBezTo>
                <a:cubicBezTo>
                  <a:pt x="667453" y="772829"/>
                  <a:pt x="672913" y="765270"/>
                  <a:pt x="679632" y="759390"/>
                </a:cubicBezTo>
                <a:cubicBezTo>
                  <a:pt x="683832" y="756030"/>
                  <a:pt x="689292" y="751410"/>
                  <a:pt x="696012" y="745111"/>
                </a:cubicBezTo>
                <a:cubicBezTo>
                  <a:pt x="703151" y="738811"/>
                  <a:pt x="710711" y="732931"/>
                  <a:pt x="718271" y="727051"/>
                </a:cubicBezTo>
                <a:cubicBezTo>
                  <a:pt x="726250" y="721172"/>
                  <a:pt x="734230" y="716552"/>
                  <a:pt x="742210" y="712352"/>
                </a:cubicBezTo>
                <a:cubicBezTo>
                  <a:pt x="750189" y="708572"/>
                  <a:pt x="756909" y="706892"/>
                  <a:pt x="762369" y="708152"/>
                </a:cubicBezTo>
                <a:cubicBezTo>
                  <a:pt x="768248" y="709412"/>
                  <a:pt x="771188" y="712772"/>
                  <a:pt x="771608" y="718232"/>
                </a:cubicBezTo>
                <a:cubicBezTo>
                  <a:pt x="772028" y="723691"/>
                  <a:pt x="770348" y="730411"/>
                  <a:pt x="766988" y="737551"/>
                </a:cubicBezTo>
                <a:cubicBezTo>
                  <a:pt x="763629" y="745111"/>
                  <a:pt x="759009" y="753090"/>
                  <a:pt x="753129" y="761490"/>
                </a:cubicBezTo>
                <a:cubicBezTo>
                  <a:pt x="747669" y="769889"/>
                  <a:pt x="741790" y="777869"/>
                  <a:pt x="735910" y="785429"/>
                </a:cubicBezTo>
                <a:cubicBezTo>
                  <a:pt x="730030" y="792988"/>
                  <a:pt x="724990" y="799708"/>
                  <a:pt x="720370" y="805168"/>
                </a:cubicBezTo>
                <a:cubicBezTo>
                  <a:pt x="715751" y="810628"/>
                  <a:pt x="712391" y="813988"/>
                  <a:pt x="710711" y="815247"/>
                </a:cubicBezTo>
                <a:cubicBezTo>
                  <a:pt x="703571" y="821547"/>
                  <a:pt x="696851" y="828267"/>
                  <a:pt x="690552" y="834987"/>
                </a:cubicBezTo>
                <a:cubicBezTo>
                  <a:pt x="683832" y="842126"/>
                  <a:pt x="679212" y="849686"/>
                  <a:pt x="675852" y="857246"/>
                </a:cubicBezTo>
                <a:cubicBezTo>
                  <a:pt x="672493" y="865225"/>
                  <a:pt x="672073" y="873205"/>
                  <a:pt x="673752" y="882025"/>
                </a:cubicBezTo>
                <a:cubicBezTo>
                  <a:pt x="675432" y="890844"/>
                  <a:pt x="680892" y="900084"/>
                  <a:pt x="690972" y="910164"/>
                </a:cubicBezTo>
                <a:cubicBezTo>
                  <a:pt x="698531" y="915623"/>
                  <a:pt x="709031" y="922343"/>
                  <a:pt x="722050" y="930742"/>
                </a:cubicBezTo>
                <a:cubicBezTo>
                  <a:pt x="735070" y="939142"/>
                  <a:pt x="748929" y="947122"/>
                  <a:pt x="763209" y="954681"/>
                </a:cubicBezTo>
                <a:cubicBezTo>
                  <a:pt x="777488" y="962241"/>
                  <a:pt x="790927" y="968541"/>
                  <a:pt x="803527" y="974001"/>
                </a:cubicBezTo>
                <a:cubicBezTo>
                  <a:pt x="815706" y="979461"/>
                  <a:pt x="824946" y="981140"/>
                  <a:pt x="831246" y="979880"/>
                </a:cubicBezTo>
                <a:cubicBezTo>
                  <a:pt x="847625" y="991640"/>
                  <a:pt x="864424" y="996680"/>
                  <a:pt x="882483" y="995000"/>
                </a:cubicBezTo>
                <a:cubicBezTo>
                  <a:pt x="900543" y="993320"/>
                  <a:pt x="918602" y="988280"/>
                  <a:pt x="936661" y="979880"/>
                </a:cubicBezTo>
                <a:cubicBezTo>
                  <a:pt x="942961" y="972741"/>
                  <a:pt x="945901" y="966021"/>
                  <a:pt x="945901" y="960141"/>
                </a:cubicBezTo>
                <a:cubicBezTo>
                  <a:pt x="945901" y="954262"/>
                  <a:pt x="944221" y="948802"/>
                  <a:pt x="940441" y="944182"/>
                </a:cubicBezTo>
                <a:cubicBezTo>
                  <a:pt x="936661" y="939562"/>
                  <a:pt x="931621" y="935362"/>
                  <a:pt x="924902" y="932003"/>
                </a:cubicBezTo>
                <a:cubicBezTo>
                  <a:pt x="918182" y="928643"/>
                  <a:pt x="911462" y="926123"/>
                  <a:pt x="904323" y="924863"/>
                </a:cubicBezTo>
                <a:cubicBezTo>
                  <a:pt x="900543" y="924023"/>
                  <a:pt x="895083" y="922763"/>
                  <a:pt x="887103" y="920663"/>
                </a:cubicBezTo>
                <a:cubicBezTo>
                  <a:pt x="879544" y="918983"/>
                  <a:pt x="870724" y="916463"/>
                  <a:pt x="861064" y="913523"/>
                </a:cubicBezTo>
                <a:cubicBezTo>
                  <a:pt x="851405" y="910583"/>
                  <a:pt x="841745" y="907643"/>
                  <a:pt x="831246" y="903864"/>
                </a:cubicBezTo>
                <a:cubicBezTo>
                  <a:pt x="821166" y="900504"/>
                  <a:pt x="811927" y="896724"/>
                  <a:pt x="803527" y="892944"/>
                </a:cubicBezTo>
                <a:cubicBezTo>
                  <a:pt x="795127" y="889164"/>
                  <a:pt x="787988" y="884965"/>
                  <a:pt x="782108" y="880345"/>
                </a:cubicBezTo>
                <a:cubicBezTo>
                  <a:pt x="776648" y="875725"/>
                  <a:pt x="773288" y="871105"/>
                  <a:pt x="772868" y="866485"/>
                </a:cubicBezTo>
                <a:cubicBezTo>
                  <a:pt x="771608" y="855146"/>
                  <a:pt x="774968" y="844226"/>
                  <a:pt x="783368" y="833307"/>
                </a:cubicBezTo>
                <a:cubicBezTo>
                  <a:pt x="791347" y="822387"/>
                  <a:pt x="800587" y="811468"/>
                  <a:pt x="810667" y="799708"/>
                </a:cubicBezTo>
                <a:cubicBezTo>
                  <a:pt x="820326" y="787949"/>
                  <a:pt x="829566" y="775769"/>
                  <a:pt x="837545" y="762750"/>
                </a:cubicBezTo>
                <a:cubicBezTo>
                  <a:pt x="845525" y="749730"/>
                  <a:pt x="848465" y="735451"/>
                  <a:pt x="847205" y="720332"/>
                </a:cubicBezTo>
                <a:cubicBezTo>
                  <a:pt x="845945" y="708992"/>
                  <a:pt x="843005" y="698073"/>
                  <a:pt x="838385" y="686313"/>
                </a:cubicBezTo>
                <a:cubicBezTo>
                  <a:pt x="833766" y="674974"/>
                  <a:pt x="827886" y="664474"/>
                  <a:pt x="820746" y="655234"/>
                </a:cubicBezTo>
                <a:cubicBezTo>
                  <a:pt x="813606" y="645995"/>
                  <a:pt x="805627" y="638435"/>
                  <a:pt x="796807" y="632975"/>
                </a:cubicBezTo>
                <a:cubicBezTo>
                  <a:pt x="787988" y="627516"/>
                  <a:pt x="778748" y="624996"/>
                  <a:pt x="769508" y="625416"/>
                </a:cubicBezTo>
                <a:cubicBezTo>
                  <a:pt x="753129" y="626676"/>
                  <a:pt x="740530" y="629616"/>
                  <a:pt x="731290" y="634655"/>
                </a:cubicBezTo>
                <a:cubicBezTo>
                  <a:pt x="722050" y="639275"/>
                  <a:pt x="714491" y="644735"/>
                  <a:pt x="708191" y="650615"/>
                </a:cubicBezTo>
                <a:cubicBezTo>
                  <a:pt x="702311" y="656494"/>
                  <a:pt x="696432" y="661954"/>
                  <a:pt x="691392" y="667414"/>
                </a:cubicBezTo>
                <a:cubicBezTo>
                  <a:pt x="686352" y="672874"/>
                  <a:pt x="680052" y="676234"/>
                  <a:pt x="672493" y="678333"/>
                </a:cubicBezTo>
                <a:cubicBezTo>
                  <a:pt x="674172" y="672454"/>
                  <a:pt x="675012" y="665314"/>
                  <a:pt x="674172" y="656914"/>
                </a:cubicBezTo>
                <a:moveTo>
                  <a:pt x="1219729" y="678753"/>
                </a:moveTo>
                <a:cubicBezTo>
                  <a:pt x="1224769" y="676234"/>
                  <a:pt x="1229389" y="673294"/>
                  <a:pt x="1233168" y="669934"/>
                </a:cubicBezTo>
                <a:cubicBezTo>
                  <a:pt x="1236948" y="666154"/>
                  <a:pt x="1240308" y="661954"/>
                  <a:pt x="1242408" y="657334"/>
                </a:cubicBezTo>
                <a:cubicBezTo>
                  <a:pt x="1244508" y="652715"/>
                  <a:pt x="1245348" y="647255"/>
                  <a:pt x="1244928" y="641375"/>
                </a:cubicBezTo>
                <a:cubicBezTo>
                  <a:pt x="1244088" y="632975"/>
                  <a:pt x="1241988" y="626676"/>
                  <a:pt x="1238628" y="622896"/>
                </a:cubicBezTo>
                <a:cubicBezTo>
                  <a:pt x="1235268" y="619116"/>
                  <a:pt x="1231489" y="617016"/>
                  <a:pt x="1226449" y="616176"/>
                </a:cubicBezTo>
                <a:cubicBezTo>
                  <a:pt x="1221829" y="615336"/>
                  <a:pt x="1216369" y="615756"/>
                  <a:pt x="1210489" y="617016"/>
                </a:cubicBezTo>
                <a:cubicBezTo>
                  <a:pt x="1204610" y="618276"/>
                  <a:pt x="1198730" y="619956"/>
                  <a:pt x="1192430" y="621216"/>
                </a:cubicBezTo>
                <a:cubicBezTo>
                  <a:pt x="1178151" y="625836"/>
                  <a:pt x="1163451" y="628776"/>
                  <a:pt x="1147912" y="630876"/>
                </a:cubicBezTo>
                <a:cubicBezTo>
                  <a:pt x="1132373" y="632975"/>
                  <a:pt x="1116833" y="636335"/>
                  <a:pt x="1101714" y="640535"/>
                </a:cubicBezTo>
                <a:cubicBezTo>
                  <a:pt x="1094994" y="642635"/>
                  <a:pt x="1089115" y="643475"/>
                  <a:pt x="1083655" y="642635"/>
                </a:cubicBezTo>
                <a:cubicBezTo>
                  <a:pt x="1078195" y="641795"/>
                  <a:pt x="1073155" y="640955"/>
                  <a:pt x="1068116" y="639695"/>
                </a:cubicBezTo>
                <a:cubicBezTo>
                  <a:pt x="1063076" y="638435"/>
                  <a:pt x="1058036" y="638015"/>
                  <a:pt x="1052996" y="638015"/>
                </a:cubicBezTo>
                <a:cubicBezTo>
                  <a:pt x="1047956" y="638015"/>
                  <a:pt x="1042497" y="639695"/>
                  <a:pt x="1036617" y="642635"/>
                </a:cubicBezTo>
                <a:cubicBezTo>
                  <a:pt x="1031157" y="648515"/>
                  <a:pt x="1027377" y="655654"/>
                  <a:pt x="1024857" y="663214"/>
                </a:cubicBezTo>
                <a:cubicBezTo>
                  <a:pt x="1022757" y="670774"/>
                  <a:pt x="1021078" y="678753"/>
                  <a:pt x="1019818" y="687153"/>
                </a:cubicBezTo>
                <a:cubicBezTo>
                  <a:pt x="1018558" y="695553"/>
                  <a:pt x="1017298" y="703952"/>
                  <a:pt x="1016458" y="711932"/>
                </a:cubicBezTo>
                <a:cubicBezTo>
                  <a:pt x="1015198" y="720332"/>
                  <a:pt x="1013098" y="728311"/>
                  <a:pt x="1010158" y="736291"/>
                </a:cubicBezTo>
                <a:cubicBezTo>
                  <a:pt x="1007638" y="741751"/>
                  <a:pt x="1005538" y="750150"/>
                  <a:pt x="1004278" y="761910"/>
                </a:cubicBezTo>
                <a:cubicBezTo>
                  <a:pt x="1002598" y="773249"/>
                  <a:pt x="1001338" y="786269"/>
                  <a:pt x="1000078" y="800968"/>
                </a:cubicBezTo>
                <a:cubicBezTo>
                  <a:pt x="998819" y="815247"/>
                  <a:pt x="998399" y="830367"/>
                  <a:pt x="997979" y="845906"/>
                </a:cubicBezTo>
                <a:cubicBezTo>
                  <a:pt x="997559" y="861445"/>
                  <a:pt x="997559" y="876145"/>
                  <a:pt x="997559" y="890004"/>
                </a:cubicBezTo>
                <a:cubicBezTo>
                  <a:pt x="997559" y="903864"/>
                  <a:pt x="997979" y="915623"/>
                  <a:pt x="998399" y="926123"/>
                </a:cubicBezTo>
                <a:cubicBezTo>
                  <a:pt x="998819" y="936622"/>
                  <a:pt x="999658" y="943342"/>
                  <a:pt x="1000918" y="946282"/>
                </a:cubicBezTo>
                <a:cubicBezTo>
                  <a:pt x="1005958" y="964761"/>
                  <a:pt x="1013938" y="978201"/>
                  <a:pt x="1024857" y="987020"/>
                </a:cubicBezTo>
                <a:cubicBezTo>
                  <a:pt x="1035777" y="995840"/>
                  <a:pt x="1048376" y="1000880"/>
                  <a:pt x="1062656" y="1002560"/>
                </a:cubicBezTo>
                <a:cubicBezTo>
                  <a:pt x="1076935" y="1004239"/>
                  <a:pt x="1092054" y="1002979"/>
                  <a:pt x="1107594" y="998780"/>
                </a:cubicBezTo>
                <a:cubicBezTo>
                  <a:pt x="1123133" y="994580"/>
                  <a:pt x="1138673" y="988700"/>
                  <a:pt x="1152952" y="981140"/>
                </a:cubicBezTo>
                <a:cubicBezTo>
                  <a:pt x="1167651" y="973581"/>
                  <a:pt x="1180671" y="965181"/>
                  <a:pt x="1192430" y="955941"/>
                </a:cubicBezTo>
                <a:cubicBezTo>
                  <a:pt x="1204190" y="946702"/>
                  <a:pt x="1213429" y="937882"/>
                  <a:pt x="1219729" y="929063"/>
                </a:cubicBezTo>
                <a:cubicBezTo>
                  <a:pt x="1222669" y="925283"/>
                  <a:pt x="1225609" y="922343"/>
                  <a:pt x="1228969" y="918983"/>
                </a:cubicBezTo>
                <a:cubicBezTo>
                  <a:pt x="1231909" y="916043"/>
                  <a:pt x="1234848" y="912683"/>
                  <a:pt x="1236948" y="909324"/>
                </a:cubicBezTo>
                <a:cubicBezTo>
                  <a:pt x="1239048" y="905964"/>
                  <a:pt x="1240308" y="901764"/>
                  <a:pt x="1240728" y="897144"/>
                </a:cubicBezTo>
                <a:cubicBezTo>
                  <a:pt x="1241148" y="892524"/>
                  <a:pt x="1240308" y="886644"/>
                  <a:pt x="1238208" y="879505"/>
                </a:cubicBezTo>
                <a:cubicBezTo>
                  <a:pt x="1233168" y="864385"/>
                  <a:pt x="1222249" y="858086"/>
                  <a:pt x="1206710" y="859766"/>
                </a:cubicBezTo>
                <a:cubicBezTo>
                  <a:pt x="1198730" y="865645"/>
                  <a:pt x="1189490" y="873625"/>
                  <a:pt x="1179831" y="883285"/>
                </a:cubicBezTo>
                <a:cubicBezTo>
                  <a:pt x="1170171" y="892944"/>
                  <a:pt x="1159672" y="901764"/>
                  <a:pt x="1149172" y="909743"/>
                </a:cubicBezTo>
                <a:cubicBezTo>
                  <a:pt x="1138252" y="917723"/>
                  <a:pt x="1126913" y="923603"/>
                  <a:pt x="1115153" y="927383"/>
                </a:cubicBezTo>
                <a:cubicBezTo>
                  <a:pt x="1103394" y="931163"/>
                  <a:pt x="1090795" y="929903"/>
                  <a:pt x="1077775" y="924023"/>
                </a:cubicBezTo>
                <a:cubicBezTo>
                  <a:pt x="1073575" y="922343"/>
                  <a:pt x="1070635" y="918143"/>
                  <a:pt x="1068535" y="912263"/>
                </a:cubicBezTo>
                <a:cubicBezTo>
                  <a:pt x="1066436" y="906384"/>
                  <a:pt x="1065176" y="899244"/>
                  <a:pt x="1064756" y="891684"/>
                </a:cubicBezTo>
                <a:cubicBezTo>
                  <a:pt x="1064336" y="884125"/>
                  <a:pt x="1064336" y="876565"/>
                  <a:pt x="1064756" y="869845"/>
                </a:cubicBezTo>
                <a:cubicBezTo>
                  <a:pt x="1065596" y="862706"/>
                  <a:pt x="1066436" y="857246"/>
                  <a:pt x="1068116" y="853886"/>
                </a:cubicBezTo>
                <a:cubicBezTo>
                  <a:pt x="1069795" y="850106"/>
                  <a:pt x="1073995" y="847166"/>
                  <a:pt x="1080295" y="844646"/>
                </a:cubicBezTo>
                <a:cubicBezTo>
                  <a:pt x="1086175" y="842126"/>
                  <a:pt x="1093315" y="840446"/>
                  <a:pt x="1101294" y="839186"/>
                </a:cubicBezTo>
                <a:cubicBezTo>
                  <a:pt x="1109274" y="837927"/>
                  <a:pt x="1116833" y="836667"/>
                  <a:pt x="1123973" y="835827"/>
                </a:cubicBezTo>
                <a:cubicBezTo>
                  <a:pt x="1131533" y="834987"/>
                  <a:pt x="1136993" y="834147"/>
                  <a:pt x="1141612" y="833307"/>
                </a:cubicBezTo>
                <a:cubicBezTo>
                  <a:pt x="1147072" y="832467"/>
                  <a:pt x="1152532" y="831207"/>
                  <a:pt x="1157152" y="829947"/>
                </a:cubicBezTo>
                <a:cubicBezTo>
                  <a:pt x="1161772" y="828267"/>
                  <a:pt x="1165971" y="826167"/>
                  <a:pt x="1169751" y="823647"/>
                </a:cubicBezTo>
                <a:cubicBezTo>
                  <a:pt x="1173531" y="820707"/>
                  <a:pt x="1176051" y="817347"/>
                  <a:pt x="1177731" y="812728"/>
                </a:cubicBezTo>
                <a:cubicBezTo>
                  <a:pt x="1179411" y="808108"/>
                  <a:pt x="1179831" y="802228"/>
                  <a:pt x="1178991" y="795088"/>
                </a:cubicBezTo>
                <a:cubicBezTo>
                  <a:pt x="1178571" y="789629"/>
                  <a:pt x="1176891" y="784589"/>
                  <a:pt x="1174791" y="779969"/>
                </a:cubicBezTo>
                <a:cubicBezTo>
                  <a:pt x="1172271" y="775349"/>
                  <a:pt x="1169331" y="771989"/>
                  <a:pt x="1165131" y="769889"/>
                </a:cubicBezTo>
                <a:cubicBezTo>
                  <a:pt x="1156732" y="765690"/>
                  <a:pt x="1147912" y="764430"/>
                  <a:pt x="1139513" y="766530"/>
                </a:cubicBezTo>
                <a:cubicBezTo>
                  <a:pt x="1130693" y="768210"/>
                  <a:pt x="1121453" y="769889"/>
                  <a:pt x="1111374" y="770729"/>
                </a:cubicBezTo>
                <a:cubicBezTo>
                  <a:pt x="1108434" y="771149"/>
                  <a:pt x="1104234" y="771569"/>
                  <a:pt x="1099194" y="772829"/>
                </a:cubicBezTo>
                <a:cubicBezTo>
                  <a:pt x="1094154" y="773669"/>
                  <a:pt x="1089535" y="773669"/>
                  <a:pt x="1085335" y="771989"/>
                </a:cubicBezTo>
                <a:cubicBezTo>
                  <a:pt x="1081135" y="770310"/>
                  <a:pt x="1078615" y="766950"/>
                  <a:pt x="1077775" y="761490"/>
                </a:cubicBezTo>
                <a:cubicBezTo>
                  <a:pt x="1076515" y="756030"/>
                  <a:pt x="1078615" y="746790"/>
                  <a:pt x="1083655" y="733351"/>
                </a:cubicBezTo>
                <a:cubicBezTo>
                  <a:pt x="1089115" y="719912"/>
                  <a:pt x="1096674" y="711092"/>
                  <a:pt x="1106334" y="706892"/>
                </a:cubicBezTo>
                <a:cubicBezTo>
                  <a:pt x="1115994" y="703112"/>
                  <a:pt x="1126493" y="700592"/>
                  <a:pt x="1137832" y="700173"/>
                </a:cubicBezTo>
                <a:cubicBezTo>
                  <a:pt x="1149172" y="699333"/>
                  <a:pt x="1160931" y="698493"/>
                  <a:pt x="1172691" y="697652"/>
                </a:cubicBezTo>
                <a:cubicBezTo>
                  <a:pt x="1184451" y="696813"/>
                  <a:pt x="1195370" y="692613"/>
                  <a:pt x="1205030" y="685053"/>
                </a:cubicBezTo>
                <a:cubicBezTo>
                  <a:pt x="1209649" y="682533"/>
                  <a:pt x="1214689" y="680853"/>
                  <a:pt x="1219729" y="678753"/>
                </a:cubicBezTo>
                <a:moveTo>
                  <a:pt x="1370083" y="654394"/>
                </a:moveTo>
                <a:cubicBezTo>
                  <a:pt x="1365463" y="669934"/>
                  <a:pt x="1364623" y="685893"/>
                  <a:pt x="1367563" y="702272"/>
                </a:cubicBezTo>
                <a:cubicBezTo>
                  <a:pt x="1370503" y="718232"/>
                  <a:pt x="1375962" y="735451"/>
                  <a:pt x="1383522" y="753090"/>
                </a:cubicBezTo>
                <a:cubicBezTo>
                  <a:pt x="1391082" y="770729"/>
                  <a:pt x="1397801" y="790469"/>
                  <a:pt x="1403681" y="812308"/>
                </a:cubicBezTo>
                <a:cubicBezTo>
                  <a:pt x="1404101" y="815247"/>
                  <a:pt x="1405781" y="819447"/>
                  <a:pt x="1407881" y="825327"/>
                </a:cubicBezTo>
                <a:cubicBezTo>
                  <a:pt x="1409981" y="831207"/>
                  <a:pt x="1412081" y="837507"/>
                  <a:pt x="1414181" y="845066"/>
                </a:cubicBezTo>
                <a:cubicBezTo>
                  <a:pt x="1416281" y="852626"/>
                  <a:pt x="1418381" y="860186"/>
                  <a:pt x="1420060" y="868585"/>
                </a:cubicBezTo>
                <a:cubicBezTo>
                  <a:pt x="1421740" y="876985"/>
                  <a:pt x="1423000" y="884544"/>
                  <a:pt x="1423000" y="891264"/>
                </a:cubicBezTo>
                <a:cubicBezTo>
                  <a:pt x="1423000" y="898404"/>
                  <a:pt x="1422580" y="904704"/>
                  <a:pt x="1420480" y="909743"/>
                </a:cubicBezTo>
                <a:cubicBezTo>
                  <a:pt x="1418801" y="915203"/>
                  <a:pt x="1415021" y="918563"/>
                  <a:pt x="1409981" y="920243"/>
                </a:cubicBezTo>
                <a:cubicBezTo>
                  <a:pt x="1406621" y="921503"/>
                  <a:pt x="1403261" y="921503"/>
                  <a:pt x="1400321" y="920243"/>
                </a:cubicBezTo>
                <a:cubicBezTo>
                  <a:pt x="1397381" y="918983"/>
                  <a:pt x="1394861" y="917303"/>
                  <a:pt x="1391922" y="914783"/>
                </a:cubicBezTo>
                <a:cubicBezTo>
                  <a:pt x="1389402" y="912263"/>
                  <a:pt x="1386882" y="909743"/>
                  <a:pt x="1384362" y="906804"/>
                </a:cubicBezTo>
                <a:cubicBezTo>
                  <a:pt x="1382262" y="903864"/>
                  <a:pt x="1380162" y="901344"/>
                  <a:pt x="1378062" y="899664"/>
                </a:cubicBezTo>
                <a:cubicBezTo>
                  <a:pt x="1372182" y="892944"/>
                  <a:pt x="1365883" y="890004"/>
                  <a:pt x="1360003" y="890004"/>
                </a:cubicBezTo>
                <a:cubicBezTo>
                  <a:pt x="1354123" y="890424"/>
                  <a:pt x="1348663" y="892524"/>
                  <a:pt x="1344044" y="896724"/>
                </a:cubicBezTo>
                <a:cubicBezTo>
                  <a:pt x="1339424" y="901344"/>
                  <a:pt x="1335644" y="906804"/>
                  <a:pt x="1333124" y="913943"/>
                </a:cubicBezTo>
                <a:cubicBezTo>
                  <a:pt x="1330184" y="921083"/>
                  <a:pt x="1329344" y="927803"/>
                  <a:pt x="1330184" y="934522"/>
                </a:cubicBezTo>
                <a:cubicBezTo>
                  <a:pt x="1331024" y="942082"/>
                  <a:pt x="1333124" y="950062"/>
                  <a:pt x="1336484" y="958041"/>
                </a:cubicBezTo>
                <a:cubicBezTo>
                  <a:pt x="1339844" y="966021"/>
                  <a:pt x="1344464" y="973581"/>
                  <a:pt x="1349923" y="980301"/>
                </a:cubicBezTo>
                <a:cubicBezTo>
                  <a:pt x="1355383" y="987020"/>
                  <a:pt x="1362103" y="992480"/>
                  <a:pt x="1369663" y="996680"/>
                </a:cubicBezTo>
                <a:cubicBezTo>
                  <a:pt x="1377222" y="1000880"/>
                  <a:pt x="1385622" y="1002560"/>
                  <a:pt x="1394441" y="1002560"/>
                </a:cubicBezTo>
                <a:cubicBezTo>
                  <a:pt x="1417540" y="1002139"/>
                  <a:pt x="1435600" y="996680"/>
                  <a:pt x="1449879" y="986600"/>
                </a:cubicBezTo>
                <a:cubicBezTo>
                  <a:pt x="1463739" y="976521"/>
                  <a:pt x="1474658" y="963921"/>
                  <a:pt x="1481798" y="949222"/>
                </a:cubicBezTo>
                <a:cubicBezTo>
                  <a:pt x="1488937" y="934522"/>
                  <a:pt x="1493137" y="918563"/>
                  <a:pt x="1493557" y="901344"/>
                </a:cubicBezTo>
                <a:cubicBezTo>
                  <a:pt x="1494397" y="884125"/>
                  <a:pt x="1492717" y="867745"/>
                  <a:pt x="1488517" y="852626"/>
                </a:cubicBezTo>
                <a:cubicBezTo>
                  <a:pt x="1485578" y="840866"/>
                  <a:pt x="1481378" y="829107"/>
                  <a:pt x="1475918" y="817347"/>
                </a:cubicBezTo>
                <a:cubicBezTo>
                  <a:pt x="1470458" y="805588"/>
                  <a:pt x="1464999" y="793828"/>
                  <a:pt x="1459959" y="781649"/>
                </a:cubicBezTo>
                <a:cubicBezTo>
                  <a:pt x="1454919" y="769470"/>
                  <a:pt x="1449879" y="757710"/>
                  <a:pt x="1446099" y="745531"/>
                </a:cubicBezTo>
                <a:cubicBezTo>
                  <a:pt x="1441900" y="733351"/>
                  <a:pt x="1439800" y="721172"/>
                  <a:pt x="1439380" y="709412"/>
                </a:cubicBezTo>
                <a:cubicBezTo>
                  <a:pt x="1438540" y="692193"/>
                  <a:pt x="1439800" y="679173"/>
                  <a:pt x="1443159" y="671194"/>
                </a:cubicBezTo>
                <a:cubicBezTo>
                  <a:pt x="1446099" y="663214"/>
                  <a:pt x="1451139" y="656914"/>
                  <a:pt x="1457859" y="653135"/>
                </a:cubicBezTo>
                <a:cubicBezTo>
                  <a:pt x="1464579" y="649355"/>
                  <a:pt x="1472978" y="646415"/>
                  <a:pt x="1483058" y="644315"/>
                </a:cubicBezTo>
                <a:cubicBezTo>
                  <a:pt x="1493137" y="642215"/>
                  <a:pt x="1504897" y="638855"/>
                  <a:pt x="1518336" y="633815"/>
                </a:cubicBezTo>
                <a:cubicBezTo>
                  <a:pt x="1523376" y="632135"/>
                  <a:pt x="1528836" y="629616"/>
                  <a:pt x="1533876" y="625836"/>
                </a:cubicBezTo>
                <a:cubicBezTo>
                  <a:pt x="1538915" y="622056"/>
                  <a:pt x="1542275" y="617436"/>
                  <a:pt x="1543115" y="610716"/>
                </a:cubicBezTo>
                <a:cubicBezTo>
                  <a:pt x="1541855" y="604417"/>
                  <a:pt x="1540175" y="598537"/>
                  <a:pt x="1538075" y="593497"/>
                </a:cubicBezTo>
                <a:cubicBezTo>
                  <a:pt x="1535975" y="588457"/>
                  <a:pt x="1533456" y="584257"/>
                  <a:pt x="1530096" y="580478"/>
                </a:cubicBezTo>
                <a:cubicBezTo>
                  <a:pt x="1526736" y="577118"/>
                  <a:pt x="1522116" y="574598"/>
                  <a:pt x="1516656" y="572918"/>
                </a:cubicBezTo>
                <a:cubicBezTo>
                  <a:pt x="1511197" y="571238"/>
                  <a:pt x="1504477" y="570818"/>
                  <a:pt x="1496077" y="571658"/>
                </a:cubicBezTo>
                <a:cubicBezTo>
                  <a:pt x="1488937" y="572498"/>
                  <a:pt x="1480958" y="573758"/>
                  <a:pt x="1472558" y="575018"/>
                </a:cubicBezTo>
                <a:cubicBezTo>
                  <a:pt x="1464159" y="576698"/>
                  <a:pt x="1455759" y="578798"/>
                  <a:pt x="1447359" y="581318"/>
                </a:cubicBezTo>
                <a:cubicBezTo>
                  <a:pt x="1438960" y="583837"/>
                  <a:pt x="1431400" y="587197"/>
                  <a:pt x="1423840" y="590977"/>
                </a:cubicBezTo>
                <a:cubicBezTo>
                  <a:pt x="1416281" y="594757"/>
                  <a:pt x="1409981" y="599377"/>
                  <a:pt x="1404941" y="604837"/>
                </a:cubicBezTo>
                <a:cubicBezTo>
                  <a:pt x="1386462" y="621636"/>
                  <a:pt x="1374702" y="638435"/>
                  <a:pt x="1370083" y="654394"/>
                </a:cubicBezTo>
                <a:moveTo>
                  <a:pt x="1784185" y="569138"/>
                </a:moveTo>
                <a:cubicBezTo>
                  <a:pt x="1781665" y="569558"/>
                  <a:pt x="1778725" y="569558"/>
                  <a:pt x="1776205" y="569978"/>
                </a:cubicBezTo>
                <a:cubicBezTo>
                  <a:pt x="1765286" y="571238"/>
                  <a:pt x="1756466" y="572918"/>
                  <a:pt x="1748906" y="575858"/>
                </a:cubicBezTo>
                <a:cubicBezTo>
                  <a:pt x="1741767" y="578378"/>
                  <a:pt x="1734627" y="581318"/>
                  <a:pt x="1727907" y="585097"/>
                </a:cubicBezTo>
                <a:cubicBezTo>
                  <a:pt x="1721188" y="588877"/>
                  <a:pt x="1714468" y="592657"/>
                  <a:pt x="1707328" y="596857"/>
                </a:cubicBezTo>
                <a:cubicBezTo>
                  <a:pt x="1700188" y="601057"/>
                  <a:pt x="1691369" y="605256"/>
                  <a:pt x="1680869" y="609876"/>
                </a:cubicBezTo>
                <a:cubicBezTo>
                  <a:pt x="1677929" y="611136"/>
                  <a:pt x="1674989" y="611976"/>
                  <a:pt x="1672050" y="611976"/>
                </a:cubicBezTo>
                <a:cubicBezTo>
                  <a:pt x="1668690" y="611976"/>
                  <a:pt x="1665330" y="611976"/>
                  <a:pt x="1662390" y="612396"/>
                </a:cubicBezTo>
                <a:cubicBezTo>
                  <a:pt x="1659030" y="612816"/>
                  <a:pt x="1656090" y="613236"/>
                  <a:pt x="1652730" y="614496"/>
                </a:cubicBezTo>
                <a:cubicBezTo>
                  <a:pt x="1649791" y="615756"/>
                  <a:pt x="1646851" y="617856"/>
                  <a:pt x="1644751" y="620796"/>
                </a:cubicBezTo>
                <a:cubicBezTo>
                  <a:pt x="1634671" y="655234"/>
                  <a:pt x="1626692" y="688833"/>
                  <a:pt x="1621652" y="722851"/>
                </a:cubicBezTo>
                <a:cubicBezTo>
                  <a:pt x="1616612" y="756450"/>
                  <a:pt x="1615772" y="790889"/>
                  <a:pt x="1619552" y="825747"/>
                </a:cubicBezTo>
                <a:cubicBezTo>
                  <a:pt x="1620392" y="835407"/>
                  <a:pt x="1622072" y="844646"/>
                  <a:pt x="1623752" y="853886"/>
                </a:cubicBezTo>
                <a:cubicBezTo>
                  <a:pt x="1625432" y="863125"/>
                  <a:pt x="1627531" y="872365"/>
                  <a:pt x="1630051" y="881605"/>
                </a:cubicBezTo>
                <a:cubicBezTo>
                  <a:pt x="1634671" y="896724"/>
                  <a:pt x="1640971" y="910583"/>
                  <a:pt x="1649791" y="922343"/>
                </a:cubicBezTo>
                <a:cubicBezTo>
                  <a:pt x="1658610" y="934103"/>
                  <a:pt x="1670370" y="943762"/>
                  <a:pt x="1684649" y="950482"/>
                </a:cubicBezTo>
                <a:cubicBezTo>
                  <a:pt x="1701028" y="958461"/>
                  <a:pt x="1718248" y="961821"/>
                  <a:pt x="1736307" y="959721"/>
                </a:cubicBezTo>
                <a:cubicBezTo>
                  <a:pt x="1746386" y="958881"/>
                  <a:pt x="1756466" y="955941"/>
                  <a:pt x="1766546" y="951742"/>
                </a:cubicBezTo>
                <a:cubicBezTo>
                  <a:pt x="1776625" y="947962"/>
                  <a:pt x="1785865" y="942922"/>
                  <a:pt x="1793844" y="936622"/>
                </a:cubicBezTo>
                <a:cubicBezTo>
                  <a:pt x="1801824" y="930323"/>
                  <a:pt x="1807704" y="921923"/>
                  <a:pt x="1811484" y="911004"/>
                </a:cubicBezTo>
                <a:cubicBezTo>
                  <a:pt x="1814003" y="905544"/>
                  <a:pt x="1816523" y="899664"/>
                  <a:pt x="1819883" y="892524"/>
                </a:cubicBezTo>
                <a:cubicBezTo>
                  <a:pt x="1822823" y="885384"/>
                  <a:pt x="1824083" y="878245"/>
                  <a:pt x="1823243" y="871525"/>
                </a:cubicBezTo>
                <a:cubicBezTo>
                  <a:pt x="1822403" y="863545"/>
                  <a:pt x="1819043" y="856826"/>
                  <a:pt x="1812324" y="851786"/>
                </a:cubicBezTo>
                <a:cubicBezTo>
                  <a:pt x="1806024" y="846326"/>
                  <a:pt x="1798044" y="843806"/>
                  <a:pt x="1789225" y="843806"/>
                </a:cubicBezTo>
                <a:cubicBezTo>
                  <a:pt x="1785025" y="843806"/>
                  <a:pt x="1781245" y="844226"/>
                  <a:pt x="1778725" y="845066"/>
                </a:cubicBezTo>
                <a:cubicBezTo>
                  <a:pt x="1776205" y="845906"/>
                  <a:pt x="1774105" y="847166"/>
                  <a:pt x="1772425" y="848846"/>
                </a:cubicBezTo>
                <a:cubicBezTo>
                  <a:pt x="1770745" y="850526"/>
                  <a:pt x="1769485" y="853046"/>
                  <a:pt x="1768225" y="855146"/>
                </a:cubicBezTo>
                <a:cubicBezTo>
                  <a:pt x="1766966" y="857666"/>
                  <a:pt x="1765286" y="860606"/>
                  <a:pt x="1763186" y="863545"/>
                </a:cubicBezTo>
                <a:cubicBezTo>
                  <a:pt x="1759826" y="867745"/>
                  <a:pt x="1756466" y="871105"/>
                  <a:pt x="1752266" y="873625"/>
                </a:cubicBezTo>
                <a:cubicBezTo>
                  <a:pt x="1748066" y="875725"/>
                  <a:pt x="1743867" y="877405"/>
                  <a:pt x="1739247" y="877825"/>
                </a:cubicBezTo>
                <a:cubicBezTo>
                  <a:pt x="1728747" y="878665"/>
                  <a:pt x="1719088" y="876145"/>
                  <a:pt x="1710268" y="869425"/>
                </a:cubicBezTo>
                <a:cubicBezTo>
                  <a:pt x="1701448" y="862706"/>
                  <a:pt x="1697248" y="853046"/>
                  <a:pt x="1697668" y="840026"/>
                </a:cubicBezTo>
                <a:cubicBezTo>
                  <a:pt x="1702708" y="835407"/>
                  <a:pt x="1708168" y="830787"/>
                  <a:pt x="1714888" y="827427"/>
                </a:cubicBezTo>
                <a:cubicBezTo>
                  <a:pt x="1721607" y="823647"/>
                  <a:pt x="1728327" y="820287"/>
                  <a:pt x="1735047" y="816508"/>
                </a:cubicBezTo>
                <a:cubicBezTo>
                  <a:pt x="1741767" y="812728"/>
                  <a:pt x="1748486" y="808948"/>
                  <a:pt x="1754786" y="804328"/>
                </a:cubicBezTo>
                <a:cubicBezTo>
                  <a:pt x="1761086" y="800128"/>
                  <a:pt x="1766546" y="794668"/>
                  <a:pt x="1770745" y="788369"/>
                </a:cubicBezTo>
                <a:cubicBezTo>
                  <a:pt x="1774525" y="783749"/>
                  <a:pt x="1777045" y="778289"/>
                  <a:pt x="1779145" y="771989"/>
                </a:cubicBezTo>
                <a:cubicBezTo>
                  <a:pt x="1781245" y="765690"/>
                  <a:pt x="1782085" y="759390"/>
                  <a:pt x="1781245" y="753510"/>
                </a:cubicBezTo>
                <a:cubicBezTo>
                  <a:pt x="1780405" y="746371"/>
                  <a:pt x="1777465" y="740071"/>
                  <a:pt x="1771585" y="735451"/>
                </a:cubicBezTo>
                <a:cubicBezTo>
                  <a:pt x="1766126" y="730411"/>
                  <a:pt x="1758986" y="728731"/>
                  <a:pt x="1751006" y="729571"/>
                </a:cubicBezTo>
                <a:cubicBezTo>
                  <a:pt x="1744287" y="730411"/>
                  <a:pt x="1737147" y="732091"/>
                  <a:pt x="1730007" y="734611"/>
                </a:cubicBezTo>
                <a:cubicBezTo>
                  <a:pt x="1722867" y="737131"/>
                  <a:pt x="1716988" y="740071"/>
                  <a:pt x="1712368" y="742591"/>
                </a:cubicBezTo>
                <a:cubicBezTo>
                  <a:pt x="1707748" y="745111"/>
                  <a:pt x="1704388" y="746790"/>
                  <a:pt x="1702288" y="746790"/>
                </a:cubicBezTo>
                <a:cubicBezTo>
                  <a:pt x="1699768" y="747211"/>
                  <a:pt x="1698089" y="746790"/>
                  <a:pt x="1697248" y="745531"/>
                </a:cubicBezTo>
                <a:cubicBezTo>
                  <a:pt x="1696408" y="744271"/>
                  <a:pt x="1695569" y="742591"/>
                  <a:pt x="1695569" y="740491"/>
                </a:cubicBezTo>
                <a:cubicBezTo>
                  <a:pt x="1695569" y="738391"/>
                  <a:pt x="1695149" y="736291"/>
                  <a:pt x="1694729" y="734191"/>
                </a:cubicBezTo>
                <a:cubicBezTo>
                  <a:pt x="1694309" y="730411"/>
                  <a:pt x="1694729" y="726211"/>
                  <a:pt x="1695569" y="721172"/>
                </a:cubicBezTo>
                <a:cubicBezTo>
                  <a:pt x="1696408" y="716132"/>
                  <a:pt x="1697668" y="711092"/>
                  <a:pt x="1698928" y="706472"/>
                </a:cubicBezTo>
                <a:cubicBezTo>
                  <a:pt x="1700188" y="701852"/>
                  <a:pt x="1701448" y="697652"/>
                  <a:pt x="1702708" y="693453"/>
                </a:cubicBezTo>
                <a:cubicBezTo>
                  <a:pt x="1703968" y="689673"/>
                  <a:pt x="1704808" y="686733"/>
                  <a:pt x="1705228" y="684633"/>
                </a:cubicBezTo>
                <a:cubicBezTo>
                  <a:pt x="1706488" y="680013"/>
                  <a:pt x="1710268" y="675814"/>
                  <a:pt x="1716568" y="671194"/>
                </a:cubicBezTo>
                <a:cubicBezTo>
                  <a:pt x="1722867" y="666994"/>
                  <a:pt x="1730007" y="662794"/>
                  <a:pt x="1737567" y="659014"/>
                </a:cubicBezTo>
                <a:cubicBezTo>
                  <a:pt x="1745546" y="655234"/>
                  <a:pt x="1753106" y="651875"/>
                  <a:pt x="1761086" y="648935"/>
                </a:cubicBezTo>
                <a:cubicBezTo>
                  <a:pt x="1768645" y="645995"/>
                  <a:pt x="1774525" y="643895"/>
                  <a:pt x="1779145" y="642635"/>
                </a:cubicBezTo>
                <a:cubicBezTo>
                  <a:pt x="1791325" y="638855"/>
                  <a:pt x="1802244" y="633815"/>
                  <a:pt x="1811484" y="627516"/>
                </a:cubicBezTo>
                <a:cubicBezTo>
                  <a:pt x="1820723" y="621216"/>
                  <a:pt x="1825763" y="610716"/>
                  <a:pt x="1826603" y="595597"/>
                </a:cubicBezTo>
                <a:cubicBezTo>
                  <a:pt x="1827023" y="591817"/>
                  <a:pt x="1826183" y="588457"/>
                  <a:pt x="1823663" y="585518"/>
                </a:cubicBezTo>
                <a:cubicBezTo>
                  <a:pt x="1821143" y="582578"/>
                  <a:pt x="1818623" y="579638"/>
                  <a:pt x="1815263" y="577538"/>
                </a:cubicBezTo>
                <a:cubicBezTo>
                  <a:pt x="1811904" y="575018"/>
                  <a:pt x="1808124" y="573338"/>
                  <a:pt x="1804344" y="572078"/>
                </a:cubicBezTo>
                <a:cubicBezTo>
                  <a:pt x="1800564" y="570818"/>
                  <a:pt x="1796784" y="570398"/>
                  <a:pt x="1793844" y="569978"/>
                </a:cubicBezTo>
                <a:cubicBezTo>
                  <a:pt x="1789645" y="568718"/>
                  <a:pt x="1786705" y="568718"/>
                  <a:pt x="1784185" y="569138"/>
                </a:cubicBezTo>
                <a:moveTo>
                  <a:pt x="1963097" y="933263"/>
                </a:moveTo>
                <a:cubicBezTo>
                  <a:pt x="1968977" y="931582"/>
                  <a:pt x="1974017" y="928223"/>
                  <a:pt x="1977796" y="923183"/>
                </a:cubicBezTo>
                <a:cubicBezTo>
                  <a:pt x="1981996" y="917723"/>
                  <a:pt x="1984936" y="911004"/>
                  <a:pt x="1987456" y="902604"/>
                </a:cubicBezTo>
                <a:cubicBezTo>
                  <a:pt x="1989556" y="894204"/>
                  <a:pt x="1992076" y="885384"/>
                  <a:pt x="1993756" y="876985"/>
                </a:cubicBezTo>
                <a:cubicBezTo>
                  <a:pt x="1995436" y="868165"/>
                  <a:pt x="1997116" y="859766"/>
                  <a:pt x="1998376" y="851786"/>
                </a:cubicBezTo>
                <a:cubicBezTo>
                  <a:pt x="1999635" y="843806"/>
                  <a:pt x="2001316" y="837087"/>
                  <a:pt x="2003415" y="832047"/>
                </a:cubicBezTo>
                <a:cubicBezTo>
                  <a:pt x="2005515" y="823227"/>
                  <a:pt x="2008035" y="817767"/>
                  <a:pt x="2011815" y="816087"/>
                </a:cubicBezTo>
                <a:cubicBezTo>
                  <a:pt x="2015595" y="814408"/>
                  <a:pt x="2021475" y="813568"/>
                  <a:pt x="2029874" y="813568"/>
                </a:cubicBezTo>
                <a:cubicBezTo>
                  <a:pt x="2040374" y="813148"/>
                  <a:pt x="2049193" y="812728"/>
                  <a:pt x="2057173" y="811888"/>
                </a:cubicBezTo>
                <a:cubicBezTo>
                  <a:pt x="2064733" y="811468"/>
                  <a:pt x="2071872" y="810208"/>
                  <a:pt x="2078172" y="808528"/>
                </a:cubicBezTo>
                <a:cubicBezTo>
                  <a:pt x="2084472" y="806848"/>
                  <a:pt x="2091192" y="804328"/>
                  <a:pt x="2097491" y="801388"/>
                </a:cubicBezTo>
                <a:cubicBezTo>
                  <a:pt x="2103791" y="798448"/>
                  <a:pt x="2111351" y="793828"/>
                  <a:pt x="2119330" y="788789"/>
                </a:cubicBezTo>
                <a:cubicBezTo>
                  <a:pt x="2124790" y="796348"/>
                  <a:pt x="2128150" y="806008"/>
                  <a:pt x="2129830" y="818187"/>
                </a:cubicBezTo>
                <a:cubicBezTo>
                  <a:pt x="2131090" y="830367"/>
                  <a:pt x="2133190" y="842546"/>
                  <a:pt x="2135290" y="854306"/>
                </a:cubicBezTo>
                <a:cubicBezTo>
                  <a:pt x="2137390" y="866065"/>
                  <a:pt x="2141170" y="876565"/>
                  <a:pt x="2146209" y="885384"/>
                </a:cubicBezTo>
                <a:cubicBezTo>
                  <a:pt x="2151249" y="894204"/>
                  <a:pt x="2160069" y="899244"/>
                  <a:pt x="2173088" y="900084"/>
                </a:cubicBezTo>
                <a:cubicBezTo>
                  <a:pt x="2182328" y="900924"/>
                  <a:pt x="2190727" y="899664"/>
                  <a:pt x="2197867" y="895884"/>
                </a:cubicBezTo>
                <a:cubicBezTo>
                  <a:pt x="2205007" y="892104"/>
                  <a:pt x="2211307" y="887065"/>
                  <a:pt x="2215926" y="880765"/>
                </a:cubicBezTo>
                <a:cubicBezTo>
                  <a:pt x="2220546" y="874465"/>
                  <a:pt x="2223906" y="866905"/>
                  <a:pt x="2226006" y="858926"/>
                </a:cubicBezTo>
                <a:cubicBezTo>
                  <a:pt x="2227686" y="850526"/>
                  <a:pt x="2228106" y="842126"/>
                  <a:pt x="2226846" y="833727"/>
                </a:cubicBezTo>
                <a:cubicBezTo>
                  <a:pt x="2226426" y="829527"/>
                  <a:pt x="2224746" y="825327"/>
                  <a:pt x="2221386" y="819867"/>
                </a:cubicBezTo>
                <a:cubicBezTo>
                  <a:pt x="2218446" y="814828"/>
                  <a:pt x="2214666" y="808948"/>
                  <a:pt x="2210886" y="803068"/>
                </a:cubicBezTo>
                <a:cubicBezTo>
                  <a:pt x="2206687" y="797188"/>
                  <a:pt x="2203327" y="790469"/>
                  <a:pt x="2199547" y="783749"/>
                </a:cubicBezTo>
                <a:cubicBezTo>
                  <a:pt x="2196187" y="777029"/>
                  <a:pt x="2193667" y="769889"/>
                  <a:pt x="2191987" y="762330"/>
                </a:cubicBezTo>
                <a:cubicBezTo>
                  <a:pt x="2191147" y="756870"/>
                  <a:pt x="2189467" y="749730"/>
                  <a:pt x="2187787" y="742171"/>
                </a:cubicBezTo>
                <a:cubicBezTo>
                  <a:pt x="2185688" y="734191"/>
                  <a:pt x="2184008" y="726211"/>
                  <a:pt x="2181908" y="718652"/>
                </a:cubicBezTo>
                <a:cubicBezTo>
                  <a:pt x="2179808" y="710672"/>
                  <a:pt x="2177708" y="702692"/>
                  <a:pt x="2175608" y="695133"/>
                </a:cubicBezTo>
                <a:cubicBezTo>
                  <a:pt x="2173508" y="687573"/>
                  <a:pt x="2171828" y="680853"/>
                  <a:pt x="2170568" y="674553"/>
                </a:cubicBezTo>
                <a:cubicBezTo>
                  <a:pt x="2168048" y="663634"/>
                  <a:pt x="2165948" y="653135"/>
                  <a:pt x="2163848" y="643475"/>
                </a:cubicBezTo>
                <a:cubicBezTo>
                  <a:pt x="2161748" y="633815"/>
                  <a:pt x="2159229" y="624156"/>
                  <a:pt x="2156289" y="614916"/>
                </a:cubicBezTo>
                <a:cubicBezTo>
                  <a:pt x="2153349" y="605677"/>
                  <a:pt x="2149989" y="596017"/>
                  <a:pt x="2146209" y="586777"/>
                </a:cubicBezTo>
                <a:cubicBezTo>
                  <a:pt x="2142429" y="577538"/>
                  <a:pt x="2137390" y="567458"/>
                  <a:pt x="2131930" y="556539"/>
                </a:cubicBezTo>
                <a:cubicBezTo>
                  <a:pt x="2129410" y="551079"/>
                  <a:pt x="2125210" y="545199"/>
                  <a:pt x="2120590" y="538479"/>
                </a:cubicBezTo>
                <a:cubicBezTo>
                  <a:pt x="2115971" y="531760"/>
                  <a:pt x="2110091" y="525460"/>
                  <a:pt x="2103791" y="520420"/>
                </a:cubicBezTo>
                <a:cubicBezTo>
                  <a:pt x="2097491" y="514960"/>
                  <a:pt x="2090772" y="511601"/>
                  <a:pt x="2083632" y="509501"/>
                </a:cubicBezTo>
                <a:cubicBezTo>
                  <a:pt x="2076492" y="507821"/>
                  <a:pt x="2069352" y="509501"/>
                  <a:pt x="2062213" y="514540"/>
                </a:cubicBezTo>
                <a:cubicBezTo>
                  <a:pt x="2058853" y="517060"/>
                  <a:pt x="2055493" y="522100"/>
                  <a:pt x="2051713" y="529240"/>
                </a:cubicBezTo>
                <a:cubicBezTo>
                  <a:pt x="2047933" y="536380"/>
                  <a:pt x="2044574" y="544359"/>
                  <a:pt x="2041634" y="553179"/>
                </a:cubicBezTo>
                <a:cubicBezTo>
                  <a:pt x="2038274" y="561579"/>
                  <a:pt x="2035334" y="569978"/>
                  <a:pt x="2032394" y="577958"/>
                </a:cubicBezTo>
                <a:cubicBezTo>
                  <a:pt x="2029454" y="585937"/>
                  <a:pt x="2027354" y="591817"/>
                  <a:pt x="2025674" y="596017"/>
                </a:cubicBezTo>
                <a:cubicBezTo>
                  <a:pt x="2023154" y="601897"/>
                  <a:pt x="2019375" y="609876"/>
                  <a:pt x="2014755" y="619116"/>
                </a:cubicBezTo>
                <a:cubicBezTo>
                  <a:pt x="2010135" y="628776"/>
                  <a:pt x="2005515" y="638435"/>
                  <a:pt x="2001316" y="648515"/>
                </a:cubicBezTo>
                <a:cubicBezTo>
                  <a:pt x="1997116" y="658594"/>
                  <a:pt x="1993336" y="668674"/>
                  <a:pt x="1990396" y="678333"/>
                </a:cubicBezTo>
                <a:cubicBezTo>
                  <a:pt x="1987456" y="687993"/>
                  <a:pt x="1986196" y="695553"/>
                  <a:pt x="1986196" y="701432"/>
                </a:cubicBezTo>
                <a:cubicBezTo>
                  <a:pt x="1980736" y="714452"/>
                  <a:pt x="1974437" y="727891"/>
                  <a:pt x="1966457" y="742171"/>
                </a:cubicBezTo>
                <a:cubicBezTo>
                  <a:pt x="1958477" y="756450"/>
                  <a:pt x="1950918" y="771149"/>
                  <a:pt x="1943778" y="786269"/>
                </a:cubicBezTo>
                <a:cubicBezTo>
                  <a:pt x="1936638" y="801388"/>
                  <a:pt x="1930758" y="816927"/>
                  <a:pt x="1926139" y="832887"/>
                </a:cubicBezTo>
                <a:cubicBezTo>
                  <a:pt x="1921519" y="848846"/>
                  <a:pt x="1919839" y="865225"/>
                  <a:pt x="1921519" y="881605"/>
                </a:cubicBezTo>
                <a:cubicBezTo>
                  <a:pt x="1922359" y="890424"/>
                  <a:pt x="1924459" y="898824"/>
                  <a:pt x="1927819" y="906804"/>
                </a:cubicBezTo>
                <a:cubicBezTo>
                  <a:pt x="1931178" y="914783"/>
                  <a:pt x="1935798" y="921923"/>
                  <a:pt x="1941678" y="927803"/>
                </a:cubicBezTo>
                <a:cubicBezTo>
                  <a:pt x="1950078" y="933263"/>
                  <a:pt x="1957217" y="934942"/>
                  <a:pt x="1963097" y="933263"/>
                </a:cubicBezTo>
                <a:moveTo>
                  <a:pt x="2089512" y="624576"/>
                </a:moveTo>
                <a:cubicBezTo>
                  <a:pt x="2089092" y="630036"/>
                  <a:pt x="2089932" y="638015"/>
                  <a:pt x="2092451" y="648095"/>
                </a:cubicBezTo>
                <a:cubicBezTo>
                  <a:pt x="2094971" y="658174"/>
                  <a:pt x="2097491" y="668674"/>
                  <a:pt x="2100011" y="679173"/>
                </a:cubicBezTo>
                <a:cubicBezTo>
                  <a:pt x="2102531" y="689673"/>
                  <a:pt x="2104631" y="699752"/>
                  <a:pt x="2106311" y="709412"/>
                </a:cubicBezTo>
                <a:cubicBezTo>
                  <a:pt x="2107571" y="719072"/>
                  <a:pt x="2107571" y="725791"/>
                  <a:pt x="2105891" y="730411"/>
                </a:cubicBezTo>
                <a:cubicBezTo>
                  <a:pt x="2103791" y="731671"/>
                  <a:pt x="2099171" y="732931"/>
                  <a:pt x="2091192" y="734191"/>
                </a:cubicBezTo>
                <a:cubicBezTo>
                  <a:pt x="2083632" y="735451"/>
                  <a:pt x="2075652" y="736711"/>
                  <a:pt x="2067673" y="737551"/>
                </a:cubicBezTo>
                <a:cubicBezTo>
                  <a:pt x="2059693" y="738391"/>
                  <a:pt x="2052133" y="738811"/>
                  <a:pt x="2045834" y="738811"/>
                </a:cubicBezTo>
                <a:cubicBezTo>
                  <a:pt x="2039534" y="738811"/>
                  <a:pt x="2036594" y="737971"/>
                  <a:pt x="2037014" y="735871"/>
                </a:cubicBezTo>
                <a:cubicBezTo>
                  <a:pt x="2042474" y="718652"/>
                  <a:pt x="2049193" y="700173"/>
                  <a:pt x="2056333" y="679593"/>
                </a:cubicBezTo>
                <a:cubicBezTo>
                  <a:pt x="2063893" y="659014"/>
                  <a:pt x="2072292" y="640955"/>
                  <a:pt x="2081532" y="624996"/>
                </a:cubicBezTo>
                <a:lnTo>
                  <a:pt x="2089512" y="624576"/>
                </a:lnTo>
                <a:close/>
                <a:moveTo>
                  <a:pt x="2428437" y="757710"/>
                </a:moveTo>
                <a:cubicBezTo>
                  <a:pt x="2432637" y="758550"/>
                  <a:pt x="2436417" y="759390"/>
                  <a:pt x="2439777" y="760650"/>
                </a:cubicBezTo>
                <a:cubicBezTo>
                  <a:pt x="2449016" y="763590"/>
                  <a:pt x="2459096" y="767370"/>
                  <a:pt x="2470435" y="771989"/>
                </a:cubicBezTo>
                <a:cubicBezTo>
                  <a:pt x="2481775" y="776609"/>
                  <a:pt x="2491014" y="782489"/>
                  <a:pt x="2498574" y="790049"/>
                </a:cubicBezTo>
                <a:cubicBezTo>
                  <a:pt x="2505294" y="796348"/>
                  <a:pt x="2512854" y="803068"/>
                  <a:pt x="2521253" y="809368"/>
                </a:cubicBezTo>
                <a:cubicBezTo>
                  <a:pt x="2529653" y="815668"/>
                  <a:pt x="2538472" y="821547"/>
                  <a:pt x="2548132" y="826167"/>
                </a:cubicBezTo>
                <a:cubicBezTo>
                  <a:pt x="2557372" y="830787"/>
                  <a:pt x="2567451" y="834567"/>
                  <a:pt x="2577531" y="837087"/>
                </a:cubicBezTo>
                <a:cubicBezTo>
                  <a:pt x="2587610" y="839607"/>
                  <a:pt x="2598110" y="840446"/>
                  <a:pt x="2608609" y="839186"/>
                </a:cubicBezTo>
                <a:cubicBezTo>
                  <a:pt x="2617849" y="838346"/>
                  <a:pt x="2626669" y="835407"/>
                  <a:pt x="2634648" y="830787"/>
                </a:cubicBezTo>
                <a:cubicBezTo>
                  <a:pt x="2642208" y="826587"/>
                  <a:pt x="2647668" y="821967"/>
                  <a:pt x="2651027" y="816087"/>
                </a:cubicBezTo>
                <a:cubicBezTo>
                  <a:pt x="2654388" y="810208"/>
                  <a:pt x="2655227" y="804328"/>
                  <a:pt x="2654388" y="798868"/>
                </a:cubicBezTo>
                <a:cubicBezTo>
                  <a:pt x="2653547" y="792988"/>
                  <a:pt x="2650608" y="787529"/>
                  <a:pt x="2645988" y="782489"/>
                </a:cubicBezTo>
                <a:cubicBezTo>
                  <a:pt x="2641368" y="777449"/>
                  <a:pt x="2635488" y="773249"/>
                  <a:pt x="2627509" y="769889"/>
                </a:cubicBezTo>
                <a:cubicBezTo>
                  <a:pt x="2624149" y="768630"/>
                  <a:pt x="2620789" y="768630"/>
                  <a:pt x="2616589" y="769049"/>
                </a:cubicBezTo>
                <a:cubicBezTo>
                  <a:pt x="2612809" y="769889"/>
                  <a:pt x="2609449" y="768630"/>
                  <a:pt x="2606509" y="766110"/>
                </a:cubicBezTo>
                <a:cubicBezTo>
                  <a:pt x="2597270" y="758970"/>
                  <a:pt x="2588030" y="752670"/>
                  <a:pt x="2577951" y="746790"/>
                </a:cubicBezTo>
                <a:cubicBezTo>
                  <a:pt x="2567871" y="740911"/>
                  <a:pt x="2557792" y="735451"/>
                  <a:pt x="2547712" y="729991"/>
                </a:cubicBezTo>
                <a:cubicBezTo>
                  <a:pt x="2537212" y="724531"/>
                  <a:pt x="2527133" y="719492"/>
                  <a:pt x="2516633" y="714032"/>
                </a:cubicBezTo>
                <a:cubicBezTo>
                  <a:pt x="2506554" y="708572"/>
                  <a:pt x="2496474" y="702692"/>
                  <a:pt x="2487234" y="695973"/>
                </a:cubicBezTo>
                <a:cubicBezTo>
                  <a:pt x="2498994" y="695553"/>
                  <a:pt x="2509914" y="690933"/>
                  <a:pt x="2519573" y="682953"/>
                </a:cubicBezTo>
                <a:cubicBezTo>
                  <a:pt x="2529233" y="674553"/>
                  <a:pt x="2537212" y="664054"/>
                  <a:pt x="2543932" y="650615"/>
                </a:cubicBezTo>
                <a:cubicBezTo>
                  <a:pt x="2550652" y="637175"/>
                  <a:pt x="2555692" y="622476"/>
                  <a:pt x="2559471" y="606517"/>
                </a:cubicBezTo>
                <a:cubicBezTo>
                  <a:pt x="2563251" y="590557"/>
                  <a:pt x="2564931" y="574598"/>
                  <a:pt x="2565351" y="558639"/>
                </a:cubicBezTo>
                <a:cubicBezTo>
                  <a:pt x="2565771" y="542679"/>
                  <a:pt x="2564091" y="527980"/>
                  <a:pt x="2560731" y="514121"/>
                </a:cubicBezTo>
                <a:cubicBezTo>
                  <a:pt x="2557372" y="500261"/>
                  <a:pt x="2551912" y="489342"/>
                  <a:pt x="2543932" y="480522"/>
                </a:cubicBezTo>
                <a:cubicBezTo>
                  <a:pt x="2536372" y="472122"/>
                  <a:pt x="2526713" y="467083"/>
                  <a:pt x="2514533" y="465403"/>
                </a:cubicBezTo>
                <a:cubicBezTo>
                  <a:pt x="2502354" y="463723"/>
                  <a:pt x="2488075" y="467502"/>
                  <a:pt x="2471695" y="476742"/>
                </a:cubicBezTo>
                <a:cubicBezTo>
                  <a:pt x="2468335" y="476322"/>
                  <a:pt x="2464556" y="477582"/>
                  <a:pt x="2460776" y="480522"/>
                </a:cubicBezTo>
                <a:cubicBezTo>
                  <a:pt x="2456996" y="483462"/>
                  <a:pt x="2453216" y="487242"/>
                  <a:pt x="2449856" y="491441"/>
                </a:cubicBezTo>
                <a:cubicBezTo>
                  <a:pt x="2446076" y="495641"/>
                  <a:pt x="2442717" y="500261"/>
                  <a:pt x="2439357" y="504881"/>
                </a:cubicBezTo>
                <a:cubicBezTo>
                  <a:pt x="2435997" y="509501"/>
                  <a:pt x="2432637" y="513281"/>
                  <a:pt x="2430117" y="515800"/>
                </a:cubicBezTo>
                <a:cubicBezTo>
                  <a:pt x="2427177" y="518740"/>
                  <a:pt x="2423817" y="520840"/>
                  <a:pt x="2420037" y="522100"/>
                </a:cubicBezTo>
                <a:cubicBezTo>
                  <a:pt x="2416258" y="523780"/>
                  <a:pt x="2412898" y="525040"/>
                  <a:pt x="2409958" y="526720"/>
                </a:cubicBezTo>
                <a:cubicBezTo>
                  <a:pt x="2407018" y="528400"/>
                  <a:pt x="2404078" y="530080"/>
                  <a:pt x="2401558" y="532600"/>
                </a:cubicBezTo>
                <a:cubicBezTo>
                  <a:pt x="2399038" y="534700"/>
                  <a:pt x="2397359" y="538479"/>
                  <a:pt x="2396938" y="543099"/>
                </a:cubicBezTo>
                <a:cubicBezTo>
                  <a:pt x="2394838" y="554859"/>
                  <a:pt x="2392319" y="566198"/>
                  <a:pt x="2388959" y="576698"/>
                </a:cubicBezTo>
                <a:cubicBezTo>
                  <a:pt x="2385599" y="587197"/>
                  <a:pt x="2382239" y="597697"/>
                  <a:pt x="2378459" y="608196"/>
                </a:cubicBezTo>
                <a:cubicBezTo>
                  <a:pt x="2374679" y="618696"/>
                  <a:pt x="2370900" y="629195"/>
                  <a:pt x="2367120" y="639695"/>
                </a:cubicBezTo>
                <a:cubicBezTo>
                  <a:pt x="2363340" y="650195"/>
                  <a:pt x="2359980" y="661114"/>
                  <a:pt x="2356620" y="672454"/>
                </a:cubicBezTo>
                <a:cubicBezTo>
                  <a:pt x="2352420" y="685893"/>
                  <a:pt x="2349061" y="700173"/>
                  <a:pt x="2346961" y="714452"/>
                </a:cubicBezTo>
                <a:cubicBezTo>
                  <a:pt x="2344861" y="728731"/>
                  <a:pt x="2342341" y="742591"/>
                  <a:pt x="2338561" y="755610"/>
                </a:cubicBezTo>
                <a:cubicBezTo>
                  <a:pt x="2337301" y="760230"/>
                  <a:pt x="2335201" y="767790"/>
                  <a:pt x="2332261" y="779129"/>
                </a:cubicBezTo>
                <a:cubicBezTo>
                  <a:pt x="2329321" y="790469"/>
                  <a:pt x="2325962" y="803068"/>
                  <a:pt x="2323022" y="817347"/>
                </a:cubicBezTo>
                <a:cubicBezTo>
                  <a:pt x="2319662" y="831627"/>
                  <a:pt x="2317142" y="846326"/>
                  <a:pt x="2315042" y="861445"/>
                </a:cubicBezTo>
                <a:cubicBezTo>
                  <a:pt x="2312942" y="876565"/>
                  <a:pt x="2312522" y="890424"/>
                  <a:pt x="2313782" y="902604"/>
                </a:cubicBezTo>
                <a:cubicBezTo>
                  <a:pt x="2315042" y="914783"/>
                  <a:pt x="2317982" y="924863"/>
                  <a:pt x="2323022" y="932003"/>
                </a:cubicBezTo>
                <a:cubicBezTo>
                  <a:pt x="2328061" y="939562"/>
                  <a:pt x="2336461" y="942502"/>
                  <a:pt x="2347381" y="941662"/>
                </a:cubicBezTo>
                <a:cubicBezTo>
                  <a:pt x="2355780" y="940822"/>
                  <a:pt x="2362080" y="937882"/>
                  <a:pt x="2367120" y="932842"/>
                </a:cubicBezTo>
                <a:cubicBezTo>
                  <a:pt x="2372160" y="927803"/>
                  <a:pt x="2375939" y="921923"/>
                  <a:pt x="2378459" y="914783"/>
                </a:cubicBezTo>
                <a:cubicBezTo>
                  <a:pt x="2381399" y="907643"/>
                  <a:pt x="2382659" y="899664"/>
                  <a:pt x="2383499" y="891264"/>
                </a:cubicBezTo>
                <a:cubicBezTo>
                  <a:pt x="2384339" y="882865"/>
                  <a:pt x="2384759" y="874465"/>
                  <a:pt x="2384339" y="866485"/>
                </a:cubicBezTo>
                <a:cubicBezTo>
                  <a:pt x="2384339" y="859766"/>
                  <a:pt x="2385599" y="850946"/>
                  <a:pt x="2388119" y="840446"/>
                </a:cubicBezTo>
                <a:cubicBezTo>
                  <a:pt x="2390639" y="829947"/>
                  <a:pt x="2393579" y="819027"/>
                  <a:pt x="2396938" y="808108"/>
                </a:cubicBezTo>
                <a:cubicBezTo>
                  <a:pt x="2400718" y="796768"/>
                  <a:pt x="2404498" y="786269"/>
                  <a:pt x="2408698" y="775349"/>
                </a:cubicBezTo>
                <a:cubicBezTo>
                  <a:pt x="2412898" y="764850"/>
                  <a:pt x="2416678" y="755610"/>
                  <a:pt x="2420458" y="748470"/>
                </a:cubicBezTo>
                <a:cubicBezTo>
                  <a:pt x="2421717" y="754350"/>
                  <a:pt x="2424237" y="756870"/>
                  <a:pt x="2428437" y="757710"/>
                </a:cubicBezTo>
                <a:moveTo>
                  <a:pt x="2460776" y="649355"/>
                </a:moveTo>
                <a:cubicBezTo>
                  <a:pt x="2458256" y="653135"/>
                  <a:pt x="2455316" y="656494"/>
                  <a:pt x="2452376" y="659434"/>
                </a:cubicBezTo>
                <a:cubicBezTo>
                  <a:pt x="2449436" y="661954"/>
                  <a:pt x="2446496" y="664054"/>
                  <a:pt x="2443976" y="664894"/>
                </a:cubicBezTo>
                <a:cubicBezTo>
                  <a:pt x="2441036" y="665734"/>
                  <a:pt x="2438937" y="665314"/>
                  <a:pt x="2437257" y="663214"/>
                </a:cubicBezTo>
                <a:cubicBezTo>
                  <a:pt x="2433477" y="659434"/>
                  <a:pt x="2432637" y="653554"/>
                  <a:pt x="2434317" y="645995"/>
                </a:cubicBezTo>
                <a:cubicBezTo>
                  <a:pt x="2435997" y="638435"/>
                  <a:pt x="2438937" y="630876"/>
                  <a:pt x="2443557" y="622476"/>
                </a:cubicBezTo>
                <a:cubicBezTo>
                  <a:pt x="2447756" y="614076"/>
                  <a:pt x="2452796" y="606937"/>
                  <a:pt x="2458256" y="600217"/>
                </a:cubicBezTo>
                <a:cubicBezTo>
                  <a:pt x="2463716" y="593497"/>
                  <a:pt x="2468335" y="588877"/>
                  <a:pt x="2472115" y="586357"/>
                </a:cubicBezTo>
                <a:cubicBezTo>
                  <a:pt x="2472115" y="595177"/>
                  <a:pt x="2472535" y="603997"/>
                  <a:pt x="2472955" y="612396"/>
                </a:cubicBezTo>
                <a:cubicBezTo>
                  <a:pt x="2473375" y="620796"/>
                  <a:pt x="2471275" y="629195"/>
                  <a:pt x="2467075" y="638015"/>
                </a:cubicBezTo>
                <a:cubicBezTo>
                  <a:pt x="2465396" y="641375"/>
                  <a:pt x="2463296" y="645575"/>
                  <a:pt x="2460776" y="649355"/>
                </a:cubicBezTo>
                <a:moveTo>
                  <a:pt x="2831200" y="496901"/>
                </a:moveTo>
                <a:cubicBezTo>
                  <a:pt x="2816500" y="506141"/>
                  <a:pt x="2803061" y="517480"/>
                  <a:pt x="2790882" y="531340"/>
                </a:cubicBezTo>
                <a:cubicBezTo>
                  <a:pt x="2778702" y="545199"/>
                  <a:pt x="2767783" y="560738"/>
                  <a:pt x="2758543" y="578378"/>
                </a:cubicBezTo>
                <a:cubicBezTo>
                  <a:pt x="2748883" y="595597"/>
                  <a:pt x="2741324" y="613656"/>
                  <a:pt x="2735444" y="631716"/>
                </a:cubicBezTo>
                <a:cubicBezTo>
                  <a:pt x="2729564" y="650195"/>
                  <a:pt x="2725784" y="668254"/>
                  <a:pt x="2723685" y="685893"/>
                </a:cubicBezTo>
                <a:cubicBezTo>
                  <a:pt x="2722004" y="703532"/>
                  <a:pt x="2722424" y="719492"/>
                  <a:pt x="2725364" y="734191"/>
                </a:cubicBezTo>
                <a:cubicBezTo>
                  <a:pt x="2728304" y="752250"/>
                  <a:pt x="2735864" y="769049"/>
                  <a:pt x="2748043" y="784169"/>
                </a:cubicBezTo>
                <a:cubicBezTo>
                  <a:pt x="2760223" y="799288"/>
                  <a:pt x="2774082" y="810208"/>
                  <a:pt x="2790882" y="817767"/>
                </a:cubicBezTo>
                <a:cubicBezTo>
                  <a:pt x="2807261" y="825327"/>
                  <a:pt x="2824900" y="828267"/>
                  <a:pt x="2843799" y="826587"/>
                </a:cubicBezTo>
                <a:cubicBezTo>
                  <a:pt x="2862698" y="824907"/>
                  <a:pt x="2880338" y="816927"/>
                  <a:pt x="2896297" y="802648"/>
                </a:cubicBezTo>
                <a:cubicBezTo>
                  <a:pt x="2901757" y="798028"/>
                  <a:pt x="2908056" y="793409"/>
                  <a:pt x="2915616" y="788789"/>
                </a:cubicBezTo>
                <a:cubicBezTo>
                  <a:pt x="2923176" y="784169"/>
                  <a:pt x="2930315" y="779129"/>
                  <a:pt x="2937455" y="773669"/>
                </a:cubicBezTo>
                <a:cubicBezTo>
                  <a:pt x="2944175" y="768210"/>
                  <a:pt x="2950055" y="761910"/>
                  <a:pt x="2954254" y="755190"/>
                </a:cubicBezTo>
                <a:cubicBezTo>
                  <a:pt x="2958454" y="748470"/>
                  <a:pt x="2960134" y="740071"/>
                  <a:pt x="2959294" y="730831"/>
                </a:cubicBezTo>
                <a:cubicBezTo>
                  <a:pt x="2958454" y="724112"/>
                  <a:pt x="2955514" y="719492"/>
                  <a:pt x="2949635" y="717392"/>
                </a:cubicBezTo>
                <a:cubicBezTo>
                  <a:pt x="2943755" y="715292"/>
                  <a:pt x="2937035" y="714872"/>
                  <a:pt x="2929056" y="715712"/>
                </a:cubicBezTo>
                <a:cubicBezTo>
                  <a:pt x="2921076" y="716552"/>
                  <a:pt x="2912256" y="718652"/>
                  <a:pt x="2903017" y="721592"/>
                </a:cubicBezTo>
                <a:cubicBezTo>
                  <a:pt x="2893777" y="724531"/>
                  <a:pt x="2884538" y="727471"/>
                  <a:pt x="2876138" y="731251"/>
                </a:cubicBezTo>
                <a:cubicBezTo>
                  <a:pt x="2867738" y="734611"/>
                  <a:pt x="2860599" y="737971"/>
                  <a:pt x="2854299" y="740911"/>
                </a:cubicBezTo>
                <a:cubicBezTo>
                  <a:pt x="2847999" y="743851"/>
                  <a:pt x="2844219" y="745111"/>
                  <a:pt x="2842539" y="745531"/>
                </a:cubicBezTo>
                <a:cubicBezTo>
                  <a:pt x="2831200" y="748050"/>
                  <a:pt x="2822380" y="746790"/>
                  <a:pt x="2816081" y="743011"/>
                </a:cubicBezTo>
                <a:cubicBezTo>
                  <a:pt x="2809781" y="739231"/>
                  <a:pt x="2805161" y="733351"/>
                  <a:pt x="2802641" y="726211"/>
                </a:cubicBezTo>
                <a:cubicBezTo>
                  <a:pt x="2800121" y="718652"/>
                  <a:pt x="2798861" y="710252"/>
                  <a:pt x="2798861" y="700173"/>
                </a:cubicBezTo>
                <a:cubicBezTo>
                  <a:pt x="2799281" y="690093"/>
                  <a:pt x="2800541" y="680013"/>
                  <a:pt x="2802641" y="670354"/>
                </a:cubicBezTo>
                <a:cubicBezTo>
                  <a:pt x="2804741" y="660694"/>
                  <a:pt x="2807681" y="651035"/>
                  <a:pt x="2810621" y="642635"/>
                </a:cubicBezTo>
                <a:cubicBezTo>
                  <a:pt x="2813561" y="633815"/>
                  <a:pt x="2816920" y="627096"/>
                  <a:pt x="2819860" y="622056"/>
                </a:cubicBezTo>
                <a:cubicBezTo>
                  <a:pt x="2826160" y="610716"/>
                  <a:pt x="2832880" y="600217"/>
                  <a:pt x="2838759" y="590137"/>
                </a:cubicBezTo>
                <a:cubicBezTo>
                  <a:pt x="2844639" y="580058"/>
                  <a:pt x="2851779" y="572078"/>
                  <a:pt x="2860179" y="566198"/>
                </a:cubicBezTo>
                <a:cubicBezTo>
                  <a:pt x="2868158" y="559898"/>
                  <a:pt x="2877818" y="556539"/>
                  <a:pt x="2889157" y="555279"/>
                </a:cubicBezTo>
                <a:cubicBezTo>
                  <a:pt x="2900497" y="554439"/>
                  <a:pt x="2914356" y="556959"/>
                  <a:pt x="2931576" y="563258"/>
                </a:cubicBezTo>
                <a:cubicBezTo>
                  <a:pt x="2938295" y="561998"/>
                  <a:pt x="2943335" y="559058"/>
                  <a:pt x="2946275" y="554859"/>
                </a:cubicBezTo>
                <a:cubicBezTo>
                  <a:pt x="2949215" y="550659"/>
                  <a:pt x="2950895" y="546039"/>
                  <a:pt x="2951735" y="540579"/>
                </a:cubicBezTo>
                <a:cubicBezTo>
                  <a:pt x="2952155" y="535120"/>
                  <a:pt x="2951735" y="529240"/>
                  <a:pt x="2950475" y="523360"/>
                </a:cubicBezTo>
                <a:cubicBezTo>
                  <a:pt x="2949215" y="517480"/>
                  <a:pt x="2947115" y="511601"/>
                  <a:pt x="2945015" y="506561"/>
                </a:cubicBezTo>
                <a:cubicBezTo>
                  <a:pt x="2942495" y="501101"/>
                  <a:pt x="2939135" y="496481"/>
                  <a:pt x="2933676" y="493121"/>
                </a:cubicBezTo>
                <a:cubicBezTo>
                  <a:pt x="2928636" y="489761"/>
                  <a:pt x="2922756" y="486822"/>
                  <a:pt x="2916456" y="485142"/>
                </a:cubicBezTo>
                <a:cubicBezTo>
                  <a:pt x="2910156" y="483462"/>
                  <a:pt x="2903437" y="482202"/>
                  <a:pt x="2896717" y="481362"/>
                </a:cubicBezTo>
                <a:cubicBezTo>
                  <a:pt x="2889997" y="480942"/>
                  <a:pt x="2883698" y="480942"/>
                  <a:pt x="2878238" y="481362"/>
                </a:cubicBezTo>
                <a:cubicBezTo>
                  <a:pt x="2861018" y="482202"/>
                  <a:pt x="2845899" y="487662"/>
                  <a:pt x="2831200" y="496901"/>
                </a:cubicBezTo>
                <a:moveTo>
                  <a:pt x="3248662" y="421725"/>
                </a:moveTo>
                <a:cubicBezTo>
                  <a:pt x="3238582" y="427604"/>
                  <a:pt x="3232283" y="437264"/>
                  <a:pt x="3229763" y="451543"/>
                </a:cubicBezTo>
                <a:cubicBezTo>
                  <a:pt x="3227663" y="461623"/>
                  <a:pt x="3226403" y="471702"/>
                  <a:pt x="3225983" y="481362"/>
                </a:cubicBezTo>
                <a:cubicBezTo>
                  <a:pt x="3225563" y="491022"/>
                  <a:pt x="3225143" y="500681"/>
                  <a:pt x="3224723" y="510341"/>
                </a:cubicBezTo>
                <a:cubicBezTo>
                  <a:pt x="3224303" y="520000"/>
                  <a:pt x="3223883" y="529660"/>
                  <a:pt x="3223043" y="539739"/>
                </a:cubicBezTo>
                <a:cubicBezTo>
                  <a:pt x="3222203" y="549399"/>
                  <a:pt x="3220103" y="559058"/>
                  <a:pt x="3217163" y="568298"/>
                </a:cubicBezTo>
                <a:cubicBezTo>
                  <a:pt x="3213383" y="569138"/>
                  <a:pt x="3207924" y="569978"/>
                  <a:pt x="3201204" y="571238"/>
                </a:cubicBezTo>
                <a:cubicBezTo>
                  <a:pt x="3194484" y="572078"/>
                  <a:pt x="3187344" y="573338"/>
                  <a:pt x="3180625" y="574178"/>
                </a:cubicBezTo>
                <a:cubicBezTo>
                  <a:pt x="3173485" y="575018"/>
                  <a:pt x="3167185" y="575858"/>
                  <a:pt x="3160466" y="576278"/>
                </a:cubicBezTo>
                <a:cubicBezTo>
                  <a:pt x="3154166" y="576698"/>
                  <a:pt x="3149546" y="576698"/>
                  <a:pt x="3146186" y="576278"/>
                </a:cubicBezTo>
                <a:cubicBezTo>
                  <a:pt x="3143246" y="566198"/>
                  <a:pt x="3141567" y="556539"/>
                  <a:pt x="3141567" y="547719"/>
                </a:cubicBezTo>
                <a:cubicBezTo>
                  <a:pt x="3141146" y="538899"/>
                  <a:pt x="3141567" y="530500"/>
                  <a:pt x="3142406" y="522520"/>
                </a:cubicBezTo>
                <a:cubicBezTo>
                  <a:pt x="3143246" y="514540"/>
                  <a:pt x="3144086" y="506141"/>
                  <a:pt x="3144926" y="497741"/>
                </a:cubicBezTo>
                <a:cubicBezTo>
                  <a:pt x="3145766" y="489342"/>
                  <a:pt x="3146186" y="480102"/>
                  <a:pt x="3145766" y="470442"/>
                </a:cubicBezTo>
                <a:cubicBezTo>
                  <a:pt x="3145766" y="466243"/>
                  <a:pt x="3143666" y="462043"/>
                  <a:pt x="3139887" y="458683"/>
                </a:cubicBezTo>
                <a:cubicBezTo>
                  <a:pt x="3136107" y="454903"/>
                  <a:pt x="3131907" y="451963"/>
                  <a:pt x="3126867" y="449863"/>
                </a:cubicBezTo>
                <a:cubicBezTo>
                  <a:pt x="3121827" y="447763"/>
                  <a:pt x="3116788" y="446083"/>
                  <a:pt x="3111328" y="445663"/>
                </a:cubicBezTo>
                <a:cubicBezTo>
                  <a:pt x="3105868" y="444824"/>
                  <a:pt x="3101668" y="445243"/>
                  <a:pt x="3098728" y="446923"/>
                </a:cubicBezTo>
                <a:cubicBezTo>
                  <a:pt x="3092849" y="449443"/>
                  <a:pt x="3088229" y="454483"/>
                  <a:pt x="3085289" y="462043"/>
                </a:cubicBezTo>
                <a:cubicBezTo>
                  <a:pt x="3082349" y="469602"/>
                  <a:pt x="3080249" y="478002"/>
                  <a:pt x="3078989" y="487242"/>
                </a:cubicBezTo>
                <a:cubicBezTo>
                  <a:pt x="3077729" y="496481"/>
                  <a:pt x="3077309" y="505301"/>
                  <a:pt x="3077729" y="514121"/>
                </a:cubicBezTo>
                <a:cubicBezTo>
                  <a:pt x="3078149" y="522940"/>
                  <a:pt x="3078569" y="529660"/>
                  <a:pt x="3078989" y="534280"/>
                </a:cubicBezTo>
                <a:cubicBezTo>
                  <a:pt x="3080249" y="544359"/>
                  <a:pt x="3080669" y="554439"/>
                  <a:pt x="3079829" y="564098"/>
                </a:cubicBezTo>
                <a:cubicBezTo>
                  <a:pt x="3078989" y="574178"/>
                  <a:pt x="3077729" y="583837"/>
                  <a:pt x="3076049" y="593917"/>
                </a:cubicBezTo>
                <a:cubicBezTo>
                  <a:pt x="3074789" y="603997"/>
                  <a:pt x="3073109" y="614076"/>
                  <a:pt x="3072270" y="624576"/>
                </a:cubicBezTo>
                <a:cubicBezTo>
                  <a:pt x="3071009" y="634655"/>
                  <a:pt x="3071009" y="645155"/>
                  <a:pt x="3071430" y="655234"/>
                </a:cubicBezTo>
                <a:cubicBezTo>
                  <a:pt x="3071849" y="659854"/>
                  <a:pt x="3072270" y="665734"/>
                  <a:pt x="3072689" y="672034"/>
                </a:cubicBezTo>
                <a:cubicBezTo>
                  <a:pt x="3073109" y="678333"/>
                  <a:pt x="3073109" y="685053"/>
                  <a:pt x="3073529" y="691353"/>
                </a:cubicBezTo>
                <a:cubicBezTo>
                  <a:pt x="3073529" y="698073"/>
                  <a:pt x="3073529" y="703952"/>
                  <a:pt x="3073949" y="709412"/>
                </a:cubicBezTo>
                <a:cubicBezTo>
                  <a:pt x="3073949" y="714872"/>
                  <a:pt x="3073529" y="719072"/>
                  <a:pt x="3072689" y="722012"/>
                </a:cubicBezTo>
                <a:cubicBezTo>
                  <a:pt x="3071849" y="724951"/>
                  <a:pt x="3071430" y="729151"/>
                  <a:pt x="3071849" y="734611"/>
                </a:cubicBezTo>
                <a:cubicBezTo>
                  <a:pt x="3071849" y="740071"/>
                  <a:pt x="3072689" y="745950"/>
                  <a:pt x="3073529" y="752250"/>
                </a:cubicBezTo>
                <a:cubicBezTo>
                  <a:pt x="3074369" y="758550"/>
                  <a:pt x="3075209" y="764430"/>
                  <a:pt x="3076469" y="769889"/>
                </a:cubicBezTo>
                <a:cubicBezTo>
                  <a:pt x="3077729" y="775349"/>
                  <a:pt x="3078989" y="779549"/>
                  <a:pt x="3080249" y="781649"/>
                </a:cubicBezTo>
                <a:cubicBezTo>
                  <a:pt x="3085289" y="791729"/>
                  <a:pt x="3092008" y="798868"/>
                  <a:pt x="3100408" y="803908"/>
                </a:cubicBezTo>
                <a:cubicBezTo>
                  <a:pt x="3108808" y="808528"/>
                  <a:pt x="3116788" y="810628"/>
                  <a:pt x="3125187" y="809788"/>
                </a:cubicBezTo>
                <a:cubicBezTo>
                  <a:pt x="3133167" y="808948"/>
                  <a:pt x="3140306" y="805168"/>
                  <a:pt x="3145766" y="798868"/>
                </a:cubicBezTo>
                <a:cubicBezTo>
                  <a:pt x="3151646" y="792569"/>
                  <a:pt x="3154166" y="782489"/>
                  <a:pt x="3153746" y="769470"/>
                </a:cubicBezTo>
                <a:cubicBezTo>
                  <a:pt x="3153746" y="764850"/>
                  <a:pt x="3153326" y="761490"/>
                  <a:pt x="3152486" y="758970"/>
                </a:cubicBezTo>
                <a:cubicBezTo>
                  <a:pt x="3152066" y="756870"/>
                  <a:pt x="3150806" y="754770"/>
                  <a:pt x="3149966" y="753090"/>
                </a:cubicBezTo>
                <a:cubicBezTo>
                  <a:pt x="3148706" y="751410"/>
                  <a:pt x="3147866" y="749730"/>
                  <a:pt x="3147026" y="747630"/>
                </a:cubicBezTo>
                <a:cubicBezTo>
                  <a:pt x="3146186" y="745531"/>
                  <a:pt x="3145346" y="742591"/>
                  <a:pt x="3144926" y="738391"/>
                </a:cubicBezTo>
                <a:cubicBezTo>
                  <a:pt x="3140727" y="710252"/>
                  <a:pt x="3139887" y="683373"/>
                  <a:pt x="3141986" y="657334"/>
                </a:cubicBezTo>
                <a:cubicBezTo>
                  <a:pt x="3155006" y="649775"/>
                  <a:pt x="3168025" y="644315"/>
                  <a:pt x="3181045" y="640955"/>
                </a:cubicBezTo>
                <a:cubicBezTo>
                  <a:pt x="3194064" y="637595"/>
                  <a:pt x="3207924" y="635495"/>
                  <a:pt x="3222623" y="634655"/>
                </a:cubicBezTo>
                <a:cubicBezTo>
                  <a:pt x="3223043" y="639275"/>
                  <a:pt x="3223463" y="643475"/>
                  <a:pt x="3224303" y="646835"/>
                </a:cubicBezTo>
                <a:cubicBezTo>
                  <a:pt x="3224723" y="650195"/>
                  <a:pt x="3224723" y="652715"/>
                  <a:pt x="3224723" y="653554"/>
                </a:cubicBezTo>
                <a:cubicBezTo>
                  <a:pt x="3226403" y="659434"/>
                  <a:pt x="3227243" y="665734"/>
                  <a:pt x="3226823" y="671614"/>
                </a:cubicBezTo>
                <a:cubicBezTo>
                  <a:pt x="3226403" y="677493"/>
                  <a:pt x="3225983" y="683793"/>
                  <a:pt x="3225563" y="689673"/>
                </a:cubicBezTo>
                <a:cubicBezTo>
                  <a:pt x="3225143" y="695553"/>
                  <a:pt x="3224723" y="701852"/>
                  <a:pt x="3224303" y="708152"/>
                </a:cubicBezTo>
                <a:cubicBezTo>
                  <a:pt x="3224303" y="714452"/>
                  <a:pt x="3225563" y="720332"/>
                  <a:pt x="3228503" y="726211"/>
                </a:cubicBezTo>
                <a:cubicBezTo>
                  <a:pt x="3230603" y="730411"/>
                  <a:pt x="3232702" y="735871"/>
                  <a:pt x="3235222" y="742171"/>
                </a:cubicBezTo>
                <a:cubicBezTo>
                  <a:pt x="3237742" y="748890"/>
                  <a:pt x="3241102" y="755190"/>
                  <a:pt x="3245302" y="760650"/>
                </a:cubicBezTo>
                <a:cubicBezTo>
                  <a:pt x="3249502" y="766530"/>
                  <a:pt x="3254122" y="771149"/>
                  <a:pt x="3260001" y="774089"/>
                </a:cubicBezTo>
                <a:cubicBezTo>
                  <a:pt x="3265461" y="777449"/>
                  <a:pt x="3272181" y="777449"/>
                  <a:pt x="3280161" y="774509"/>
                </a:cubicBezTo>
                <a:cubicBezTo>
                  <a:pt x="3282261" y="774089"/>
                  <a:pt x="3284780" y="772409"/>
                  <a:pt x="3287720" y="769889"/>
                </a:cubicBezTo>
                <a:cubicBezTo>
                  <a:pt x="3290660" y="767370"/>
                  <a:pt x="3293600" y="764010"/>
                  <a:pt x="3295700" y="759810"/>
                </a:cubicBezTo>
                <a:cubicBezTo>
                  <a:pt x="3298220" y="755610"/>
                  <a:pt x="3299900" y="750570"/>
                  <a:pt x="3301160" y="744271"/>
                </a:cubicBezTo>
                <a:cubicBezTo>
                  <a:pt x="3302420" y="738391"/>
                  <a:pt x="3302420" y="731251"/>
                  <a:pt x="3301160" y="723691"/>
                </a:cubicBezTo>
                <a:cubicBezTo>
                  <a:pt x="3299900" y="714872"/>
                  <a:pt x="3298640" y="707312"/>
                  <a:pt x="3298220" y="701432"/>
                </a:cubicBezTo>
                <a:cubicBezTo>
                  <a:pt x="3297380" y="695553"/>
                  <a:pt x="3296960" y="690093"/>
                  <a:pt x="3296540" y="685053"/>
                </a:cubicBezTo>
                <a:cubicBezTo>
                  <a:pt x="3296120" y="680013"/>
                  <a:pt x="3296120" y="674974"/>
                  <a:pt x="3295700" y="669514"/>
                </a:cubicBezTo>
                <a:cubicBezTo>
                  <a:pt x="3295700" y="664054"/>
                  <a:pt x="3295700" y="657754"/>
                  <a:pt x="3295700" y="650195"/>
                </a:cubicBezTo>
                <a:cubicBezTo>
                  <a:pt x="3295700" y="640535"/>
                  <a:pt x="3295280" y="631295"/>
                  <a:pt x="3294440" y="622056"/>
                </a:cubicBezTo>
                <a:cubicBezTo>
                  <a:pt x="3293600" y="612816"/>
                  <a:pt x="3292760" y="603157"/>
                  <a:pt x="3291920" y="593917"/>
                </a:cubicBezTo>
                <a:cubicBezTo>
                  <a:pt x="3291080" y="584678"/>
                  <a:pt x="3290660" y="575438"/>
                  <a:pt x="3290240" y="565778"/>
                </a:cubicBezTo>
                <a:cubicBezTo>
                  <a:pt x="3289820" y="556539"/>
                  <a:pt x="3289820" y="547299"/>
                  <a:pt x="3290660" y="537639"/>
                </a:cubicBezTo>
                <a:cubicBezTo>
                  <a:pt x="3290660" y="535120"/>
                  <a:pt x="3290660" y="530080"/>
                  <a:pt x="3290660" y="522940"/>
                </a:cubicBezTo>
                <a:cubicBezTo>
                  <a:pt x="3290660" y="515800"/>
                  <a:pt x="3290660" y="508241"/>
                  <a:pt x="3290240" y="500261"/>
                </a:cubicBezTo>
                <a:cubicBezTo>
                  <a:pt x="3290240" y="492281"/>
                  <a:pt x="3290240" y="484722"/>
                  <a:pt x="3290660" y="478422"/>
                </a:cubicBezTo>
                <a:cubicBezTo>
                  <a:pt x="3291080" y="471702"/>
                  <a:pt x="3291920" y="467923"/>
                  <a:pt x="3293180" y="466662"/>
                </a:cubicBezTo>
                <a:cubicBezTo>
                  <a:pt x="3296540" y="463303"/>
                  <a:pt x="3298640" y="459523"/>
                  <a:pt x="3299900" y="454903"/>
                </a:cubicBezTo>
                <a:cubicBezTo>
                  <a:pt x="3301160" y="450283"/>
                  <a:pt x="3301580" y="445663"/>
                  <a:pt x="3301160" y="441044"/>
                </a:cubicBezTo>
                <a:cubicBezTo>
                  <a:pt x="3300740" y="436424"/>
                  <a:pt x="3299060" y="432224"/>
                  <a:pt x="3296540" y="428864"/>
                </a:cubicBezTo>
                <a:cubicBezTo>
                  <a:pt x="3294020" y="425084"/>
                  <a:pt x="3290660" y="422564"/>
                  <a:pt x="3286040" y="420464"/>
                </a:cubicBezTo>
                <a:cubicBezTo>
                  <a:pt x="3271341" y="415425"/>
                  <a:pt x="3258741" y="415845"/>
                  <a:pt x="3248662" y="421725"/>
                </a:cubicBezTo>
                <a:moveTo>
                  <a:pt x="3685023" y="666994"/>
                </a:moveTo>
                <a:cubicBezTo>
                  <a:pt x="3686703" y="660694"/>
                  <a:pt x="3688383" y="653975"/>
                  <a:pt x="3689643" y="647675"/>
                </a:cubicBezTo>
                <a:cubicBezTo>
                  <a:pt x="3690903" y="641375"/>
                  <a:pt x="3691743" y="634235"/>
                  <a:pt x="3692163" y="626676"/>
                </a:cubicBezTo>
                <a:cubicBezTo>
                  <a:pt x="3693003" y="619116"/>
                  <a:pt x="3693423" y="609876"/>
                  <a:pt x="3693843" y="598957"/>
                </a:cubicBezTo>
                <a:cubicBezTo>
                  <a:pt x="3695523" y="592237"/>
                  <a:pt x="3697203" y="585097"/>
                  <a:pt x="3698463" y="578378"/>
                </a:cubicBezTo>
                <a:cubicBezTo>
                  <a:pt x="3699722" y="571658"/>
                  <a:pt x="3700982" y="564518"/>
                  <a:pt x="3701822" y="557379"/>
                </a:cubicBezTo>
                <a:cubicBezTo>
                  <a:pt x="3702662" y="553179"/>
                  <a:pt x="3702662" y="547719"/>
                  <a:pt x="3703082" y="541419"/>
                </a:cubicBezTo>
                <a:cubicBezTo>
                  <a:pt x="3703082" y="535120"/>
                  <a:pt x="3703502" y="528820"/>
                  <a:pt x="3703502" y="522520"/>
                </a:cubicBezTo>
                <a:cubicBezTo>
                  <a:pt x="3703502" y="516220"/>
                  <a:pt x="3704342" y="509921"/>
                  <a:pt x="3705602" y="504041"/>
                </a:cubicBezTo>
                <a:cubicBezTo>
                  <a:pt x="3706442" y="498161"/>
                  <a:pt x="3708122" y="493121"/>
                  <a:pt x="3710642" y="488922"/>
                </a:cubicBezTo>
                <a:cubicBezTo>
                  <a:pt x="3716522" y="477582"/>
                  <a:pt x="3719462" y="467083"/>
                  <a:pt x="3719042" y="456583"/>
                </a:cubicBezTo>
                <a:cubicBezTo>
                  <a:pt x="3718622" y="446503"/>
                  <a:pt x="3715682" y="437264"/>
                  <a:pt x="3711062" y="429284"/>
                </a:cubicBezTo>
                <a:cubicBezTo>
                  <a:pt x="3706022" y="421304"/>
                  <a:pt x="3699722" y="415425"/>
                  <a:pt x="3692163" y="410385"/>
                </a:cubicBezTo>
                <a:cubicBezTo>
                  <a:pt x="3684603" y="405765"/>
                  <a:pt x="3676623" y="403665"/>
                  <a:pt x="3668644" y="403665"/>
                </a:cubicBezTo>
                <a:cubicBezTo>
                  <a:pt x="3660664" y="404085"/>
                  <a:pt x="3653524" y="407025"/>
                  <a:pt x="3646805" y="412905"/>
                </a:cubicBezTo>
                <a:cubicBezTo>
                  <a:pt x="3640085" y="418785"/>
                  <a:pt x="3635045" y="428024"/>
                  <a:pt x="3632525" y="441044"/>
                </a:cubicBezTo>
                <a:cubicBezTo>
                  <a:pt x="3631685" y="457843"/>
                  <a:pt x="3630006" y="474642"/>
                  <a:pt x="3627485" y="491022"/>
                </a:cubicBezTo>
                <a:cubicBezTo>
                  <a:pt x="3624966" y="507401"/>
                  <a:pt x="3622866" y="524200"/>
                  <a:pt x="3622026" y="540999"/>
                </a:cubicBezTo>
                <a:cubicBezTo>
                  <a:pt x="3621606" y="546039"/>
                  <a:pt x="3621606" y="551079"/>
                  <a:pt x="3621186" y="556539"/>
                </a:cubicBezTo>
                <a:cubicBezTo>
                  <a:pt x="3621186" y="561998"/>
                  <a:pt x="3619926" y="566618"/>
                  <a:pt x="3617826" y="571238"/>
                </a:cubicBezTo>
                <a:cubicBezTo>
                  <a:pt x="3616566" y="574178"/>
                  <a:pt x="3614886" y="577118"/>
                  <a:pt x="3613626" y="579218"/>
                </a:cubicBezTo>
                <a:cubicBezTo>
                  <a:pt x="3612366" y="581738"/>
                  <a:pt x="3611526" y="584257"/>
                  <a:pt x="3611526" y="587617"/>
                </a:cubicBezTo>
                <a:cubicBezTo>
                  <a:pt x="3605226" y="579218"/>
                  <a:pt x="3599767" y="571658"/>
                  <a:pt x="3595147" y="565358"/>
                </a:cubicBezTo>
                <a:cubicBezTo>
                  <a:pt x="3590527" y="559058"/>
                  <a:pt x="3586747" y="553179"/>
                  <a:pt x="3583387" y="548139"/>
                </a:cubicBezTo>
                <a:cubicBezTo>
                  <a:pt x="3580028" y="542679"/>
                  <a:pt x="3576668" y="537220"/>
                  <a:pt x="3574148" y="532180"/>
                </a:cubicBezTo>
                <a:cubicBezTo>
                  <a:pt x="3571208" y="526720"/>
                  <a:pt x="3568688" y="520840"/>
                  <a:pt x="3565748" y="513700"/>
                </a:cubicBezTo>
                <a:cubicBezTo>
                  <a:pt x="3561549" y="504881"/>
                  <a:pt x="3557769" y="495221"/>
                  <a:pt x="3554409" y="485562"/>
                </a:cubicBezTo>
                <a:cubicBezTo>
                  <a:pt x="3551049" y="475902"/>
                  <a:pt x="3546009" y="467083"/>
                  <a:pt x="3539709" y="459103"/>
                </a:cubicBezTo>
                <a:cubicBezTo>
                  <a:pt x="3526690" y="441884"/>
                  <a:pt x="3514090" y="433064"/>
                  <a:pt x="3502331" y="432224"/>
                </a:cubicBezTo>
                <a:cubicBezTo>
                  <a:pt x="3490571" y="431804"/>
                  <a:pt x="3480492" y="436004"/>
                  <a:pt x="3472092" y="445663"/>
                </a:cubicBezTo>
                <a:cubicBezTo>
                  <a:pt x="3463693" y="455323"/>
                  <a:pt x="3457393" y="467923"/>
                  <a:pt x="3452773" y="483462"/>
                </a:cubicBezTo>
                <a:cubicBezTo>
                  <a:pt x="3448573" y="499001"/>
                  <a:pt x="3446893" y="514121"/>
                  <a:pt x="3448573" y="529660"/>
                </a:cubicBezTo>
                <a:cubicBezTo>
                  <a:pt x="3448573" y="533020"/>
                  <a:pt x="3448993" y="536380"/>
                  <a:pt x="3449833" y="539739"/>
                </a:cubicBezTo>
                <a:cubicBezTo>
                  <a:pt x="3450673" y="543099"/>
                  <a:pt x="3451513" y="546879"/>
                  <a:pt x="3451933" y="550239"/>
                </a:cubicBezTo>
                <a:cubicBezTo>
                  <a:pt x="3452353" y="553599"/>
                  <a:pt x="3452353" y="556959"/>
                  <a:pt x="3451513" y="560319"/>
                </a:cubicBezTo>
                <a:cubicBezTo>
                  <a:pt x="3450673" y="563678"/>
                  <a:pt x="3448993" y="566618"/>
                  <a:pt x="3446053" y="569558"/>
                </a:cubicBezTo>
                <a:cubicBezTo>
                  <a:pt x="3442693" y="575018"/>
                  <a:pt x="3441434" y="581318"/>
                  <a:pt x="3441854" y="588037"/>
                </a:cubicBezTo>
                <a:cubicBezTo>
                  <a:pt x="3442693" y="594757"/>
                  <a:pt x="3442274" y="601057"/>
                  <a:pt x="3441854" y="607356"/>
                </a:cubicBezTo>
                <a:cubicBezTo>
                  <a:pt x="3441434" y="610296"/>
                  <a:pt x="3440594" y="616596"/>
                  <a:pt x="3439334" y="626256"/>
                </a:cubicBezTo>
                <a:cubicBezTo>
                  <a:pt x="3438074" y="635915"/>
                  <a:pt x="3436814" y="645995"/>
                  <a:pt x="3435134" y="656494"/>
                </a:cubicBezTo>
                <a:cubicBezTo>
                  <a:pt x="3433454" y="666994"/>
                  <a:pt x="3431774" y="676653"/>
                  <a:pt x="3429674" y="685893"/>
                </a:cubicBezTo>
                <a:cubicBezTo>
                  <a:pt x="3427574" y="694713"/>
                  <a:pt x="3425894" y="700592"/>
                  <a:pt x="3424214" y="702272"/>
                </a:cubicBezTo>
                <a:cubicBezTo>
                  <a:pt x="3421694" y="705212"/>
                  <a:pt x="3420434" y="709412"/>
                  <a:pt x="3419175" y="714872"/>
                </a:cubicBezTo>
                <a:cubicBezTo>
                  <a:pt x="3418335" y="720752"/>
                  <a:pt x="3417494" y="726631"/>
                  <a:pt x="3417494" y="732931"/>
                </a:cubicBezTo>
                <a:cubicBezTo>
                  <a:pt x="3417494" y="739231"/>
                  <a:pt x="3417494" y="745531"/>
                  <a:pt x="3417915" y="751830"/>
                </a:cubicBezTo>
                <a:cubicBezTo>
                  <a:pt x="3418335" y="758130"/>
                  <a:pt x="3418335" y="762750"/>
                  <a:pt x="3418755" y="766530"/>
                </a:cubicBezTo>
                <a:cubicBezTo>
                  <a:pt x="3419175" y="771569"/>
                  <a:pt x="3419594" y="777029"/>
                  <a:pt x="3420855" y="782909"/>
                </a:cubicBezTo>
                <a:cubicBezTo>
                  <a:pt x="3422114" y="788789"/>
                  <a:pt x="3423794" y="794248"/>
                  <a:pt x="3426314" y="798868"/>
                </a:cubicBezTo>
                <a:cubicBezTo>
                  <a:pt x="3428834" y="803488"/>
                  <a:pt x="3432194" y="807268"/>
                  <a:pt x="3436814" y="810208"/>
                </a:cubicBezTo>
                <a:cubicBezTo>
                  <a:pt x="3441434" y="813148"/>
                  <a:pt x="3447313" y="814408"/>
                  <a:pt x="3454033" y="814408"/>
                </a:cubicBezTo>
                <a:cubicBezTo>
                  <a:pt x="3463273" y="813988"/>
                  <a:pt x="3471252" y="811048"/>
                  <a:pt x="3477132" y="805588"/>
                </a:cubicBezTo>
                <a:cubicBezTo>
                  <a:pt x="3483012" y="800128"/>
                  <a:pt x="3486372" y="792569"/>
                  <a:pt x="3486792" y="782909"/>
                </a:cubicBezTo>
                <a:cubicBezTo>
                  <a:pt x="3486792" y="773249"/>
                  <a:pt x="3487632" y="764010"/>
                  <a:pt x="3488891" y="754350"/>
                </a:cubicBezTo>
                <a:cubicBezTo>
                  <a:pt x="3490152" y="745111"/>
                  <a:pt x="3491411" y="735451"/>
                  <a:pt x="3492251" y="725791"/>
                </a:cubicBezTo>
                <a:cubicBezTo>
                  <a:pt x="3493931" y="710252"/>
                  <a:pt x="3497291" y="693873"/>
                  <a:pt x="3501491" y="677074"/>
                </a:cubicBezTo>
                <a:cubicBezTo>
                  <a:pt x="3506111" y="659854"/>
                  <a:pt x="3508631" y="643895"/>
                  <a:pt x="3509471" y="628355"/>
                </a:cubicBezTo>
                <a:cubicBezTo>
                  <a:pt x="3509891" y="621636"/>
                  <a:pt x="3510311" y="614916"/>
                  <a:pt x="3511151" y="608196"/>
                </a:cubicBezTo>
                <a:cubicBezTo>
                  <a:pt x="3511990" y="601057"/>
                  <a:pt x="3512830" y="594337"/>
                  <a:pt x="3514510" y="587617"/>
                </a:cubicBezTo>
                <a:cubicBezTo>
                  <a:pt x="3514090" y="589297"/>
                  <a:pt x="3514510" y="591397"/>
                  <a:pt x="3515770" y="593497"/>
                </a:cubicBezTo>
                <a:cubicBezTo>
                  <a:pt x="3517030" y="595597"/>
                  <a:pt x="3518710" y="598117"/>
                  <a:pt x="3520810" y="600217"/>
                </a:cubicBezTo>
                <a:cubicBezTo>
                  <a:pt x="3522910" y="602317"/>
                  <a:pt x="3525010" y="604417"/>
                  <a:pt x="3527110" y="606517"/>
                </a:cubicBezTo>
                <a:cubicBezTo>
                  <a:pt x="3529210" y="608617"/>
                  <a:pt x="3530890" y="610296"/>
                  <a:pt x="3531730" y="611556"/>
                </a:cubicBezTo>
                <a:cubicBezTo>
                  <a:pt x="3539289" y="621636"/>
                  <a:pt x="3546849" y="633395"/>
                  <a:pt x="3553989" y="647255"/>
                </a:cubicBezTo>
                <a:cubicBezTo>
                  <a:pt x="3561128" y="661114"/>
                  <a:pt x="3569108" y="673714"/>
                  <a:pt x="3578348" y="685893"/>
                </a:cubicBezTo>
                <a:cubicBezTo>
                  <a:pt x="3587167" y="698073"/>
                  <a:pt x="3597247" y="707732"/>
                  <a:pt x="3609006" y="715712"/>
                </a:cubicBezTo>
                <a:cubicBezTo>
                  <a:pt x="3620766" y="723691"/>
                  <a:pt x="3634625" y="726631"/>
                  <a:pt x="3651424" y="724951"/>
                </a:cubicBezTo>
                <a:cubicBezTo>
                  <a:pt x="3656044" y="724531"/>
                  <a:pt x="3659824" y="722851"/>
                  <a:pt x="3662764" y="720332"/>
                </a:cubicBezTo>
                <a:cubicBezTo>
                  <a:pt x="3665704" y="717812"/>
                  <a:pt x="3667804" y="714872"/>
                  <a:pt x="3669904" y="711512"/>
                </a:cubicBezTo>
                <a:cubicBezTo>
                  <a:pt x="3671584" y="708152"/>
                  <a:pt x="3673264" y="704372"/>
                  <a:pt x="3674523" y="700592"/>
                </a:cubicBezTo>
                <a:cubicBezTo>
                  <a:pt x="3675783" y="696813"/>
                  <a:pt x="3677044" y="693033"/>
                  <a:pt x="3678303" y="689673"/>
                </a:cubicBezTo>
                <a:cubicBezTo>
                  <a:pt x="3680823" y="680853"/>
                  <a:pt x="3682923" y="673294"/>
                  <a:pt x="3685023" y="666994"/>
                </a:cubicBezTo>
                <a:moveTo>
                  <a:pt x="3998330" y="336468"/>
                </a:moveTo>
                <a:cubicBezTo>
                  <a:pt x="3995390" y="336888"/>
                  <a:pt x="3992870" y="336888"/>
                  <a:pt x="3990350" y="337308"/>
                </a:cubicBezTo>
                <a:cubicBezTo>
                  <a:pt x="3979431" y="338568"/>
                  <a:pt x="3970611" y="340248"/>
                  <a:pt x="3963051" y="342768"/>
                </a:cubicBezTo>
                <a:cubicBezTo>
                  <a:pt x="3955491" y="345288"/>
                  <a:pt x="3948772" y="348648"/>
                  <a:pt x="3942052" y="352007"/>
                </a:cubicBezTo>
                <a:cubicBezTo>
                  <a:pt x="3935332" y="355787"/>
                  <a:pt x="3928613" y="359567"/>
                  <a:pt x="3921473" y="363767"/>
                </a:cubicBezTo>
                <a:cubicBezTo>
                  <a:pt x="3914333" y="367967"/>
                  <a:pt x="3905514" y="372166"/>
                  <a:pt x="3895014" y="376786"/>
                </a:cubicBezTo>
                <a:cubicBezTo>
                  <a:pt x="3892074" y="378046"/>
                  <a:pt x="3889134" y="378886"/>
                  <a:pt x="3885774" y="378886"/>
                </a:cubicBezTo>
                <a:cubicBezTo>
                  <a:pt x="3882415" y="378886"/>
                  <a:pt x="3879055" y="378886"/>
                  <a:pt x="3875695" y="379306"/>
                </a:cubicBezTo>
                <a:cubicBezTo>
                  <a:pt x="3872335" y="379726"/>
                  <a:pt x="3869395" y="380566"/>
                  <a:pt x="3866035" y="381406"/>
                </a:cubicBezTo>
                <a:cubicBezTo>
                  <a:pt x="3863095" y="382666"/>
                  <a:pt x="3860156" y="384766"/>
                  <a:pt x="3858056" y="387706"/>
                </a:cubicBezTo>
                <a:cubicBezTo>
                  <a:pt x="3847976" y="421725"/>
                  <a:pt x="3839996" y="455743"/>
                  <a:pt x="3834957" y="489342"/>
                </a:cubicBezTo>
                <a:cubicBezTo>
                  <a:pt x="3829917" y="522940"/>
                  <a:pt x="3829077" y="557379"/>
                  <a:pt x="3832437" y="592237"/>
                </a:cubicBezTo>
                <a:cubicBezTo>
                  <a:pt x="3833277" y="601477"/>
                  <a:pt x="3834957" y="610716"/>
                  <a:pt x="3836637" y="619956"/>
                </a:cubicBezTo>
                <a:cubicBezTo>
                  <a:pt x="3838316" y="629195"/>
                  <a:pt x="3840416" y="638435"/>
                  <a:pt x="3842936" y="647675"/>
                </a:cubicBezTo>
                <a:cubicBezTo>
                  <a:pt x="3847556" y="662794"/>
                  <a:pt x="3854276" y="676653"/>
                  <a:pt x="3862675" y="688413"/>
                </a:cubicBezTo>
                <a:cubicBezTo>
                  <a:pt x="3871495" y="700592"/>
                  <a:pt x="3882835" y="709832"/>
                  <a:pt x="3897534" y="716972"/>
                </a:cubicBezTo>
                <a:cubicBezTo>
                  <a:pt x="3913913" y="724951"/>
                  <a:pt x="3931133" y="728311"/>
                  <a:pt x="3949192" y="726211"/>
                </a:cubicBezTo>
                <a:cubicBezTo>
                  <a:pt x="3959271" y="724951"/>
                  <a:pt x="3969351" y="722432"/>
                  <a:pt x="3979431" y="718232"/>
                </a:cubicBezTo>
                <a:cubicBezTo>
                  <a:pt x="3989510" y="714032"/>
                  <a:pt x="3998750" y="709412"/>
                  <a:pt x="4006729" y="703112"/>
                </a:cubicBezTo>
                <a:cubicBezTo>
                  <a:pt x="4014709" y="696813"/>
                  <a:pt x="4020588" y="688413"/>
                  <a:pt x="4024368" y="677493"/>
                </a:cubicBezTo>
                <a:cubicBezTo>
                  <a:pt x="4026888" y="672034"/>
                  <a:pt x="4029408" y="665734"/>
                  <a:pt x="4032348" y="659014"/>
                </a:cubicBezTo>
                <a:cubicBezTo>
                  <a:pt x="4035288" y="651875"/>
                  <a:pt x="4036548" y="645155"/>
                  <a:pt x="4035708" y="638015"/>
                </a:cubicBezTo>
                <a:cubicBezTo>
                  <a:pt x="4034868" y="630036"/>
                  <a:pt x="4031088" y="623316"/>
                  <a:pt x="4024788" y="618276"/>
                </a:cubicBezTo>
                <a:cubicBezTo>
                  <a:pt x="4018489" y="612816"/>
                  <a:pt x="4010509" y="610296"/>
                  <a:pt x="4001689" y="609876"/>
                </a:cubicBezTo>
                <a:cubicBezTo>
                  <a:pt x="3997489" y="609876"/>
                  <a:pt x="3993710" y="610296"/>
                  <a:pt x="3991190" y="611136"/>
                </a:cubicBezTo>
                <a:cubicBezTo>
                  <a:pt x="3988670" y="611976"/>
                  <a:pt x="3986150" y="613236"/>
                  <a:pt x="3984890" y="614916"/>
                </a:cubicBezTo>
                <a:cubicBezTo>
                  <a:pt x="3983210" y="616596"/>
                  <a:pt x="3981950" y="619116"/>
                  <a:pt x="3980690" y="621216"/>
                </a:cubicBezTo>
                <a:cubicBezTo>
                  <a:pt x="3979431" y="623736"/>
                  <a:pt x="3977751" y="626676"/>
                  <a:pt x="3975651" y="629616"/>
                </a:cubicBezTo>
                <a:cubicBezTo>
                  <a:pt x="3972711" y="634235"/>
                  <a:pt x="3968931" y="637175"/>
                  <a:pt x="3964731" y="639695"/>
                </a:cubicBezTo>
                <a:cubicBezTo>
                  <a:pt x="3960531" y="641795"/>
                  <a:pt x="3956332" y="643475"/>
                  <a:pt x="3951291" y="643895"/>
                </a:cubicBezTo>
                <a:cubicBezTo>
                  <a:pt x="3940792" y="645155"/>
                  <a:pt x="3931133" y="642215"/>
                  <a:pt x="3922313" y="635495"/>
                </a:cubicBezTo>
                <a:cubicBezTo>
                  <a:pt x="3913493" y="628776"/>
                  <a:pt x="3909294" y="619116"/>
                  <a:pt x="3909713" y="606096"/>
                </a:cubicBezTo>
                <a:cubicBezTo>
                  <a:pt x="3914753" y="601057"/>
                  <a:pt x="3920213" y="596857"/>
                  <a:pt x="3926933" y="593497"/>
                </a:cubicBezTo>
                <a:cubicBezTo>
                  <a:pt x="3933652" y="589717"/>
                  <a:pt x="3939952" y="586357"/>
                  <a:pt x="3947092" y="582578"/>
                </a:cubicBezTo>
                <a:cubicBezTo>
                  <a:pt x="3953812" y="578798"/>
                  <a:pt x="3960531" y="575018"/>
                  <a:pt x="3966831" y="570398"/>
                </a:cubicBezTo>
                <a:cubicBezTo>
                  <a:pt x="3973131" y="566198"/>
                  <a:pt x="3978590" y="560738"/>
                  <a:pt x="3982790" y="554439"/>
                </a:cubicBezTo>
                <a:cubicBezTo>
                  <a:pt x="3986150" y="549819"/>
                  <a:pt x="3989090" y="544359"/>
                  <a:pt x="3991190" y="538059"/>
                </a:cubicBezTo>
                <a:cubicBezTo>
                  <a:pt x="3993290" y="531760"/>
                  <a:pt x="3994130" y="525880"/>
                  <a:pt x="3993290" y="519580"/>
                </a:cubicBezTo>
                <a:cubicBezTo>
                  <a:pt x="3992450" y="512441"/>
                  <a:pt x="3989510" y="506561"/>
                  <a:pt x="3983630" y="501521"/>
                </a:cubicBezTo>
                <a:cubicBezTo>
                  <a:pt x="3978170" y="496901"/>
                  <a:pt x="3971031" y="494801"/>
                  <a:pt x="3962631" y="495641"/>
                </a:cubicBezTo>
                <a:cubicBezTo>
                  <a:pt x="3955912" y="496481"/>
                  <a:pt x="3948772" y="498161"/>
                  <a:pt x="3942052" y="500681"/>
                </a:cubicBezTo>
                <a:cubicBezTo>
                  <a:pt x="3934913" y="503201"/>
                  <a:pt x="3929033" y="505721"/>
                  <a:pt x="3924413" y="508661"/>
                </a:cubicBezTo>
                <a:cubicBezTo>
                  <a:pt x="3920213" y="511181"/>
                  <a:pt x="3916433" y="512860"/>
                  <a:pt x="3914333" y="512860"/>
                </a:cubicBezTo>
                <a:cubicBezTo>
                  <a:pt x="3911813" y="513281"/>
                  <a:pt x="3910134" y="512860"/>
                  <a:pt x="3909294" y="511601"/>
                </a:cubicBezTo>
                <a:cubicBezTo>
                  <a:pt x="3908453" y="510341"/>
                  <a:pt x="3907613" y="508661"/>
                  <a:pt x="3907613" y="506561"/>
                </a:cubicBezTo>
                <a:cubicBezTo>
                  <a:pt x="3907194" y="504461"/>
                  <a:pt x="3907194" y="502361"/>
                  <a:pt x="3906773" y="500261"/>
                </a:cubicBezTo>
                <a:cubicBezTo>
                  <a:pt x="3906354" y="496481"/>
                  <a:pt x="3906773" y="492281"/>
                  <a:pt x="3907613" y="487242"/>
                </a:cubicBezTo>
                <a:cubicBezTo>
                  <a:pt x="3908453" y="482202"/>
                  <a:pt x="3909713" y="477162"/>
                  <a:pt x="3910973" y="472542"/>
                </a:cubicBezTo>
                <a:cubicBezTo>
                  <a:pt x="3912233" y="467923"/>
                  <a:pt x="3913493" y="463723"/>
                  <a:pt x="3914753" y="459523"/>
                </a:cubicBezTo>
                <a:cubicBezTo>
                  <a:pt x="3916013" y="455323"/>
                  <a:pt x="3916853" y="452803"/>
                  <a:pt x="3917273" y="450703"/>
                </a:cubicBezTo>
                <a:cubicBezTo>
                  <a:pt x="3918533" y="446083"/>
                  <a:pt x="3922313" y="441884"/>
                  <a:pt x="3928613" y="437684"/>
                </a:cubicBezTo>
                <a:cubicBezTo>
                  <a:pt x="3934913" y="433484"/>
                  <a:pt x="3942052" y="429284"/>
                  <a:pt x="3949612" y="425504"/>
                </a:cubicBezTo>
                <a:cubicBezTo>
                  <a:pt x="3957591" y="421725"/>
                  <a:pt x="3965151" y="418364"/>
                  <a:pt x="3973131" y="415425"/>
                </a:cubicBezTo>
                <a:cubicBezTo>
                  <a:pt x="3980690" y="412485"/>
                  <a:pt x="3986990" y="410385"/>
                  <a:pt x="3991190" y="408705"/>
                </a:cubicBezTo>
                <a:cubicBezTo>
                  <a:pt x="4003369" y="404925"/>
                  <a:pt x="4014289" y="399885"/>
                  <a:pt x="4023529" y="393586"/>
                </a:cubicBezTo>
                <a:cubicBezTo>
                  <a:pt x="4032768" y="387286"/>
                  <a:pt x="4037808" y="376786"/>
                  <a:pt x="4038648" y="361667"/>
                </a:cubicBezTo>
                <a:cubicBezTo>
                  <a:pt x="4039068" y="357887"/>
                  <a:pt x="4037808" y="354527"/>
                  <a:pt x="4035708" y="351588"/>
                </a:cubicBezTo>
                <a:cubicBezTo>
                  <a:pt x="4033188" y="348648"/>
                  <a:pt x="4030668" y="345708"/>
                  <a:pt x="4027309" y="343608"/>
                </a:cubicBezTo>
                <a:cubicBezTo>
                  <a:pt x="4023949" y="341508"/>
                  <a:pt x="4020169" y="339408"/>
                  <a:pt x="4016389" y="338148"/>
                </a:cubicBezTo>
                <a:cubicBezTo>
                  <a:pt x="4012609" y="336888"/>
                  <a:pt x="4008829" y="336468"/>
                  <a:pt x="4006309" y="336468"/>
                </a:cubicBezTo>
                <a:cubicBezTo>
                  <a:pt x="4003789" y="336048"/>
                  <a:pt x="4000850" y="336048"/>
                  <a:pt x="3998330" y="336468"/>
                </a:cubicBezTo>
                <a:moveTo>
                  <a:pt x="4295677" y="480522"/>
                </a:moveTo>
                <a:cubicBezTo>
                  <a:pt x="4291477" y="490601"/>
                  <a:pt x="4286857" y="500681"/>
                  <a:pt x="4281818" y="511601"/>
                </a:cubicBezTo>
                <a:cubicBezTo>
                  <a:pt x="4276778" y="522520"/>
                  <a:pt x="4271738" y="532180"/>
                  <a:pt x="4266278" y="540999"/>
                </a:cubicBezTo>
                <a:cubicBezTo>
                  <a:pt x="4260819" y="549819"/>
                  <a:pt x="4256619" y="555279"/>
                  <a:pt x="4252839" y="557379"/>
                </a:cubicBezTo>
                <a:cubicBezTo>
                  <a:pt x="4251159" y="546879"/>
                  <a:pt x="4249479" y="536380"/>
                  <a:pt x="4247799" y="525460"/>
                </a:cubicBezTo>
                <a:cubicBezTo>
                  <a:pt x="4246119" y="514540"/>
                  <a:pt x="4245279" y="504041"/>
                  <a:pt x="4245279" y="494381"/>
                </a:cubicBezTo>
                <a:cubicBezTo>
                  <a:pt x="4245279" y="486402"/>
                  <a:pt x="4244439" y="478002"/>
                  <a:pt x="4242759" y="469182"/>
                </a:cubicBezTo>
                <a:cubicBezTo>
                  <a:pt x="4241079" y="460363"/>
                  <a:pt x="4239819" y="451543"/>
                  <a:pt x="4238559" y="443144"/>
                </a:cubicBezTo>
                <a:cubicBezTo>
                  <a:pt x="4236879" y="434744"/>
                  <a:pt x="4236040" y="426344"/>
                  <a:pt x="4234779" y="418785"/>
                </a:cubicBezTo>
                <a:cubicBezTo>
                  <a:pt x="4233940" y="411225"/>
                  <a:pt x="4233520" y="404085"/>
                  <a:pt x="4233940" y="397786"/>
                </a:cubicBezTo>
                <a:cubicBezTo>
                  <a:pt x="4231840" y="391066"/>
                  <a:pt x="4230160" y="383086"/>
                  <a:pt x="4229320" y="373847"/>
                </a:cubicBezTo>
                <a:cubicBezTo>
                  <a:pt x="4228480" y="364607"/>
                  <a:pt x="4227640" y="355367"/>
                  <a:pt x="4226800" y="345288"/>
                </a:cubicBezTo>
                <a:cubicBezTo>
                  <a:pt x="4225960" y="335628"/>
                  <a:pt x="4224700" y="325968"/>
                  <a:pt x="4223020" y="317149"/>
                </a:cubicBezTo>
                <a:cubicBezTo>
                  <a:pt x="4221340" y="307909"/>
                  <a:pt x="4218820" y="299930"/>
                  <a:pt x="4214621" y="293210"/>
                </a:cubicBezTo>
                <a:cubicBezTo>
                  <a:pt x="4210841" y="286490"/>
                  <a:pt x="4205381" y="281450"/>
                  <a:pt x="4198661" y="278511"/>
                </a:cubicBezTo>
                <a:cubicBezTo>
                  <a:pt x="4191941" y="275571"/>
                  <a:pt x="4182702" y="274731"/>
                  <a:pt x="4171782" y="276831"/>
                </a:cubicBezTo>
                <a:cubicBezTo>
                  <a:pt x="4167582" y="278091"/>
                  <a:pt x="4163382" y="279351"/>
                  <a:pt x="4160023" y="280610"/>
                </a:cubicBezTo>
                <a:cubicBezTo>
                  <a:pt x="4156243" y="281870"/>
                  <a:pt x="4152883" y="283550"/>
                  <a:pt x="4150363" y="285650"/>
                </a:cubicBezTo>
                <a:cubicBezTo>
                  <a:pt x="4147843" y="287750"/>
                  <a:pt x="4145743" y="290270"/>
                  <a:pt x="4144483" y="293630"/>
                </a:cubicBezTo>
                <a:cubicBezTo>
                  <a:pt x="4143224" y="296990"/>
                  <a:pt x="4142804" y="301190"/>
                  <a:pt x="4143643" y="306649"/>
                </a:cubicBezTo>
                <a:cubicBezTo>
                  <a:pt x="4144904" y="317569"/>
                  <a:pt x="4147003" y="328489"/>
                  <a:pt x="4150363" y="339408"/>
                </a:cubicBezTo>
                <a:cubicBezTo>
                  <a:pt x="4153723" y="350328"/>
                  <a:pt x="4156243" y="361667"/>
                  <a:pt x="4158343" y="373847"/>
                </a:cubicBezTo>
                <a:cubicBezTo>
                  <a:pt x="4158763" y="376786"/>
                  <a:pt x="4159603" y="383926"/>
                  <a:pt x="4160863" y="394006"/>
                </a:cubicBezTo>
                <a:cubicBezTo>
                  <a:pt x="4162123" y="404085"/>
                  <a:pt x="4163382" y="416685"/>
                  <a:pt x="4165062" y="430964"/>
                </a:cubicBezTo>
                <a:cubicBezTo>
                  <a:pt x="4166742" y="445243"/>
                  <a:pt x="4168842" y="461203"/>
                  <a:pt x="4170942" y="478002"/>
                </a:cubicBezTo>
                <a:cubicBezTo>
                  <a:pt x="4173042" y="494801"/>
                  <a:pt x="4175142" y="511601"/>
                  <a:pt x="4177662" y="528820"/>
                </a:cubicBezTo>
                <a:cubicBezTo>
                  <a:pt x="4180182" y="545619"/>
                  <a:pt x="4182702" y="561579"/>
                  <a:pt x="4185222" y="577118"/>
                </a:cubicBezTo>
                <a:cubicBezTo>
                  <a:pt x="4187741" y="592237"/>
                  <a:pt x="4190681" y="605256"/>
                  <a:pt x="4193201" y="616176"/>
                </a:cubicBezTo>
                <a:cubicBezTo>
                  <a:pt x="4194881" y="626256"/>
                  <a:pt x="4196141" y="636335"/>
                  <a:pt x="4196981" y="646415"/>
                </a:cubicBezTo>
                <a:cubicBezTo>
                  <a:pt x="4197821" y="656914"/>
                  <a:pt x="4199921" y="666994"/>
                  <a:pt x="4204121" y="677074"/>
                </a:cubicBezTo>
                <a:cubicBezTo>
                  <a:pt x="4208741" y="685473"/>
                  <a:pt x="4214621" y="690513"/>
                  <a:pt x="4222180" y="691353"/>
                </a:cubicBezTo>
                <a:cubicBezTo>
                  <a:pt x="4229740" y="692193"/>
                  <a:pt x="4237300" y="691773"/>
                  <a:pt x="4245699" y="690093"/>
                </a:cubicBezTo>
                <a:cubicBezTo>
                  <a:pt x="4251999" y="688833"/>
                  <a:pt x="4258719" y="684633"/>
                  <a:pt x="4266278" y="677493"/>
                </a:cubicBezTo>
                <a:cubicBezTo>
                  <a:pt x="4273838" y="670354"/>
                  <a:pt x="4280977" y="661954"/>
                  <a:pt x="4287698" y="651875"/>
                </a:cubicBezTo>
                <a:cubicBezTo>
                  <a:pt x="4294837" y="641795"/>
                  <a:pt x="4301557" y="630455"/>
                  <a:pt x="4308276" y="618276"/>
                </a:cubicBezTo>
                <a:cubicBezTo>
                  <a:pt x="4314996" y="605677"/>
                  <a:pt x="4320876" y="593917"/>
                  <a:pt x="4326336" y="581738"/>
                </a:cubicBezTo>
                <a:cubicBezTo>
                  <a:pt x="4331375" y="569978"/>
                  <a:pt x="4335995" y="558639"/>
                  <a:pt x="4339775" y="548559"/>
                </a:cubicBezTo>
                <a:cubicBezTo>
                  <a:pt x="4343555" y="538059"/>
                  <a:pt x="4345655" y="529660"/>
                  <a:pt x="4346915" y="523780"/>
                </a:cubicBezTo>
                <a:cubicBezTo>
                  <a:pt x="4348175" y="514960"/>
                  <a:pt x="4350695" y="505301"/>
                  <a:pt x="4354895" y="495641"/>
                </a:cubicBezTo>
                <a:cubicBezTo>
                  <a:pt x="4359094" y="485982"/>
                  <a:pt x="4363294" y="476322"/>
                  <a:pt x="4367914" y="466662"/>
                </a:cubicBezTo>
                <a:cubicBezTo>
                  <a:pt x="4372534" y="457003"/>
                  <a:pt x="4377153" y="447763"/>
                  <a:pt x="4382193" y="438104"/>
                </a:cubicBezTo>
                <a:cubicBezTo>
                  <a:pt x="4386813" y="428864"/>
                  <a:pt x="4391013" y="419625"/>
                  <a:pt x="4393953" y="410805"/>
                </a:cubicBezTo>
                <a:cubicBezTo>
                  <a:pt x="4395633" y="404925"/>
                  <a:pt x="4398572" y="399885"/>
                  <a:pt x="4401932" y="394846"/>
                </a:cubicBezTo>
                <a:cubicBezTo>
                  <a:pt x="4405292" y="389806"/>
                  <a:pt x="4409072" y="384766"/>
                  <a:pt x="4412852" y="380146"/>
                </a:cubicBezTo>
                <a:cubicBezTo>
                  <a:pt x="4416632" y="375106"/>
                  <a:pt x="4419992" y="370067"/>
                  <a:pt x="4423351" y="365027"/>
                </a:cubicBezTo>
                <a:cubicBezTo>
                  <a:pt x="4426711" y="359987"/>
                  <a:pt x="4428811" y="354527"/>
                  <a:pt x="4430491" y="349067"/>
                </a:cubicBezTo>
                <a:cubicBezTo>
                  <a:pt x="4433011" y="340668"/>
                  <a:pt x="4433851" y="331428"/>
                  <a:pt x="4433431" y="322189"/>
                </a:cubicBezTo>
                <a:cubicBezTo>
                  <a:pt x="4433011" y="312949"/>
                  <a:pt x="4430911" y="304549"/>
                  <a:pt x="4427131" y="297410"/>
                </a:cubicBezTo>
                <a:cubicBezTo>
                  <a:pt x="4423351" y="289850"/>
                  <a:pt x="4417892" y="283970"/>
                  <a:pt x="4410332" y="279770"/>
                </a:cubicBezTo>
                <a:cubicBezTo>
                  <a:pt x="4403193" y="275571"/>
                  <a:pt x="4393533" y="273891"/>
                  <a:pt x="4382193" y="275151"/>
                </a:cubicBezTo>
                <a:cubicBezTo>
                  <a:pt x="4376733" y="275571"/>
                  <a:pt x="4372114" y="277671"/>
                  <a:pt x="4367914" y="280610"/>
                </a:cubicBezTo>
                <a:cubicBezTo>
                  <a:pt x="4363714" y="283550"/>
                  <a:pt x="4360354" y="287330"/>
                  <a:pt x="4357834" y="291530"/>
                </a:cubicBezTo>
                <a:cubicBezTo>
                  <a:pt x="4354895" y="295730"/>
                  <a:pt x="4352374" y="300770"/>
                  <a:pt x="4350695" y="305809"/>
                </a:cubicBezTo>
                <a:cubicBezTo>
                  <a:pt x="4348595" y="311269"/>
                  <a:pt x="4346915" y="316309"/>
                  <a:pt x="4345235" y="320929"/>
                </a:cubicBezTo>
                <a:cubicBezTo>
                  <a:pt x="4340195" y="344868"/>
                  <a:pt x="4333896" y="367967"/>
                  <a:pt x="4326756" y="390226"/>
                </a:cubicBezTo>
                <a:cubicBezTo>
                  <a:pt x="4319616" y="412905"/>
                  <a:pt x="4312056" y="436004"/>
                  <a:pt x="4304497" y="459523"/>
                </a:cubicBezTo>
                <a:cubicBezTo>
                  <a:pt x="4302817" y="463303"/>
                  <a:pt x="4300297" y="470442"/>
                  <a:pt x="4295677" y="480522"/>
                </a:cubicBezTo>
                <a:moveTo>
                  <a:pt x="4768156" y="305809"/>
                </a:moveTo>
                <a:cubicBezTo>
                  <a:pt x="4773197" y="303290"/>
                  <a:pt x="4777816" y="300350"/>
                  <a:pt x="4781596" y="296570"/>
                </a:cubicBezTo>
                <a:cubicBezTo>
                  <a:pt x="4785796" y="292790"/>
                  <a:pt x="4788736" y="288590"/>
                  <a:pt x="4790836" y="283970"/>
                </a:cubicBezTo>
                <a:cubicBezTo>
                  <a:pt x="4792935" y="279351"/>
                  <a:pt x="4793776" y="273891"/>
                  <a:pt x="4793355" y="268011"/>
                </a:cubicBezTo>
                <a:cubicBezTo>
                  <a:pt x="4792516" y="259611"/>
                  <a:pt x="4790416" y="253312"/>
                  <a:pt x="4787056" y="249532"/>
                </a:cubicBezTo>
                <a:cubicBezTo>
                  <a:pt x="4783696" y="245752"/>
                  <a:pt x="4779496" y="243652"/>
                  <a:pt x="4774877" y="242812"/>
                </a:cubicBezTo>
                <a:cubicBezTo>
                  <a:pt x="4770256" y="241972"/>
                  <a:pt x="4764797" y="242392"/>
                  <a:pt x="4758917" y="243652"/>
                </a:cubicBezTo>
                <a:cubicBezTo>
                  <a:pt x="4753037" y="244912"/>
                  <a:pt x="4747157" y="246172"/>
                  <a:pt x="4740858" y="247852"/>
                </a:cubicBezTo>
                <a:cubicBezTo>
                  <a:pt x="4726579" y="252052"/>
                  <a:pt x="4711879" y="255412"/>
                  <a:pt x="4696340" y="257511"/>
                </a:cubicBezTo>
                <a:cubicBezTo>
                  <a:pt x="4680801" y="259611"/>
                  <a:pt x="4665261" y="262971"/>
                  <a:pt x="4650142" y="267171"/>
                </a:cubicBezTo>
                <a:cubicBezTo>
                  <a:pt x="4643422" y="269271"/>
                  <a:pt x="4637542" y="270111"/>
                  <a:pt x="4632083" y="269271"/>
                </a:cubicBezTo>
                <a:cubicBezTo>
                  <a:pt x="4626623" y="268851"/>
                  <a:pt x="4621583" y="267591"/>
                  <a:pt x="4616543" y="266751"/>
                </a:cubicBezTo>
                <a:cubicBezTo>
                  <a:pt x="4611503" y="265491"/>
                  <a:pt x="4606463" y="265071"/>
                  <a:pt x="4601424" y="265071"/>
                </a:cubicBezTo>
                <a:cubicBezTo>
                  <a:pt x="4596384" y="265071"/>
                  <a:pt x="4590924" y="266751"/>
                  <a:pt x="4585044" y="269691"/>
                </a:cubicBezTo>
                <a:cubicBezTo>
                  <a:pt x="4579585" y="275571"/>
                  <a:pt x="4575805" y="282710"/>
                  <a:pt x="4573285" y="290270"/>
                </a:cubicBezTo>
                <a:cubicBezTo>
                  <a:pt x="4570765" y="297830"/>
                  <a:pt x="4569505" y="305809"/>
                  <a:pt x="4568245" y="314209"/>
                </a:cubicBezTo>
                <a:cubicBezTo>
                  <a:pt x="4566986" y="322609"/>
                  <a:pt x="4566145" y="331008"/>
                  <a:pt x="4564886" y="339408"/>
                </a:cubicBezTo>
                <a:cubicBezTo>
                  <a:pt x="4563625" y="347808"/>
                  <a:pt x="4561526" y="355787"/>
                  <a:pt x="4558586" y="363767"/>
                </a:cubicBezTo>
                <a:cubicBezTo>
                  <a:pt x="4556066" y="369227"/>
                  <a:pt x="4554386" y="377626"/>
                  <a:pt x="4552706" y="388966"/>
                </a:cubicBezTo>
                <a:cubicBezTo>
                  <a:pt x="4551026" y="400725"/>
                  <a:pt x="4549766" y="413745"/>
                  <a:pt x="4548506" y="428024"/>
                </a:cubicBezTo>
                <a:cubicBezTo>
                  <a:pt x="4547246" y="442304"/>
                  <a:pt x="4546826" y="457423"/>
                  <a:pt x="4546406" y="472962"/>
                </a:cubicBezTo>
                <a:cubicBezTo>
                  <a:pt x="4545986" y="488502"/>
                  <a:pt x="4545986" y="503201"/>
                  <a:pt x="4545986" y="517060"/>
                </a:cubicBezTo>
                <a:cubicBezTo>
                  <a:pt x="4545986" y="530920"/>
                  <a:pt x="4546406" y="542679"/>
                  <a:pt x="4546826" y="553179"/>
                </a:cubicBezTo>
                <a:cubicBezTo>
                  <a:pt x="4547246" y="563258"/>
                  <a:pt x="4548086" y="570398"/>
                  <a:pt x="4549346" y="573338"/>
                </a:cubicBezTo>
                <a:cubicBezTo>
                  <a:pt x="4553966" y="591817"/>
                  <a:pt x="4561945" y="605256"/>
                  <a:pt x="4573285" y="614076"/>
                </a:cubicBezTo>
                <a:cubicBezTo>
                  <a:pt x="4584205" y="622896"/>
                  <a:pt x="4597224" y="627936"/>
                  <a:pt x="4611084" y="629616"/>
                </a:cubicBezTo>
                <a:cubicBezTo>
                  <a:pt x="4625363" y="631295"/>
                  <a:pt x="4640482" y="630036"/>
                  <a:pt x="4656021" y="625416"/>
                </a:cubicBezTo>
                <a:cubicBezTo>
                  <a:pt x="4671981" y="621216"/>
                  <a:pt x="4687100" y="615336"/>
                  <a:pt x="4701380" y="607777"/>
                </a:cubicBezTo>
                <a:cubicBezTo>
                  <a:pt x="4716079" y="600217"/>
                  <a:pt x="4729098" y="591817"/>
                  <a:pt x="4740858" y="582578"/>
                </a:cubicBezTo>
                <a:cubicBezTo>
                  <a:pt x="4753037" y="573338"/>
                  <a:pt x="4761857" y="564518"/>
                  <a:pt x="4768156" y="555699"/>
                </a:cubicBezTo>
                <a:cubicBezTo>
                  <a:pt x="4771097" y="551919"/>
                  <a:pt x="4774036" y="548559"/>
                  <a:pt x="4777396" y="545619"/>
                </a:cubicBezTo>
                <a:cubicBezTo>
                  <a:pt x="4780336" y="542679"/>
                  <a:pt x="4783276" y="539320"/>
                  <a:pt x="4785376" y="535540"/>
                </a:cubicBezTo>
                <a:cubicBezTo>
                  <a:pt x="4787476" y="532180"/>
                  <a:pt x="4788736" y="527980"/>
                  <a:pt x="4789156" y="523360"/>
                </a:cubicBezTo>
                <a:cubicBezTo>
                  <a:pt x="4789576" y="518740"/>
                  <a:pt x="4788736" y="512860"/>
                  <a:pt x="4786636" y="505721"/>
                </a:cubicBezTo>
                <a:cubicBezTo>
                  <a:pt x="4781596" y="490601"/>
                  <a:pt x="4771097" y="484302"/>
                  <a:pt x="4755137" y="485982"/>
                </a:cubicBezTo>
                <a:cubicBezTo>
                  <a:pt x="4747157" y="491861"/>
                  <a:pt x="4737918" y="499841"/>
                  <a:pt x="4728258" y="509501"/>
                </a:cubicBezTo>
                <a:cubicBezTo>
                  <a:pt x="4718599" y="519160"/>
                  <a:pt x="4708099" y="527980"/>
                  <a:pt x="4697600" y="535959"/>
                </a:cubicBezTo>
                <a:cubicBezTo>
                  <a:pt x="4686680" y="543939"/>
                  <a:pt x="4675341" y="549819"/>
                  <a:pt x="4663581" y="553599"/>
                </a:cubicBezTo>
                <a:cubicBezTo>
                  <a:pt x="4651822" y="557379"/>
                  <a:pt x="4639222" y="556119"/>
                  <a:pt x="4626203" y="550239"/>
                </a:cubicBezTo>
                <a:cubicBezTo>
                  <a:pt x="4622003" y="548559"/>
                  <a:pt x="4619063" y="544359"/>
                  <a:pt x="4616963" y="538479"/>
                </a:cubicBezTo>
                <a:cubicBezTo>
                  <a:pt x="4615283" y="532600"/>
                  <a:pt x="4614023" y="525460"/>
                  <a:pt x="4613184" y="517900"/>
                </a:cubicBezTo>
                <a:cubicBezTo>
                  <a:pt x="4612343" y="510341"/>
                  <a:pt x="4612763" y="502781"/>
                  <a:pt x="4613184" y="495641"/>
                </a:cubicBezTo>
                <a:cubicBezTo>
                  <a:pt x="4613603" y="488502"/>
                  <a:pt x="4614863" y="483042"/>
                  <a:pt x="4616123" y="479682"/>
                </a:cubicBezTo>
                <a:cubicBezTo>
                  <a:pt x="4617803" y="475902"/>
                  <a:pt x="4622003" y="472962"/>
                  <a:pt x="4627883" y="470442"/>
                </a:cubicBezTo>
                <a:cubicBezTo>
                  <a:pt x="4634183" y="468342"/>
                  <a:pt x="4640902" y="466243"/>
                  <a:pt x="4648882" y="464983"/>
                </a:cubicBezTo>
                <a:cubicBezTo>
                  <a:pt x="4656861" y="463723"/>
                  <a:pt x="4664421" y="462463"/>
                  <a:pt x="4671561" y="461203"/>
                </a:cubicBezTo>
                <a:cubicBezTo>
                  <a:pt x="4679120" y="460363"/>
                  <a:pt x="4684580" y="459523"/>
                  <a:pt x="4689200" y="458683"/>
                </a:cubicBezTo>
                <a:cubicBezTo>
                  <a:pt x="4695080" y="457843"/>
                  <a:pt x="4700120" y="456583"/>
                  <a:pt x="4704739" y="455323"/>
                </a:cubicBezTo>
                <a:cubicBezTo>
                  <a:pt x="4709359" y="453643"/>
                  <a:pt x="4713559" y="451543"/>
                  <a:pt x="4717339" y="449023"/>
                </a:cubicBezTo>
                <a:cubicBezTo>
                  <a:pt x="4720699" y="446083"/>
                  <a:pt x="4723638" y="442724"/>
                  <a:pt x="4725318" y="438104"/>
                </a:cubicBezTo>
                <a:cubicBezTo>
                  <a:pt x="4726999" y="433484"/>
                  <a:pt x="4727418" y="427604"/>
                  <a:pt x="4726579" y="420464"/>
                </a:cubicBezTo>
                <a:cubicBezTo>
                  <a:pt x="4726158" y="415005"/>
                  <a:pt x="4724479" y="409965"/>
                  <a:pt x="4722379" y="405345"/>
                </a:cubicBezTo>
                <a:cubicBezTo>
                  <a:pt x="4719859" y="400725"/>
                  <a:pt x="4716919" y="397365"/>
                  <a:pt x="4712719" y="395265"/>
                </a:cubicBezTo>
                <a:cubicBezTo>
                  <a:pt x="4704319" y="391066"/>
                  <a:pt x="4695500" y="389806"/>
                  <a:pt x="4687100" y="391486"/>
                </a:cubicBezTo>
                <a:cubicBezTo>
                  <a:pt x="4678281" y="393166"/>
                  <a:pt x="4669041" y="394846"/>
                  <a:pt x="4658961" y="395686"/>
                </a:cubicBezTo>
                <a:cubicBezTo>
                  <a:pt x="4656021" y="396105"/>
                  <a:pt x="4652242" y="396526"/>
                  <a:pt x="4646782" y="397786"/>
                </a:cubicBezTo>
                <a:cubicBezTo>
                  <a:pt x="4641742" y="398626"/>
                  <a:pt x="4637122" y="398626"/>
                  <a:pt x="4632922" y="396946"/>
                </a:cubicBezTo>
                <a:cubicBezTo>
                  <a:pt x="4629143" y="395265"/>
                  <a:pt x="4626203" y="391906"/>
                  <a:pt x="4625363" y="386446"/>
                </a:cubicBezTo>
                <a:cubicBezTo>
                  <a:pt x="4624103" y="380986"/>
                  <a:pt x="4626203" y="371327"/>
                  <a:pt x="4631242" y="358307"/>
                </a:cubicBezTo>
                <a:cubicBezTo>
                  <a:pt x="4636702" y="344448"/>
                  <a:pt x="4644262" y="335628"/>
                  <a:pt x="4653922" y="331848"/>
                </a:cubicBezTo>
                <a:cubicBezTo>
                  <a:pt x="4663581" y="328068"/>
                  <a:pt x="4674081" y="325549"/>
                  <a:pt x="4685420" y="325129"/>
                </a:cubicBezTo>
                <a:cubicBezTo>
                  <a:pt x="4696760" y="324289"/>
                  <a:pt x="4708519" y="323869"/>
                  <a:pt x="4720279" y="323029"/>
                </a:cubicBezTo>
                <a:cubicBezTo>
                  <a:pt x="4732038" y="322189"/>
                  <a:pt x="4742958" y="317989"/>
                  <a:pt x="4752617" y="310009"/>
                </a:cubicBezTo>
                <a:cubicBezTo>
                  <a:pt x="4758077" y="309589"/>
                  <a:pt x="4763117" y="307909"/>
                  <a:pt x="4768156" y="305809"/>
                </a:cubicBezTo>
                <a:moveTo>
                  <a:pt x="4989067" y="488502"/>
                </a:moveTo>
                <a:cubicBezTo>
                  <a:pt x="4993267" y="489342"/>
                  <a:pt x="4997047" y="490182"/>
                  <a:pt x="5000407" y="491861"/>
                </a:cubicBezTo>
                <a:cubicBezTo>
                  <a:pt x="5009226" y="494801"/>
                  <a:pt x="5019726" y="498581"/>
                  <a:pt x="5031066" y="503201"/>
                </a:cubicBezTo>
                <a:cubicBezTo>
                  <a:pt x="5042405" y="507821"/>
                  <a:pt x="5052065" y="513700"/>
                  <a:pt x="5059204" y="521260"/>
                </a:cubicBezTo>
                <a:cubicBezTo>
                  <a:pt x="5065924" y="527980"/>
                  <a:pt x="5073484" y="534280"/>
                  <a:pt x="5081883" y="540579"/>
                </a:cubicBezTo>
                <a:cubicBezTo>
                  <a:pt x="5090283" y="546879"/>
                  <a:pt x="5099102" y="552759"/>
                  <a:pt x="5108342" y="557379"/>
                </a:cubicBezTo>
                <a:cubicBezTo>
                  <a:pt x="5118002" y="561998"/>
                  <a:pt x="5127661" y="565778"/>
                  <a:pt x="5137741" y="568298"/>
                </a:cubicBezTo>
                <a:cubicBezTo>
                  <a:pt x="5147820" y="570818"/>
                  <a:pt x="5158320" y="571658"/>
                  <a:pt x="5169239" y="570398"/>
                </a:cubicBezTo>
                <a:cubicBezTo>
                  <a:pt x="5178479" y="569558"/>
                  <a:pt x="5187299" y="566618"/>
                  <a:pt x="5195278" y="561998"/>
                </a:cubicBezTo>
                <a:cubicBezTo>
                  <a:pt x="5202838" y="557799"/>
                  <a:pt x="5208298" y="552759"/>
                  <a:pt x="5211658" y="547299"/>
                </a:cubicBezTo>
                <a:cubicBezTo>
                  <a:pt x="5214597" y="541419"/>
                  <a:pt x="5215858" y="535540"/>
                  <a:pt x="5215017" y="530080"/>
                </a:cubicBezTo>
                <a:cubicBezTo>
                  <a:pt x="5214178" y="524200"/>
                  <a:pt x="5211237" y="518740"/>
                  <a:pt x="5206618" y="513700"/>
                </a:cubicBezTo>
                <a:cubicBezTo>
                  <a:pt x="5201998" y="508661"/>
                  <a:pt x="5196118" y="504461"/>
                  <a:pt x="5188138" y="501101"/>
                </a:cubicBezTo>
                <a:cubicBezTo>
                  <a:pt x="5184779" y="499841"/>
                  <a:pt x="5180999" y="499841"/>
                  <a:pt x="5177639" y="500261"/>
                </a:cubicBezTo>
                <a:cubicBezTo>
                  <a:pt x="5173859" y="500681"/>
                  <a:pt x="5170499" y="499841"/>
                  <a:pt x="5167560" y="497321"/>
                </a:cubicBezTo>
                <a:cubicBezTo>
                  <a:pt x="5158320" y="490182"/>
                  <a:pt x="5149080" y="483882"/>
                  <a:pt x="5139001" y="478002"/>
                </a:cubicBezTo>
                <a:cubicBezTo>
                  <a:pt x="5128921" y="472122"/>
                  <a:pt x="5118841" y="466662"/>
                  <a:pt x="5108762" y="461203"/>
                </a:cubicBezTo>
                <a:cubicBezTo>
                  <a:pt x="5098263" y="455743"/>
                  <a:pt x="5088183" y="450703"/>
                  <a:pt x="5077683" y="445243"/>
                </a:cubicBezTo>
                <a:cubicBezTo>
                  <a:pt x="5067604" y="439784"/>
                  <a:pt x="5057944" y="433904"/>
                  <a:pt x="5048285" y="427184"/>
                </a:cubicBezTo>
                <a:cubicBezTo>
                  <a:pt x="5060464" y="426764"/>
                  <a:pt x="5070964" y="422144"/>
                  <a:pt x="5080623" y="413745"/>
                </a:cubicBezTo>
                <a:cubicBezTo>
                  <a:pt x="5090283" y="405345"/>
                  <a:pt x="5098263" y="394846"/>
                  <a:pt x="5104982" y="381406"/>
                </a:cubicBezTo>
                <a:cubicBezTo>
                  <a:pt x="5111702" y="368387"/>
                  <a:pt x="5116741" y="353687"/>
                  <a:pt x="5120102" y="337308"/>
                </a:cubicBezTo>
                <a:cubicBezTo>
                  <a:pt x="5123881" y="321349"/>
                  <a:pt x="5125561" y="305390"/>
                  <a:pt x="5125981" y="289430"/>
                </a:cubicBezTo>
                <a:cubicBezTo>
                  <a:pt x="5126401" y="273471"/>
                  <a:pt x="5124721" y="258771"/>
                  <a:pt x="5121362" y="244912"/>
                </a:cubicBezTo>
                <a:cubicBezTo>
                  <a:pt x="5118002" y="231053"/>
                  <a:pt x="5112122" y="219713"/>
                  <a:pt x="5104562" y="211313"/>
                </a:cubicBezTo>
                <a:cubicBezTo>
                  <a:pt x="5097003" y="202914"/>
                  <a:pt x="5086923" y="197874"/>
                  <a:pt x="5075164" y="196194"/>
                </a:cubicBezTo>
                <a:cubicBezTo>
                  <a:pt x="5062984" y="194934"/>
                  <a:pt x="5048705" y="198294"/>
                  <a:pt x="5032325" y="207534"/>
                </a:cubicBezTo>
                <a:cubicBezTo>
                  <a:pt x="5028966" y="207114"/>
                  <a:pt x="5025606" y="208374"/>
                  <a:pt x="5021826" y="211313"/>
                </a:cubicBezTo>
                <a:cubicBezTo>
                  <a:pt x="5018046" y="214253"/>
                  <a:pt x="5014266" y="218033"/>
                  <a:pt x="5010486" y="222233"/>
                </a:cubicBezTo>
                <a:cubicBezTo>
                  <a:pt x="5007126" y="226433"/>
                  <a:pt x="5003346" y="231053"/>
                  <a:pt x="4999987" y="235672"/>
                </a:cubicBezTo>
                <a:cubicBezTo>
                  <a:pt x="4996627" y="240292"/>
                  <a:pt x="4993267" y="244072"/>
                  <a:pt x="4990747" y="246592"/>
                </a:cubicBezTo>
                <a:cubicBezTo>
                  <a:pt x="4987807" y="249532"/>
                  <a:pt x="4984447" y="251632"/>
                  <a:pt x="4980668" y="252892"/>
                </a:cubicBezTo>
                <a:cubicBezTo>
                  <a:pt x="4976888" y="254152"/>
                  <a:pt x="4973528" y="255832"/>
                  <a:pt x="4970588" y="257511"/>
                </a:cubicBezTo>
                <a:cubicBezTo>
                  <a:pt x="4967648" y="259191"/>
                  <a:pt x="4964708" y="260871"/>
                  <a:pt x="4962188" y="263391"/>
                </a:cubicBezTo>
                <a:cubicBezTo>
                  <a:pt x="4959669" y="265491"/>
                  <a:pt x="4957989" y="269271"/>
                  <a:pt x="4957569" y="273891"/>
                </a:cubicBezTo>
                <a:cubicBezTo>
                  <a:pt x="4955469" y="285650"/>
                  <a:pt x="4952949" y="296990"/>
                  <a:pt x="4949589" y="307489"/>
                </a:cubicBezTo>
                <a:cubicBezTo>
                  <a:pt x="4946229" y="317989"/>
                  <a:pt x="4942869" y="328489"/>
                  <a:pt x="4939089" y="338988"/>
                </a:cubicBezTo>
                <a:cubicBezTo>
                  <a:pt x="4935309" y="349488"/>
                  <a:pt x="4931530" y="359987"/>
                  <a:pt x="4927750" y="370067"/>
                </a:cubicBezTo>
                <a:cubicBezTo>
                  <a:pt x="4923970" y="380566"/>
                  <a:pt x="4920610" y="391486"/>
                  <a:pt x="4917250" y="403245"/>
                </a:cubicBezTo>
                <a:cubicBezTo>
                  <a:pt x="4912630" y="416685"/>
                  <a:pt x="4909691" y="430964"/>
                  <a:pt x="4907591" y="445243"/>
                </a:cubicBezTo>
                <a:cubicBezTo>
                  <a:pt x="4905491" y="459523"/>
                  <a:pt x="4902971" y="473382"/>
                  <a:pt x="4899191" y="486402"/>
                </a:cubicBezTo>
                <a:cubicBezTo>
                  <a:pt x="4897931" y="491022"/>
                  <a:pt x="4895831" y="499001"/>
                  <a:pt x="4892891" y="509921"/>
                </a:cubicBezTo>
                <a:cubicBezTo>
                  <a:pt x="4889951" y="521260"/>
                  <a:pt x="4886592" y="533860"/>
                  <a:pt x="4883651" y="548139"/>
                </a:cubicBezTo>
                <a:cubicBezTo>
                  <a:pt x="4880292" y="562419"/>
                  <a:pt x="4877772" y="577118"/>
                  <a:pt x="4875672" y="592237"/>
                </a:cubicBezTo>
                <a:cubicBezTo>
                  <a:pt x="4873572" y="607356"/>
                  <a:pt x="4873152" y="621216"/>
                  <a:pt x="4874412" y="633395"/>
                </a:cubicBezTo>
                <a:cubicBezTo>
                  <a:pt x="4875672" y="645575"/>
                  <a:pt x="4878612" y="655654"/>
                  <a:pt x="4883651" y="662794"/>
                </a:cubicBezTo>
                <a:cubicBezTo>
                  <a:pt x="4888692" y="670354"/>
                  <a:pt x="4897091" y="673294"/>
                  <a:pt x="4908011" y="672454"/>
                </a:cubicBezTo>
                <a:cubicBezTo>
                  <a:pt x="4916410" y="671614"/>
                  <a:pt x="4923130" y="668674"/>
                  <a:pt x="4928170" y="663634"/>
                </a:cubicBezTo>
                <a:cubicBezTo>
                  <a:pt x="4933210" y="658594"/>
                  <a:pt x="4936990" y="652715"/>
                  <a:pt x="4939509" y="645575"/>
                </a:cubicBezTo>
                <a:cubicBezTo>
                  <a:pt x="4942029" y="638435"/>
                  <a:pt x="4944129" y="630455"/>
                  <a:pt x="4944549" y="622056"/>
                </a:cubicBezTo>
                <a:cubicBezTo>
                  <a:pt x="4945389" y="613656"/>
                  <a:pt x="4945809" y="605256"/>
                  <a:pt x="4945389" y="597697"/>
                </a:cubicBezTo>
                <a:cubicBezTo>
                  <a:pt x="4945389" y="590977"/>
                  <a:pt x="4946649" y="582157"/>
                  <a:pt x="4948749" y="571658"/>
                </a:cubicBezTo>
                <a:cubicBezTo>
                  <a:pt x="4951269" y="561158"/>
                  <a:pt x="4953789" y="550239"/>
                  <a:pt x="4957569" y="539320"/>
                </a:cubicBezTo>
                <a:cubicBezTo>
                  <a:pt x="4960928" y="528400"/>
                  <a:pt x="4964708" y="517480"/>
                  <a:pt x="4968908" y="506561"/>
                </a:cubicBezTo>
                <a:cubicBezTo>
                  <a:pt x="4973108" y="496061"/>
                  <a:pt x="4976888" y="486822"/>
                  <a:pt x="4980668" y="479682"/>
                </a:cubicBezTo>
                <a:cubicBezTo>
                  <a:pt x="4982347" y="485562"/>
                  <a:pt x="4984868" y="487662"/>
                  <a:pt x="4989067" y="488502"/>
                </a:cubicBezTo>
                <a:moveTo>
                  <a:pt x="5020986" y="380146"/>
                </a:moveTo>
                <a:cubicBezTo>
                  <a:pt x="5018466" y="383926"/>
                  <a:pt x="5015526" y="387286"/>
                  <a:pt x="5013006" y="390226"/>
                </a:cubicBezTo>
                <a:cubicBezTo>
                  <a:pt x="5010066" y="392746"/>
                  <a:pt x="5007126" y="394846"/>
                  <a:pt x="5004606" y="395686"/>
                </a:cubicBezTo>
                <a:cubicBezTo>
                  <a:pt x="5001667" y="396946"/>
                  <a:pt x="4999567" y="396105"/>
                  <a:pt x="4997887" y="394426"/>
                </a:cubicBezTo>
                <a:cubicBezTo>
                  <a:pt x="4994107" y="390226"/>
                  <a:pt x="4993267" y="384766"/>
                  <a:pt x="4994947" y="377206"/>
                </a:cubicBezTo>
                <a:cubicBezTo>
                  <a:pt x="4996627" y="369647"/>
                  <a:pt x="4999567" y="362087"/>
                  <a:pt x="5004187" y="353687"/>
                </a:cubicBezTo>
                <a:cubicBezTo>
                  <a:pt x="5008806" y="345708"/>
                  <a:pt x="5013426" y="338148"/>
                  <a:pt x="5018886" y="331428"/>
                </a:cubicBezTo>
                <a:cubicBezTo>
                  <a:pt x="5024345" y="324709"/>
                  <a:pt x="5028966" y="320089"/>
                  <a:pt x="5032745" y="317149"/>
                </a:cubicBezTo>
                <a:cubicBezTo>
                  <a:pt x="5033165" y="326389"/>
                  <a:pt x="5033165" y="334788"/>
                  <a:pt x="5033585" y="343188"/>
                </a:cubicBezTo>
                <a:cubicBezTo>
                  <a:pt x="5034005" y="351167"/>
                  <a:pt x="5031905" y="359567"/>
                  <a:pt x="5027705" y="368387"/>
                </a:cubicBezTo>
                <a:cubicBezTo>
                  <a:pt x="5026025" y="372166"/>
                  <a:pt x="5023926" y="376366"/>
                  <a:pt x="5020986" y="380146"/>
                </a:cubicBezTo>
                <a:moveTo>
                  <a:pt x="5336392" y="237352"/>
                </a:moveTo>
                <a:cubicBezTo>
                  <a:pt x="5331773" y="252892"/>
                  <a:pt x="5330932" y="269271"/>
                  <a:pt x="5333872" y="285230"/>
                </a:cubicBezTo>
                <a:cubicBezTo>
                  <a:pt x="5337232" y="301190"/>
                  <a:pt x="5342272" y="318409"/>
                  <a:pt x="5349831" y="336048"/>
                </a:cubicBezTo>
                <a:cubicBezTo>
                  <a:pt x="5357391" y="353687"/>
                  <a:pt x="5364111" y="373427"/>
                  <a:pt x="5369991" y="395265"/>
                </a:cubicBezTo>
                <a:cubicBezTo>
                  <a:pt x="5370831" y="398205"/>
                  <a:pt x="5372091" y="402405"/>
                  <a:pt x="5374191" y="408285"/>
                </a:cubicBezTo>
                <a:cubicBezTo>
                  <a:pt x="5376291" y="414165"/>
                  <a:pt x="5378810" y="420464"/>
                  <a:pt x="5380490" y="428024"/>
                </a:cubicBezTo>
                <a:cubicBezTo>
                  <a:pt x="5382590" y="435584"/>
                  <a:pt x="5384690" y="443144"/>
                  <a:pt x="5386370" y="451543"/>
                </a:cubicBezTo>
                <a:cubicBezTo>
                  <a:pt x="5388050" y="459523"/>
                  <a:pt x="5388890" y="467502"/>
                  <a:pt x="5389310" y="474642"/>
                </a:cubicBezTo>
                <a:cubicBezTo>
                  <a:pt x="5389730" y="481782"/>
                  <a:pt x="5388890" y="488082"/>
                  <a:pt x="5386790" y="493121"/>
                </a:cubicBezTo>
                <a:cubicBezTo>
                  <a:pt x="5385110" y="498581"/>
                  <a:pt x="5381330" y="501941"/>
                  <a:pt x="5376291" y="503621"/>
                </a:cubicBezTo>
                <a:cubicBezTo>
                  <a:pt x="5372930" y="504461"/>
                  <a:pt x="5369571" y="504461"/>
                  <a:pt x="5366631" y="503621"/>
                </a:cubicBezTo>
                <a:cubicBezTo>
                  <a:pt x="5363691" y="502361"/>
                  <a:pt x="5361171" y="500681"/>
                  <a:pt x="5358231" y="498161"/>
                </a:cubicBezTo>
                <a:cubicBezTo>
                  <a:pt x="5355711" y="495641"/>
                  <a:pt x="5353192" y="493121"/>
                  <a:pt x="5351092" y="490182"/>
                </a:cubicBezTo>
                <a:cubicBezTo>
                  <a:pt x="5348572" y="487242"/>
                  <a:pt x="5346472" y="485142"/>
                  <a:pt x="5344792" y="483042"/>
                </a:cubicBezTo>
                <a:cubicBezTo>
                  <a:pt x="5338492" y="476322"/>
                  <a:pt x="5332612" y="473382"/>
                  <a:pt x="5326732" y="473382"/>
                </a:cubicBezTo>
                <a:cubicBezTo>
                  <a:pt x="5320853" y="473802"/>
                  <a:pt x="5315393" y="475902"/>
                  <a:pt x="5310773" y="480102"/>
                </a:cubicBezTo>
                <a:cubicBezTo>
                  <a:pt x="5306154" y="484302"/>
                  <a:pt x="5302374" y="490182"/>
                  <a:pt x="5299854" y="497321"/>
                </a:cubicBezTo>
                <a:cubicBezTo>
                  <a:pt x="5296914" y="504461"/>
                  <a:pt x="5296074" y="511181"/>
                  <a:pt x="5296914" y="517900"/>
                </a:cubicBezTo>
                <a:cubicBezTo>
                  <a:pt x="5297754" y="525460"/>
                  <a:pt x="5299854" y="533440"/>
                  <a:pt x="5303214" y="541419"/>
                </a:cubicBezTo>
                <a:cubicBezTo>
                  <a:pt x="5306574" y="549399"/>
                  <a:pt x="5311193" y="556959"/>
                  <a:pt x="5316653" y="563678"/>
                </a:cubicBezTo>
                <a:cubicBezTo>
                  <a:pt x="5322113" y="570398"/>
                  <a:pt x="5328832" y="575858"/>
                  <a:pt x="5336392" y="579638"/>
                </a:cubicBezTo>
                <a:cubicBezTo>
                  <a:pt x="5343952" y="583837"/>
                  <a:pt x="5352352" y="585518"/>
                  <a:pt x="5361171" y="585518"/>
                </a:cubicBezTo>
                <a:cubicBezTo>
                  <a:pt x="5384270" y="585097"/>
                  <a:pt x="5402750" y="579638"/>
                  <a:pt x="5416609" y="569558"/>
                </a:cubicBezTo>
                <a:cubicBezTo>
                  <a:pt x="5430468" y="559479"/>
                  <a:pt x="5441388" y="546879"/>
                  <a:pt x="5448527" y="532180"/>
                </a:cubicBezTo>
                <a:cubicBezTo>
                  <a:pt x="5455667" y="517480"/>
                  <a:pt x="5459447" y="501521"/>
                  <a:pt x="5460287" y="484302"/>
                </a:cubicBezTo>
                <a:cubicBezTo>
                  <a:pt x="5461127" y="467083"/>
                  <a:pt x="5459447" y="450703"/>
                  <a:pt x="5455247" y="435584"/>
                </a:cubicBezTo>
                <a:cubicBezTo>
                  <a:pt x="5452307" y="423824"/>
                  <a:pt x="5448107" y="412065"/>
                  <a:pt x="5442648" y="400305"/>
                </a:cubicBezTo>
                <a:cubicBezTo>
                  <a:pt x="5437188" y="388546"/>
                  <a:pt x="5431728" y="376786"/>
                  <a:pt x="5426688" y="364607"/>
                </a:cubicBezTo>
                <a:cubicBezTo>
                  <a:pt x="5421228" y="352428"/>
                  <a:pt x="5416609" y="340668"/>
                  <a:pt x="5412829" y="328489"/>
                </a:cubicBezTo>
                <a:cubicBezTo>
                  <a:pt x="5408629" y="316309"/>
                  <a:pt x="5406529" y="304130"/>
                  <a:pt x="5406109" y="292370"/>
                </a:cubicBezTo>
                <a:cubicBezTo>
                  <a:pt x="5405269" y="274731"/>
                  <a:pt x="5406529" y="262131"/>
                  <a:pt x="5409889" y="254152"/>
                </a:cubicBezTo>
                <a:cubicBezTo>
                  <a:pt x="5412829" y="246172"/>
                  <a:pt x="5417869" y="239872"/>
                  <a:pt x="5424588" y="236512"/>
                </a:cubicBezTo>
                <a:cubicBezTo>
                  <a:pt x="5431308" y="232733"/>
                  <a:pt x="5439708" y="229793"/>
                  <a:pt x="5449787" y="227693"/>
                </a:cubicBezTo>
                <a:cubicBezTo>
                  <a:pt x="5459867" y="225593"/>
                  <a:pt x="5471626" y="222233"/>
                  <a:pt x="5485066" y="217193"/>
                </a:cubicBezTo>
                <a:cubicBezTo>
                  <a:pt x="5490106" y="215513"/>
                  <a:pt x="5495565" y="212993"/>
                  <a:pt x="5500605" y="209214"/>
                </a:cubicBezTo>
                <a:cubicBezTo>
                  <a:pt x="5505645" y="205434"/>
                  <a:pt x="5508585" y="200394"/>
                  <a:pt x="5509845" y="194094"/>
                </a:cubicBezTo>
                <a:cubicBezTo>
                  <a:pt x="5508585" y="187795"/>
                  <a:pt x="5506905" y="181915"/>
                  <a:pt x="5504805" y="176875"/>
                </a:cubicBezTo>
                <a:cubicBezTo>
                  <a:pt x="5502705" y="171835"/>
                  <a:pt x="5500185" y="167635"/>
                  <a:pt x="5496405" y="164275"/>
                </a:cubicBezTo>
                <a:cubicBezTo>
                  <a:pt x="5493046" y="160916"/>
                  <a:pt x="5488425" y="158396"/>
                  <a:pt x="5482966" y="156716"/>
                </a:cubicBezTo>
                <a:cubicBezTo>
                  <a:pt x="5477506" y="155036"/>
                  <a:pt x="5470786" y="155036"/>
                  <a:pt x="5462387" y="155876"/>
                </a:cubicBezTo>
                <a:cubicBezTo>
                  <a:pt x="5455247" y="156716"/>
                  <a:pt x="5447268" y="157976"/>
                  <a:pt x="5438868" y="159236"/>
                </a:cubicBezTo>
                <a:cubicBezTo>
                  <a:pt x="5430468" y="160916"/>
                  <a:pt x="5422069" y="163016"/>
                  <a:pt x="5413669" y="165536"/>
                </a:cubicBezTo>
                <a:cubicBezTo>
                  <a:pt x="5405269" y="168055"/>
                  <a:pt x="5397709" y="171415"/>
                  <a:pt x="5390150" y="175195"/>
                </a:cubicBezTo>
                <a:cubicBezTo>
                  <a:pt x="5382590" y="178975"/>
                  <a:pt x="5376291" y="183595"/>
                  <a:pt x="5370831" y="189054"/>
                </a:cubicBezTo>
                <a:cubicBezTo>
                  <a:pt x="5352352" y="205014"/>
                  <a:pt x="5341012" y="221393"/>
                  <a:pt x="5336392" y="237352"/>
                </a:cubicBezTo>
                <a:moveTo>
                  <a:pt x="5839951" y="119757"/>
                </a:moveTo>
                <a:cubicBezTo>
                  <a:pt x="5836171" y="118917"/>
                  <a:pt x="5831971" y="118498"/>
                  <a:pt x="5827771" y="118498"/>
                </a:cubicBezTo>
                <a:cubicBezTo>
                  <a:pt x="5823571" y="118498"/>
                  <a:pt x="5818952" y="118917"/>
                  <a:pt x="5814332" y="119757"/>
                </a:cubicBezTo>
                <a:cubicBezTo>
                  <a:pt x="5809712" y="120597"/>
                  <a:pt x="5805512" y="121017"/>
                  <a:pt x="5802152" y="121437"/>
                </a:cubicBezTo>
                <a:cubicBezTo>
                  <a:pt x="5782833" y="123117"/>
                  <a:pt x="5763514" y="125637"/>
                  <a:pt x="5743775" y="129417"/>
                </a:cubicBezTo>
                <a:cubicBezTo>
                  <a:pt x="5724036" y="133197"/>
                  <a:pt x="5704296" y="137817"/>
                  <a:pt x="5684977" y="142856"/>
                </a:cubicBezTo>
                <a:cubicBezTo>
                  <a:pt x="5665658" y="148316"/>
                  <a:pt x="5647179" y="154196"/>
                  <a:pt x="5629540" y="160916"/>
                </a:cubicBezTo>
                <a:cubicBezTo>
                  <a:pt x="5611900" y="167635"/>
                  <a:pt x="5595521" y="175195"/>
                  <a:pt x="5580822" y="183175"/>
                </a:cubicBezTo>
                <a:cubicBezTo>
                  <a:pt x="5577042" y="185275"/>
                  <a:pt x="5574522" y="186955"/>
                  <a:pt x="5572842" y="188635"/>
                </a:cubicBezTo>
                <a:cubicBezTo>
                  <a:pt x="5571162" y="189894"/>
                  <a:pt x="5570742" y="193254"/>
                  <a:pt x="5571162" y="198294"/>
                </a:cubicBezTo>
                <a:cubicBezTo>
                  <a:pt x="5571582" y="202074"/>
                  <a:pt x="5572002" y="205854"/>
                  <a:pt x="5572842" y="209634"/>
                </a:cubicBezTo>
                <a:cubicBezTo>
                  <a:pt x="5573682" y="213833"/>
                  <a:pt x="5574942" y="217613"/>
                  <a:pt x="5576622" y="221393"/>
                </a:cubicBezTo>
                <a:cubicBezTo>
                  <a:pt x="5578302" y="225173"/>
                  <a:pt x="5580402" y="228533"/>
                  <a:pt x="5582921" y="231473"/>
                </a:cubicBezTo>
                <a:cubicBezTo>
                  <a:pt x="5585442" y="234412"/>
                  <a:pt x="5588381" y="236512"/>
                  <a:pt x="5592161" y="237352"/>
                </a:cubicBezTo>
                <a:cubicBezTo>
                  <a:pt x="5598881" y="239452"/>
                  <a:pt x="5606020" y="240292"/>
                  <a:pt x="5614420" y="239032"/>
                </a:cubicBezTo>
                <a:cubicBezTo>
                  <a:pt x="5622400" y="238192"/>
                  <a:pt x="5630380" y="236092"/>
                  <a:pt x="5638359" y="233572"/>
                </a:cubicBezTo>
                <a:cubicBezTo>
                  <a:pt x="5646339" y="231053"/>
                  <a:pt x="5654318" y="227693"/>
                  <a:pt x="5661878" y="224333"/>
                </a:cubicBezTo>
                <a:cubicBezTo>
                  <a:pt x="5669438" y="220973"/>
                  <a:pt x="5676158" y="218033"/>
                  <a:pt x="5682038" y="215093"/>
                </a:cubicBezTo>
                <a:cubicBezTo>
                  <a:pt x="5681197" y="240292"/>
                  <a:pt x="5679938" y="264231"/>
                  <a:pt x="5677417" y="286910"/>
                </a:cubicBezTo>
                <a:cubicBezTo>
                  <a:pt x="5675317" y="309589"/>
                  <a:pt x="5672798" y="332268"/>
                  <a:pt x="5670278" y="354527"/>
                </a:cubicBezTo>
                <a:cubicBezTo>
                  <a:pt x="5667758" y="376786"/>
                  <a:pt x="5666078" y="399465"/>
                  <a:pt x="5664818" y="421725"/>
                </a:cubicBezTo>
                <a:cubicBezTo>
                  <a:pt x="5663558" y="444403"/>
                  <a:pt x="5663558" y="467923"/>
                  <a:pt x="5665238" y="492281"/>
                </a:cubicBezTo>
                <a:cubicBezTo>
                  <a:pt x="5666078" y="498581"/>
                  <a:pt x="5667758" y="505301"/>
                  <a:pt x="5670278" y="512021"/>
                </a:cubicBezTo>
                <a:cubicBezTo>
                  <a:pt x="5673218" y="518740"/>
                  <a:pt x="5676578" y="524620"/>
                  <a:pt x="5680777" y="529240"/>
                </a:cubicBezTo>
                <a:cubicBezTo>
                  <a:pt x="5684977" y="533860"/>
                  <a:pt x="5690437" y="537220"/>
                  <a:pt x="5696317" y="538899"/>
                </a:cubicBezTo>
                <a:cubicBezTo>
                  <a:pt x="5702196" y="540999"/>
                  <a:pt x="5708916" y="540159"/>
                  <a:pt x="5715636" y="536799"/>
                </a:cubicBezTo>
                <a:cubicBezTo>
                  <a:pt x="5727815" y="531340"/>
                  <a:pt x="5735795" y="525040"/>
                  <a:pt x="5739575" y="518740"/>
                </a:cubicBezTo>
                <a:cubicBezTo>
                  <a:pt x="5743355" y="512441"/>
                  <a:pt x="5745035" y="505301"/>
                  <a:pt x="5744614" y="497321"/>
                </a:cubicBezTo>
                <a:cubicBezTo>
                  <a:pt x="5744195" y="489342"/>
                  <a:pt x="5742515" y="481362"/>
                  <a:pt x="5739995" y="472542"/>
                </a:cubicBezTo>
                <a:cubicBezTo>
                  <a:pt x="5737055" y="463723"/>
                  <a:pt x="5735375" y="454483"/>
                  <a:pt x="5734115" y="444403"/>
                </a:cubicBezTo>
                <a:cubicBezTo>
                  <a:pt x="5732015" y="425084"/>
                  <a:pt x="5732015" y="406185"/>
                  <a:pt x="5733275" y="386866"/>
                </a:cubicBezTo>
                <a:cubicBezTo>
                  <a:pt x="5734955" y="367547"/>
                  <a:pt x="5736635" y="348228"/>
                  <a:pt x="5738735" y="328908"/>
                </a:cubicBezTo>
                <a:cubicBezTo>
                  <a:pt x="5741255" y="309169"/>
                  <a:pt x="5743355" y="289850"/>
                  <a:pt x="5745455" y="270111"/>
                </a:cubicBezTo>
                <a:cubicBezTo>
                  <a:pt x="5747555" y="250372"/>
                  <a:pt x="5748814" y="230213"/>
                  <a:pt x="5748394" y="210054"/>
                </a:cubicBezTo>
                <a:cubicBezTo>
                  <a:pt x="5748394" y="205434"/>
                  <a:pt x="5749235" y="202074"/>
                  <a:pt x="5750494" y="199134"/>
                </a:cubicBezTo>
                <a:cubicBezTo>
                  <a:pt x="5752174" y="196614"/>
                  <a:pt x="5754274" y="194514"/>
                  <a:pt x="5756374" y="192834"/>
                </a:cubicBezTo>
                <a:cubicBezTo>
                  <a:pt x="5758894" y="191154"/>
                  <a:pt x="5761834" y="189894"/>
                  <a:pt x="5765194" y="189054"/>
                </a:cubicBezTo>
                <a:cubicBezTo>
                  <a:pt x="5768134" y="188214"/>
                  <a:pt x="5771493" y="187374"/>
                  <a:pt x="5774853" y="186535"/>
                </a:cubicBezTo>
                <a:cubicBezTo>
                  <a:pt x="5785773" y="183595"/>
                  <a:pt x="5797533" y="181915"/>
                  <a:pt x="5809712" y="181075"/>
                </a:cubicBezTo>
                <a:cubicBezTo>
                  <a:pt x="5821891" y="180655"/>
                  <a:pt x="5833651" y="178135"/>
                  <a:pt x="5844151" y="174775"/>
                </a:cubicBezTo>
                <a:cubicBezTo>
                  <a:pt x="5850030" y="172675"/>
                  <a:pt x="5853810" y="169735"/>
                  <a:pt x="5855070" y="165955"/>
                </a:cubicBezTo>
                <a:cubicBezTo>
                  <a:pt x="5856330" y="162175"/>
                  <a:pt x="5856750" y="157976"/>
                  <a:pt x="5855910" y="153356"/>
                </a:cubicBezTo>
                <a:cubicBezTo>
                  <a:pt x="5855070" y="148736"/>
                  <a:pt x="5853810" y="143696"/>
                  <a:pt x="5852130" y="138657"/>
                </a:cubicBezTo>
                <a:cubicBezTo>
                  <a:pt x="5850450" y="133617"/>
                  <a:pt x="5849610" y="128577"/>
                  <a:pt x="5849610" y="123537"/>
                </a:cubicBezTo>
                <a:cubicBezTo>
                  <a:pt x="5847510" y="122277"/>
                  <a:pt x="5843731" y="120597"/>
                  <a:pt x="5839951" y="119757"/>
                </a:cubicBezTo>
                <a:moveTo>
                  <a:pt x="6155357" y="108418"/>
                </a:moveTo>
                <a:cubicBezTo>
                  <a:pt x="6149477" y="107578"/>
                  <a:pt x="6144438" y="106318"/>
                  <a:pt x="6139818" y="104638"/>
                </a:cubicBezTo>
                <a:cubicBezTo>
                  <a:pt x="6130158" y="100858"/>
                  <a:pt x="6121758" y="97078"/>
                  <a:pt x="6114199" y="92459"/>
                </a:cubicBezTo>
                <a:cubicBezTo>
                  <a:pt x="6106639" y="88259"/>
                  <a:pt x="6097820" y="86159"/>
                  <a:pt x="6087320" y="86159"/>
                </a:cubicBezTo>
                <a:cubicBezTo>
                  <a:pt x="6074300" y="87839"/>
                  <a:pt x="6063381" y="92459"/>
                  <a:pt x="6054141" y="100018"/>
                </a:cubicBezTo>
                <a:cubicBezTo>
                  <a:pt x="6044902" y="107998"/>
                  <a:pt x="6036922" y="116817"/>
                  <a:pt x="6029782" y="127737"/>
                </a:cubicBezTo>
                <a:cubicBezTo>
                  <a:pt x="6022643" y="138657"/>
                  <a:pt x="6016343" y="149996"/>
                  <a:pt x="6010883" y="161756"/>
                </a:cubicBezTo>
                <a:cubicBezTo>
                  <a:pt x="6005003" y="173935"/>
                  <a:pt x="5999544" y="185275"/>
                  <a:pt x="5994084" y="195774"/>
                </a:cubicBezTo>
                <a:cubicBezTo>
                  <a:pt x="5988204" y="207534"/>
                  <a:pt x="5982325" y="222233"/>
                  <a:pt x="5975185" y="238612"/>
                </a:cubicBezTo>
                <a:cubicBezTo>
                  <a:pt x="5968465" y="255412"/>
                  <a:pt x="5962165" y="273051"/>
                  <a:pt x="5956285" y="291950"/>
                </a:cubicBezTo>
                <a:cubicBezTo>
                  <a:pt x="5950406" y="310849"/>
                  <a:pt x="5946206" y="330168"/>
                  <a:pt x="5942846" y="349488"/>
                </a:cubicBezTo>
                <a:cubicBezTo>
                  <a:pt x="5939486" y="369227"/>
                  <a:pt x="5938646" y="387706"/>
                  <a:pt x="5940326" y="405345"/>
                </a:cubicBezTo>
                <a:cubicBezTo>
                  <a:pt x="5942006" y="422984"/>
                  <a:pt x="5946626" y="438944"/>
                  <a:pt x="5954605" y="453643"/>
                </a:cubicBezTo>
                <a:cubicBezTo>
                  <a:pt x="5962165" y="467923"/>
                  <a:pt x="5974345" y="479682"/>
                  <a:pt x="5991144" y="488502"/>
                </a:cubicBezTo>
                <a:cubicBezTo>
                  <a:pt x="5998284" y="492281"/>
                  <a:pt x="6005003" y="494381"/>
                  <a:pt x="6011723" y="495641"/>
                </a:cubicBezTo>
                <a:cubicBezTo>
                  <a:pt x="6018443" y="496901"/>
                  <a:pt x="6025163" y="496901"/>
                  <a:pt x="6031882" y="496481"/>
                </a:cubicBezTo>
                <a:cubicBezTo>
                  <a:pt x="6044902" y="495221"/>
                  <a:pt x="6058341" y="490182"/>
                  <a:pt x="6072621" y="482202"/>
                </a:cubicBezTo>
                <a:cubicBezTo>
                  <a:pt x="6086900" y="474222"/>
                  <a:pt x="6100339" y="464143"/>
                  <a:pt x="6113359" y="452803"/>
                </a:cubicBezTo>
                <a:cubicBezTo>
                  <a:pt x="6126378" y="441463"/>
                  <a:pt x="6138138" y="429284"/>
                  <a:pt x="6148637" y="416685"/>
                </a:cubicBezTo>
                <a:cubicBezTo>
                  <a:pt x="6159137" y="404085"/>
                  <a:pt x="6167117" y="392746"/>
                  <a:pt x="6172576" y="382666"/>
                </a:cubicBezTo>
                <a:cubicBezTo>
                  <a:pt x="6177196" y="375106"/>
                  <a:pt x="6181816" y="367967"/>
                  <a:pt x="6186016" y="361667"/>
                </a:cubicBezTo>
                <a:cubicBezTo>
                  <a:pt x="6190216" y="355787"/>
                  <a:pt x="6194416" y="349067"/>
                  <a:pt x="6197775" y="342348"/>
                </a:cubicBezTo>
                <a:cubicBezTo>
                  <a:pt x="6201555" y="335628"/>
                  <a:pt x="6204915" y="328068"/>
                  <a:pt x="6207855" y="319249"/>
                </a:cubicBezTo>
                <a:cubicBezTo>
                  <a:pt x="6210794" y="310849"/>
                  <a:pt x="6212894" y="300350"/>
                  <a:pt x="6214574" y="288170"/>
                </a:cubicBezTo>
                <a:cubicBezTo>
                  <a:pt x="6214994" y="281450"/>
                  <a:pt x="6216254" y="275571"/>
                  <a:pt x="6218774" y="270531"/>
                </a:cubicBezTo>
                <a:cubicBezTo>
                  <a:pt x="6221294" y="265491"/>
                  <a:pt x="6222134" y="260451"/>
                  <a:pt x="6222134" y="255832"/>
                </a:cubicBezTo>
                <a:cubicBezTo>
                  <a:pt x="6223394" y="244912"/>
                  <a:pt x="6224654" y="231893"/>
                  <a:pt x="6224654" y="216773"/>
                </a:cubicBezTo>
                <a:cubicBezTo>
                  <a:pt x="6225074" y="201654"/>
                  <a:pt x="6223814" y="186535"/>
                  <a:pt x="6220454" y="171415"/>
                </a:cubicBezTo>
                <a:cubicBezTo>
                  <a:pt x="6217094" y="156716"/>
                  <a:pt x="6211635" y="143276"/>
                  <a:pt x="6204075" y="131937"/>
                </a:cubicBezTo>
                <a:cubicBezTo>
                  <a:pt x="6196515" y="120177"/>
                  <a:pt x="6185596" y="113038"/>
                  <a:pt x="6172156" y="110098"/>
                </a:cubicBezTo>
                <a:cubicBezTo>
                  <a:pt x="6166276" y="110518"/>
                  <a:pt x="6160817" y="109678"/>
                  <a:pt x="6155357" y="108418"/>
                </a:cubicBezTo>
                <a:moveTo>
                  <a:pt x="6134778" y="332268"/>
                </a:moveTo>
                <a:cubicBezTo>
                  <a:pt x="6126798" y="346548"/>
                  <a:pt x="6117559" y="359567"/>
                  <a:pt x="6107059" y="372166"/>
                </a:cubicBezTo>
                <a:cubicBezTo>
                  <a:pt x="6096979" y="384766"/>
                  <a:pt x="6085640" y="395686"/>
                  <a:pt x="6073041" y="405765"/>
                </a:cubicBezTo>
                <a:cubicBezTo>
                  <a:pt x="6060861" y="415425"/>
                  <a:pt x="6048682" y="422564"/>
                  <a:pt x="6036502" y="427604"/>
                </a:cubicBezTo>
                <a:cubicBezTo>
                  <a:pt x="6029782" y="430124"/>
                  <a:pt x="6024323" y="430124"/>
                  <a:pt x="6019703" y="427604"/>
                </a:cubicBezTo>
                <a:cubicBezTo>
                  <a:pt x="6015083" y="425084"/>
                  <a:pt x="6011303" y="421304"/>
                  <a:pt x="6008783" y="415845"/>
                </a:cubicBezTo>
                <a:cubicBezTo>
                  <a:pt x="6005844" y="410385"/>
                  <a:pt x="6004164" y="404085"/>
                  <a:pt x="6002903" y="396946"/>
                </a:cubicBezTo>
                <a:cubicBezTo>
                  <a:pt x="6001644" y="389806"/>
                  <a:pt x="6001224" y="382246"/>
                  <a:pt x="6001224" y="375106"/>
                </a:cubicBezTo>
                <a:cubicBezTo>
                  <a:pt x="6001224" y="367967"/>
                  <a:pt x="6001644" y="360827"/>
                  <a:pt x="6002903" y="354527"/>
                </a:cubicBezTo>
                <a:cubicBezTo>
                  <a:pt x="6004164" y="348228"/>
                  <a:pt x="6005424" y="343608"/>
                  <a:pt x="6007524" y="340248"/>
                </a:cubicBezTo>
                <a:cubicBezTo>
                  <a:pt x="6012983" y="330168"/>
                  <a:pt x="6016763" y="319249"/>
                  <a:pt x="6018863" y="307069"/>
                </a:cubicBezTo>
                <a:cubicBezTo>
                  <a:pt x="6020963" y="294890"/>
                  <a:pt x="6023483" y="283550"/>
                  <a:pt x="6026002" y="272211"/>
                </a:cubicBezTo>
                <a:cubicBezTo>
                  <a:pt x="6030202" y="253732"/>
                  <a:pt x="6038182" y="236512"/>
                  <a:pt x="6050362" y="219713"/>
                </a:cubicBezTo>
                <a:cubicBezTo>
                  <a:pt x="6062121" y="202914"/>
                  <a:pt x="6075980" y="189054"/>
                  <a:pt x="6091520" y="177715"/>
                </a:cubicBezTo>
                <a:cubicBezTo>
                  <a:pt x="6096140" y="174775"/>
                  <a:pt x="6100759" y="173515"/>
                  <a:pt x="6105799" y="174355"/>
                </a:cubicBezTo>
                <a:cubicBezTo>
                  <a:pt x="6110839" y="175195"/>
                  <a:pt x="6116298" y="175195"/>
                  <a:pt x="6122598" y="174355"/>
                </a:cubicBezTo>
                <a:cubicBezTo>
                  <a:pt x="6130578" y="173515"/>
                  <a:pt x="6136878" y="175195"/>
                  <a:pt x="6141918" y="179395"/>
                </a:cubicBezTo>
                <a:cubicBezTo>
                  <a:pt x="6146957" y="183595"/>
                  <a:pt x="6150737" y="189054"/>
                  <a:pt x="6153257" y="196614"/>
                </a:cubicBezTo>
                <a:cubicBezTo>
                  <a:pt x="6155777" y="203754"/>
                  <a:pt x="6157457" y="212153"/>
                  <a:pt x="6158297" y="220973"/>
                </a:cubicBezTo>
                <a:cubicBezTo>
                  <a:pt x="6159137" y="229793"/>
                  <a:pt x="6159137" y="239032"/>
                  <a:pt x="6158717" y="247852"/>
                </a:cubicBezTo>
                <a:cubicBezTo>
                  <a:pt x="6158297" y="256671"/>
                  <a:pt x="6157457" y="265071"/>
                  <a:pt x="6156197" y="272631"/>
                </a:cubicBezTo>
                <a:cubicBezTo>
                  <a:pt x="6154937" y="280191"/>
                  <a:pt x="6153677" y="286070"/>
                  <a:pt x="6152837" y="290270"/>
                </a:cubicBezTo>
                <a:cubicBezTo>
                  <a:pt x="6148637" y="304549"/>
                  <a:pt x="6142758" y="317989"/>
                  <a:pt x="6134778" y="332268"/>
                </a:cubicBezTo>
                <a:moveTo>
                  <a:pt x="6433385" y="242392"/>
                </a:moveTo>
                <a:cubicBezTo>
                  <a:pt x="6440945" y="242812"/>
                  <a:pt x="6446825" y="243232"/>
                  <a:pt x="6451864" y="243652"/>
                </a:cubicBezTo>
                <a:cubicBezTo>
                  <a:pt x="6458164" y="243652"/>
                  <a:pt x="6463624" y="241972"/>
                  <a:pt x="6469083" y="239032"/>
                </a:cubicBezTo>
                <a:cubicBezTo>
                  <a:pt x="6474123" y="236092"/>
                  <a:pt x="6479163" y="231893"/>
                  <a:pt x="6483363" y="227273"/>
                </a:cubicBezTo>
                <a:cubicBezTo>
                  <a:pt x="6487563" y="222653"/>
                  <a:pt x="6491762" y="217193"/>
                  <a:pt x="6495542" y="211313"/>
                </a:cubicBezTo>
                <a:cubicBezTo>
                  <a:pt x="6499322" y="205854"/>
                  <a:pt x="6502682" y="200394"/>
                  <a:pt x="6505622" y="195774"/>
                </a:cubicBezTo>
                <a:cubicBezTo>
                  <a:pt x="6508982" y="186955"/>
                  <a:pt x="6513181" y="178555"/>
                  <a:pt x="6518641" y="169735"/>
                </a:cubicBezTo>
                <a:cubicBezTo>
                  <a:pt x="6523681" y="161336"/>
                  <a:pt x="6528301" y="152516"/>
                  <a:pt x="6532921" y="143696"/>
                </a:cubicBezTo>
                <a:cubicBezTo>
                  <a:pt x="6537121" y="135297"/>
                  <a:pt x="6540901" y="126057"/>
                  <a:pt x="6543420" y="116817"/>
                </a:cubicBezTo>
                <a:cubicBezTo>
                  <a:pt x="6545940" y="107578"/>
                  <a:pt x="6546780" y="97918"/>
                  <a:pt x="6545940" y="87839"/>
                </a:cubicBezTo>
                <a:cubicBezTo>
                  <a:pt x="6544680" y="73979"/>
                  <a:pt x="6539221" y="61380"/>
                  <a:pt x="6530401" y="50460"/>
                </a:cubicBezTo>
                <a:cubicBezTo>
                  <a:pt x="6521161" y="39121"/>
                  <a:pt x="6510242" y="29881"/>
                  <a:pt x="6497642" y="22322"/>
                </a:cubicBezTo>
                <a:cubicBezTo>
                  <a:pt x="6484623" y="14762"/>
                  <a:pt x="6471183" y="9302"/>
                  <a:pt x="6456484" y="6362"/>
                </a:cubicBezTo>
                <a:cubicBezTo>
                  <a:pt x="6441784" y="3002"/>
                  <a:pt x="6427925" y="3002"/>
                  <a:pt x="6414486" y="5522"/>
                </a:cubicBezTo>
                <a:cubicBezTo>
                  <a:pt x="6411126" y="1322"/>
                  <a:pt x="6406086" y="-357"/>
                  <a:pt x="6399366" y="63"/>
                </a:cubicBezTo>
                <a:cubicBezTo>
                  <a:pt x="6392647" y="482"/>
                  <a:pt x="6385507" y="2582"/>
                  <a:pt x="6378367" y="5522"/>
                </a:cubicBezTo>
                <a:cubicBezTo>
                  <a:pt x="6371228" y="8462"/>
                  <a:pt x="6364928" y="12662"/>
                  <a:pt x="6359468" y="17702"/>
                </a:cubicBezTo>
                <a:cubicBezTo>
                  <a:pt x="6354009" y="22742"/>
                  <a:pt x="6351069" y="27361"/>
                  <a:pt x="6350229" y="32401"/>
                </a:cubicBezTo>
                <a:cubicBezTo>
                  <a:pt x="6349388" y="38701"/>
                  <a:pt x="6349809" y="45001"/>
                  <a:pt x="6351909" y="51300"/>
                </a:cubicBezTo>
                <a:cubicBezTo>
                  <a:pt x="6354009" y="57600"/>
                  <a:pt x="6354848" y="63900"/>
                  <a:pt x="6355268" y="70200"/>
                </a:cubicBezTo>
                <a:cubicBezTo>
                  <a:pt x="6355688" y="82379"/>
                  <a:pt x="6354429" y="94139"/>
                  <a:pt x="6351909" y="106318"/>
                </a:cubicBezTo>
                <a:cubicBezTo>
                  <a:pt x="6348969" y="118498"/>
                  <a:pt x="6347289" y="130677"/>
                  <a:pt x="6347289" y="142437"/>
                </a:cubicBezTo>
                <a:cubicBezTo>
                  <a:pt x="6347289" y="163016"/>
                  <a:pt x="6346449" y="184015"/>
                  <a:pt x="6344349" y="205854"/>
                </a:cubicBezTo>
                <a:cubicBezTo>
                  <a:pt x="6342249" y="227693"/>
                  <a:pt x="6340149" y="249532"/>
                  <a:pt x="6338469" y="271371"/>
                </a:cubicBezTo>
                <a:cubicBezTo>
                  <a:pt x="6336789" y="293630"/>
                  <a:pt x="6335109" y="315469"/>
                  <a:pt x="6334269" y="337308"/>
                </a:cubicBezTo>
                <a:cubicBezTo>
                  <a:pt x="6333429" y="359147"/>
                  <a:pt x="6334269" y="380566"/>
                  <a:pt x="6336369" y="401565"/>
                </a:cubicBezTo>
                <a:cubicBezTo>
                  <a:pt x="6337629" y="413325"/>
                  <a:pt x="6338049" y="423404"/>
                  <a:pt x="6337629" y="431804"/>
                </a:cubicBezTo>
                <a:cubicBezTo>
                  <a:pt x="6337629" y="440204"/>
                  <a:pt x="6337209" y="447343"/>
                  <a:pt x="6336789" y="453223"/>
                </a:cubicBezTo>
                <a:cubicBezTo>
                  <a:pt x="6336369" y="459523"/>
                  <a:pt x="6335949" y="465403"/>
                  <a:pt x="6335949" y="470442"/>
                </a:cubicBezTo>
                <a:cubicBezTo>
                  <a:pt x="6335949" y="475902"/>
                  <a:pt x="6336369" y="481362"/>
                  <a:pt x="6337629" y="487662"/>
                </a:cubicBezTo>
                <a:cubicBezTo>
                  <a:pt x="6338889" y="493961"/>
                  <a:pt x="6342669" y="499001"/>
                  <a:pt x="6348969" y="502781"/>
                </a:cubicBezTo>
                <a:cubicBezTo>
                  <a:pt x="6354848" y="506561"/>
                  <a:pt x="6361568" y="508661"/>
                  <a:pt x="6369128" y="509501"/>
                </a:cubicBezTo>
                <a:cubicBezTo>
                  <a:pt x="6376267" y="510341"/>
                  <a:pt x="6383827" y="509501"/>
                  <a:pt x="6390547" y="507401"/>
                </a:cubicBezTo>
                <a:cubicBezTo>
                  <a:pt x="6397686" y="505301"/>
                  <a:pt x="6403146" y="501521"/>
                  <a:pt x="6406926" y="496481"/>
                </a:cubicBezTo>
                <a:cubicBezTo>
                  <a:pt x="6409026" y="493961"/>
                  <a:pt x="6410286" y="489342"/>
                  <a:pt x="6411126" y="482202"/>
                </a:cubicBezTo>
                <a:cubicBezTo>
                  <a:pt x="6411966" y="475062"/>
                  <a:pt x="6412806" y="467083"/>
                  <a:pt x="6412806" y="458683"/>
                </a:cubicBezTo>
                <a:cubicBezTo>
                  <a:pt x="6412806" y="450283"/>
                  <a:pt x="6412806" y="442304"/>
                  <a:pt x="6412806" y="434324"/>
                </a:cubicBezTo>
                <a:cubicBezTo>
                  <a:pt x="6412386" y="426764"/>
                  <a:pt x="6412386" y="420885"/>
                  <a:pt x="6411966" y="417105"/>
                </a:cubicBezTo>
                <a:cubicBezTo>
                  <a:pt x="6411126" y="409125"/>
                  <a:pt x="6410286" y="402405"/>
                  <a:pt x="6409866" y="396946"/>
                </a:cubicBezTo>
                <a:cubicBezTo>
                  <a:pt x="6409446" y="391486"/>
                  <a:pt x="6408606" y="386026"/>
                  <a:pt x="6408606" y="380986"/>
                </a:cubicBezTo>
                <a:cubicBezTo>
                  <a:pt x="6408186" y="375946"/>
                  <a:pt x="6408186" y="370067"/>
                  <a:pt x="6408186" y="363767"/>
                </a:cubicBezTo>
                <a:cubicBezTo>
                  <a:pt x="6408186" y="357887"/>
                  <a:pt x="6408606" y="349907"/>
                  <a:pt x="6409446" y="340248"/>
                </a:cubicBezTo>
                <a:cubicBezTo>
                  <a:pt x="6409866" y="333528"/>
                  <a:pt x="6409866" y="326389"/>
                  <a:pt x="6409446" y="319669"/>
                </a:cubicBezTo>
                <a:cubicBezTo>
                  <a:pt x="6409026" y="312949"/>
                  <a:pt x="6409026" y="305809"/>
                  <a:pt x="6408606" y="297830"/>
                </a:cubicBezTo>
                <a:cubicBezTo>
                  <a:pt x="6408606" y="289850"/>
                  <a:pt x="6409026" y="281450"/>
                  <a:pt x="6409866" y="271371"/>
                </a:cubicBezTo>
                <a:cubicBezTo>
                  <a:pt x="6410706" y="261711"/>
                  <a:pt x="6413226" y="249952"/>
                  <a:pt x="6417006" y="236512"/>
                </a:cubicBezTo>
                <a:cubicBezTo>
                  <a:pt x="6420366" y="239872"/>
                  <a:pt x="6426245" y="241972"/>
                  <a:pt x="6433385" y="242392"/>
                </a:cubicBezTo>
                <a:moveTo>
                  <a:pt x="6423726" y="98758"/>
                </a:moveTo>
                <a:cubicBezTo>
                  <a:pt x="6425406" y="94978"/>
                  <a:pt x="6429185" y="92878"/>
                  <a:pt x="6434225" y="92459"/>
                </a:cubicBezTo>
                <a:cubicBezTo>
                  <a:pt x="6439265" y="91619"/>
                  <a:pt x="6443465" y="92878"/>
                  <a:pt x="6446405" y="94978"/>
                </a:cubicBezTo>
                <a:cubicBezTo>
                  <a:pt x="6450184" y="97918"/>
                  <a:pt x="6452704" y="101278"/>
                  <a:pt x="6453964" y="105478"/>
                </a:cubicBezTo>
                <a:cubicBezTo>
                  <a:pt x="6455224" y="109678"/>
                  <a:pt x="6455644" y="113878"/>
                  <a:pt x="6454804" y="118077"/>
                </a:cubicBezTo>
                <a:cubicBezTo>
                  <a:pt x="6454384" y="122277"/>
                  <a:pt x="6452704" y="126897"/>
                  <a:pt x="6450605" y="130677"/>
                </a:cubicBezTo>
                <a:cubicBezTo>
                  <a:pt x="6448505" y="134877"/>
                  <a:pt x="6445984" y="138657"/>
                  <a:pt x="6442625" y="141176"/>
                </a:cubicBezTo>
                <a:cubicBezTo>
                  <a:pt x="6442205" y="141597"/>
                  <a:pt x="6440945" y="142437"/>
                  <a:pt x="6438425" y="144116"/>
                </a:cubicBezTo>
                <a:cubicBezTo>
                  <a:pt x="6435905" y="145796"/>
                  <a:pt x="6433385" y="147056"/>
                  <a:pt x="6430865" y="148736"/>
                </a:cubicBezTo>
                <a:cubicBezTo>
                  <a:pt x="6428345" y="150416"/>
                  <a:pt x="6425825" y="151256"/>
                  <a:pt x="6423726" y="152096"/>
                </a:cubicBezTo>
                <a:cubicBezTo>
                  <a:pt x="6421626" y="152936"/>
                  <a:pt x="6420366" y="152936"/>
                  <a:pt x="6419946" y="151676"/>
                </a:cubicBezTo>
                <a:cubicBezTo>
                  <a:pt x="6419526" y="148736"/>
                  <a:pt x="6418685" y="144956"/>
                  <a:pt x="6418266" y="139497"/>
                </a:cubicBezTo>
                <a:cubicBezTo>
                  <a:pt x="6417846" y="134037"/>
                  <a:pt x="6417846" y="128997"/>
                  <a:pt x="6418266" y="123537"/>
                </a:cubicBezTo>
                <a:cubicBezTo>
                  <a:pt x="6418685" y="118077"/>
                  <a:pt x="6419106" y="113038"/>
                  <a:pt x="6419946" y="107998"/>
                </a:cubicBezTo>
                <a:cubicBezTo>
                  <a:pt x="6420785" y="102958"/>
                  <a:pt x="6422046" y="99178"/>
                  <a:pt x="6423306" y="96239"/>
                </a:cubicBezTo>
                <a:lnTo>
                  <a:pt x="6423726" y="98758"/>
                </a:lnTo>
                <a:close/>
                <a:moveTo>
                  <a:pt x="6664795" y="97498"/>
                </a:moveTo>
                <a:cubicBezTo>
                  <a:pt x="6660175" y="113458"/>
                  <a:pt x="6659335" y="129417"/>
                  <a:pt x="6662275" y="145376"/>
                </a:cubicBezTo>
                <a:cubicBezTo>
                  <a:pt x="6665215" y="161336"/>
                  <a:pt x="6670675" y="178555"/>
                  <a:pt x="6678235" y="196194"/>
                </a:cubicBezTo>
                <a:cubicBezTo>
                  <a:pt x="6685794" y="213833"/>
                  <a:pt x="6692514" y="233572"/>
                  <a:pt x="6698394" y="254992"/>
                </a:cubicBezTo>
                <a:cubicBezTo>
                  <a:pt x="6698814" y="257932"/>
                  <a:pt x="6700494" y="262131"/>
                  <a:pt x="6702594" y="268011"/>
                </a:cubicBezTo>
                <a:cubicBezTo>
                  <a:pt x="6704694" y="273891"/>
                  <a:pt x="6706794" y="280191"/>
                  <a:pt x="6708893" y="287750"/>
                </a:cubicBezTo>
                <a:cubicBezTo>
                  <a:pt x="6710993" y="295310"/>
                  <a:pt x="6713093" y="302869"/>
                  <a:pt x="6714773" y="311269"/>
                </a:cubicBezTo>
                <a:cubicBezTo>
                  <a:pt x="6716453" y="319669"/>
                  <a:pt x="6717713" y="327229"/>
                  <a:pt x="6717713" y="333948"/>
                </a:cubicBezTo>
                <a:cubicBezTo>
                  <a:pt x="6718133" y="341088"/>
                  <a:pt x="6717293" y="347388"/>
                  <a:pt x="6715193" y="352428"/>
                </a:cubicBezTo>
                <a:cubicBezTo>
                  <a:pt x="6713513" y="357887"/>
                  <a:pt x="6709733" y="361247"/>
                  <a:pt x="6704694" y="362927"/>
                </a:cubicBezTo>
                <a:cubicBezTo>
                  <a:pt x="6701334" y="364187"/>
                  <a:pt x="6697973" y="364187"/>
                  <a:pt x="6695034" y="362927"/>
                </a:cubicBezTo>
                <a:cubicBezTo>
                  <a:pt x="6692094" y="361667"/>
                  <a:pt x="6689574" y="359987"/>
                  <a:pt x="6686634" y="357467"/>
                </a:cubicBezTo>
                <a:cubicBezTo>
                  <a:pt x="6684114" y="354947"/>
                  <a:pt x="6681595" y="352428"/>
                  <a:pt x="6679074" y="349488"/>
                </a:cubicBezTo>
                <a:cubicBezTo>
                  <a:pt x="6676555" y="346548"/>
                  <a:pt x="6674874" y="344028"/>
                  <a:pt x="6672775" y="342348"/>
                </a:cubicBezTo>
                <a:cubicBezTo>
                  <a:pt x="6666475" y="335628"/>
                  <a:pt x="6660596" y="332688"/>
                  <a:pt x="6654716" y="332688"/>
                </a:cubicBezTo>
                <a:cubicBezTo>
                  <a:pt x="6648836" y="332688"/>
                  <a:pt x="6643376" y="335208"/>
                  <a:pt x="6638756" y="339408"/>
                </a:cubicBezTo>
                <a:cubicBezTo>
                  <a:pt x="6634136" y="343608"/>
                  <a:pt x="6630356" y="349488"/>
                  <a:pt x="6627837" y="356627"/>
                </a:cubicBezTo>
                <a:cubicBezTo>
                  <a:pt x="6624897" y="363767"/>
                  <a:pt x="6624057" y="370487"/>
                  <a:pt x="6624897" y="377626"/>
                </a:cubicBezTo>
                <a:cubicBezTo>
                  <a:pt x="6625737" y="385186"/>
                  <a:pt x="6627837" y="393166"/>
                  <a:pt x="6631197" y="401145"/>
                </a:cubicBezTo>
                <a:cubicBezTo>
                  <a:pt x="6634556" y="409125"/>
                  <a:pt x="6639176" y="416685"/>
                  <a:pt x="6644636" y="423404"/>
                </a:cubicBezTo>
                <a:cubicBezTo>
                  <a:pt x="6650096" y="430124"/>
                  <a:pt x="6656816" y="435584"/>
                  <a:pt x="6664375" y="439784"/>
                </a:cubicBezTo>
                <a:cubicBezTo>
                  <a:pt x="6671935" y="443984"/>
                  <a:pt x="6680334" y="446083"/>
                  <a:pt x="6689154" y="445663"/>
                </a:cubicBezTo>
                <a:cubicBezTo>
                  <a:pt x="6712253" y="444824"/>
                  <a:pt x="6730312" y="439784"/>
                  <a:pt x="6744592" y="429284"/>
                </a:cubicBezTo>
                <a:cubicBezTo>
                  <a:pt x="6758451" y="419205"/>
                  <a:pt x="6769370" y="406605"/>
                  <a:pt x="6776510" y="391906"/>
                </a:cubicBezTo>
                <a:cubicBezTo>
                  <a:pt x="6783650" y="377206"/>
                  <a:pt x="6787430" y="361247"/>
                  <a:pt x="6788270" y="344028"/>
                </a:cubicBezTo>
                <a:cubicBezTo>
                  <a:pt x="6789110" y="326808"/>
                  <a:pt x="6787430" y="310429"/>
                  <a:pt x="6783230" y="295310"/>
                </a:cubicBezTo>
                <a:cubicBezTo>
                  <a:pt x="6780290" y="283550"/>
                  <a:pt x="6776091" y="271791"/>
                  <a:pt x="6770631" y="260031"/>
                </a:cubicBezTo>
                <a:cubicBezTo>
                  <a:pt x="6765171" y="248272"/>
                  <a:pt x="6759711" y="236512"/>
                  <a:pt x="6754671" y="224333"/>
                </a:cubicBezTo>
                <a:cubicBezTo>
                  <a:pt x="6749212" y="212153"/>
                  <a:pt x="6745012" y="200394"/>
                  <a:pt x="6740812" y="188214"/>
                </a:cubicBezTo>
                <a:cubicBezTo>
                  <a:pt x="6736612" y="176035"/>
                  <a:pt x="6734512" y="163856"/>
                  <a:pt x="6734092" y="152096"/>
                </a:cubicBezTo>
                <a:cubicBezTo>
                  <a:pt x="6733252" y="134877"/>
                  <a:pt x="6734512" y="121857"/>
                  <a:pt x="6737872" y="113878"/>
                </a:cubicBezTo>
                <a:cubicBezTo>
                  <a:pt x="6741232" y="105478"/>
                  <a:pt x="6745852" y="99598"/>
                  <a:pt x="6752571" y="95818"/>
                </a:cubicBezTo>
                <a:cubicBezTo>
                  <a:pt x="6759291" y="92039"/>
                  <a:pt x="6767691" y="89099"/>
                  <a:pt x="6777770" y="86999"/>
                </a:cubicBezTo>
                <a:cubicBezTo>
                  <a:pt x="6787850" y="84899"/>
                  <a:pt x="6799609" y="81539"/>
                  <a:pt x="6813049" y="76499"/>
                </a:cubicBezTo>
                <a:cubicBezTo>
                  <a:pt x="6818089" y="74819"/>
                  <a:pt x="6823548" y="72300"/>
                  <a:pt x="6828588" y="68520"/>
                </a:cubicBezTo>
                <a:cubicBezTo>
                  <a:pt x="6833628" y="65160"/>
                  <a:pt x="6836988" y="60120"/>
                  <a:pt x="6837828" y="53400"/>
                </a:cubicBezTo>
                <a:cubicBezTo>
                  <a:pt x="6836568" y="47101"/>
                  <a:pt x="6834888" y="41221"/>
                  <a:pt x="6832788" y="36181"/>
                </a:cubicBezTo>
                <a:cubicBezTo>
                  <a:pt x="6830688" y="31141"/>
                  <a:pt x="6828168" y="26942"/>
                  <a:pt x="6824808" y="23162"/>
                </a:cubicBezTo>
                <a:cubicBezTo>
                  <a:pt x="6821448" y="19802"/>
                  <a:pt x="6816829" y="17282"/>
                  <a:pt x="6811369" y="15602"/>
                </a:cubicBezTo>
                <a:cubicBezTo>
                  <a:pt x="6805909" y="13922"/>
                  <a:pt x="6799190" y="13502"/>
                  <a:pt x="6790790" y="14342"/>
                </a:cubicBezTo>
                <a:cubicBezTo>
                  <a:pt x="6783650" y="15182"/>
                  <a:pt x="6775670" y="16022"/>
                  <a:pt x="6767271" y="18122"/>
                </a:cubicBezTo>
                <a:cubicBezTo>
                  <a:pt x="6758871" y="19802"/>
                  <a:pt x="6750471" y="21902"/>
                  <a:pt x="6742492" y="24421"/>
                </a:cubicBezTo>
                <a:cubicBezTo>
                  <a:pt x="6734092" y="26942"/>
                  <a:pt x="6726532" y="30301"/>
                  <a:pt x="6718973" y="34081"/>
                </a:cubicBezTo>
                <a:cubicBezTo>
                  <a:pt x="6711413" y="37861"/>
                  <a:pt x="6705113" y="42481"/>
                  <a:pt x="6700073" y="47941"/>
                </a:cubicBezTo>
                <a:cubicBezTo>
                  <a:pt x="6681174" y="65160"/>
                  <a:pt x="6669415" y="81959"/>
                  <a:pt x="6664795" y="97498"/>
                </a:cubicBezTo>
              </a:path>
            </a:pathLst>
          </a:custGeom>
          <a:solidFill>
            <a:srgbClr val="000000"/>
          </a:solidFill>
          <a:ln w="41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FACD9BB9-A5DE-3355-3C39-DA49E11C9D2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050" y="2124075"/>
            <a:ext cx="4903788" cy="4464050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holder for an illustratio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F7C7F9F8-F2E5-D258-0600-C670E1305EB5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EC03C6E7-E325-0BF0-4FB4-15E708A948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8908"/>
          <a:stretch/>
        </p:blipFill>
        <p:spPr>
          <a:xfrm>
            <a:off x="366896" y="392181"/>
            <a:ext cx="1648717" cy="56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06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Action Title and Text_l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217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89542471-92B7-92C2-F97B-9C433581467E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FF1A74-C587-3412-F2E4-9359D0C06509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Medienplatzhalter 10">
            <a:extLst>
              <a:ext uri="{FF2B5EF4-FFF2-40B4-BE49-F238E27FC236}">
                <a16:creationId xmlns:a16="http://schemas.microsoft.com/office/drawing/2014/main" id="{6948CE70-4DC9-D5C1-C314-F3B3B83F2AA7}"/>
              </a:ext>
            </a:extLst>
          </p:cNvPr>
          <p:cNvSpPr>
            <a:spLocks noGrp="1"/>
          </p:cNvSpPr>
          <p:nvPr>
            <p:ph type="media" sz="quarter" idx="27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462E5B4E-8C34-81D1-2EF6-BE9B7DDB9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8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4DCE1249-9C06-A2FF-796A-AAFDA2D99B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06663" y="1602000"/>
            <a:ext cx="10548000" cy="10233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6B9171AD-7F35-8DF3-93F2-33C770088C9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06664" y="7083494"/>
            <a:ext cx="10548000" cy="215444"/>
          </a:xfrm>
        </p:spPr>
        <p:txBody>
          <a:bodyPr/>
          <a:lstStyle>
            <a:lvl1pPr marL="0" indent="0" rtl="0">
              <a:spcBef>
                <a:spcPts val="0"/>
              </a:spcBef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1pPr>
            <a:lvl2pPr marL="0" indent="0" rtl="0">
              <a:spcBef>
                <a:spcPts val="0"/>
              </a:spcBef>
              <a:buClrTx/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2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924552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 and Text_l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785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50E10245-C2E5-09BE-B014-8701B0528F47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88F98C2-77A1-4101-BF86-95BF77618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312552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5AF7A835-D513-1D6C-D7EA-19ED13C32A15}"/>
              </a:ext>
            </a:extLst>
          </p:cNvPr>
          <p:cNvSpPr>
            <a:spLocks noGrp="1"/>
          </p:cNvSpPr>
          <p:nvPr>
            <p:ph type="media" sz="quarter" idx="27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47D2DAE8-549B-ECA1-78D2-2C129D0E4B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06662" y="1602000"/>
            <a:ext cx="10548000" cy="102335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BA1B83A2-88B9-B3CD-3105-C828B35F45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06662" y="7083494"/>
            <a:ext cx="10548000" cy="2154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7BD74726-3A3F-EA14-2FD3-44A945DA03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506663" y="711120"/>
            <a:ext cx="10548000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179387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39600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Subtitle, max. one lin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2652D8E-085D-8BAB-A221-CA1A75171A49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86680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92FA54-A472-4D13-BDB8-E6C8DFCD1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05174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92FA54-A472-4D13-BDB8-E6C8DFCD1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E631821-7306-448E-8A38-74AD88398099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D3B1EE8-445D-4560-83D9-D22E50213D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4000" b="0" i="1" baseline="0" dirty="0" err="1">
              <a:solidFill>
                <a:schemeClr val="bg2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Grafik 17">
            <a:extLst>
              <a:ext uri="{FF2B5EF4-FFF2-40B4-BE49-F238E27FC236}">
                <a16:creationId xmlns:a16="http://schemas.microsoft.com/office/drawing/2014/main" id="{A459FD5D-9A83-431E-97E6-82FCF63073C2}"/>
              </a:ext>
            </a:extLst>
          </p:cNvPr>
          <p:cNvSpPr>
            <a:spLocks noChangeAspect="1"/>
          </p:cNvSpPr>
          <p:nvPr/>
        </p:nvSpPr>
        <p:spPr>
          <a:xfrm>
            <a:off x="10928350" y="583611"/>
            <a:ext cx="2125663" cy="358539"/>
          </a:xfrm>
          <a:custGeom>
            <a:avLst/>
            <a:gdLst>
              <a:gd name="connsiteX0" fmla="*/ 432263 w 6837827"/>
              <a:gd name="connsiteY0" fmla="*/ 777449 h 1153348"/>
              <a:gd name="connsiteX1" fmla="*/ 411264 w 6837827"/>
              <a:gd name="connsiteY1" fmla="*/ 771569 h 1153348"/>
              <a:gd name="connsiteX2" fmla="*/ 386065 w 6837827"/>
              <a:gd name="connsiteY2" fmla="*/ 771569 h 1153348"/>
              <a:gd name="connsiteX3" fmla="*/ 360026 w 6837827"/>
              <a:gd name="connsiteY3" fmla="*/ 774929 h 1153348"/>
              <a:gd name="connsiteX4" fmla="*/ 336507 w 6837827"/>
              <a:gd name="connsiteY4" fmla="*/ 779129 h 1153348"/>
              <a:gd name="connsiteX5" fmla="*/ 318028 w 6837827"/>
              <a:gd name="connsiteY5" fmla="*/ 782069 h 1153348"/>
              <a:gd name="connsiteX6" fmla="*/ 320548 w 6837827"/>
              <a:gd name="connsiteY6" fmla="*/ 761070 h 1153348"/>
              <a:gd name="connsiteX7" fmla="*/ 327687 w 6837827"/>
              <a:gd name="connsiteY7" fmla="*/ 734611 h 1153348"/>
              <a:gd name="connsiteX8" fmla="*/ 335667 w 6837827"/>
              <a:gd name="connsiteY8" fmla="*/ 706472 h 1153348"/>
              <a:gd name="connsiteX9" fmla="*/ 341127 w 6837827"/>
              <a:gd name="connsiteY9" fmla="*/ 679593 h 1153348"/>
              <a:gd name="connsiteX10" fmla="*/ 341547 w 6837827"/>
              <a:gd name="connsiteY10" fmla="*/ 656494 h 1153348"/>
              <a:gd name="connsiteX11" fmla="*/ 333987 w 6837827"/>
              <a:gd name="connsiteY11" fmla="*/ 640955 h 1153348"/>
              <a:gd name="connsiteX12" fmla="*/ 312988 w 6837827"/>
              <a:gd name="connsiteY12" fmla="*/ 632555 h 1153348"/>
              <a:gd name="connsiteX13" fmla="*/ 290729 w 6837827"/>
              <a:gd name="connsiteY13" fmla="*/ 633395 h 1153348"/>
              <a:gd name="connsiteX14" fmla="*/ 278549 w 6837827"/>
              <a:gd name="connsiteY14" fmla="*/ 643055 h 1153348"/>
              <a:gd name="connsiteX15" fmla="*/ 272250 w 6837827"/>
              <a:gd name="connsiteY15" fmla="*/ 659014 h 1153348"/>
              <a:gd name="connsiteX16" fmla="*/ 268890 w 6837827"/>
              <a:gd name="connsiteY16" fmla="*/ 676653 h 1153348"/>
              <a:gd name="connsiteX17" fmla="*/ 265950 w 6837827"/>
              <a:gd name="connsiteY17" fmla="*/ 691773 h 1153348"/>
              <a:gd name="connsiteX18" fmla="*/ 251251 w 6837827"/>
              <a:gd name="connsiteY18" fmla="*/ 745531 h 1153348"/>
              <a:gd name="connsiteX19" fmla="*/ 244111 w 6837827"/>
              <a:gd name="connsiteY19" fmla="*/ 800128 h 1153348"/>
              <a:gd name="connsiteX20" fmla="*/ 205053 w 6837827"/>
              <a:gd name="connsiteY20" fmla="*/ 808948 h 1153348"/>
              <a:gd name="connsiteX21" fmla="*/ 165994 w 6837827"/>
              <a:gd name="connsiteY21" fmla="*/ 818187 h 1153348"/>
              <a:gd name="connsiteX22" fmla="*/ 168514 w 6837827"/>
              <a:gd name="connsiteY22" fmla="*/ 786269 h 1153348"/>
              <a:gd name="connsiteX23" fmla="*/ 176494 w 6837827"/>
              <a:gd name="connsiteY23" fmla="*/ 756030 h 1153348"/>
              <a:gd name="connsiteX24" fmla="*/ 184053 w 6837827"/>
              <a:gd name="connsiteY24" fmla="*/ 725371 h 1153348"/>
              <a:gd name="connsiteX25" fmla="*/ 185313 w 6837827"/>
              <a:gd name="connsiteY25" fmla="*/ 691773 h 1153348"/>
              <a:gd name="connsiteX26" fmla="*/ 179014 w 6837827"/>
              <a:gd name="connsiteY26" fmla="*/ 675394 h 1153348"/>
              <a:gd name="connsiteX27" fmla="*/ 166414 w 6837827"/>
              <a:gd name="connsiteY27" fmla="*/ 666154 h 1153348"/>
              <a:gd name="connsiteX28" fmla="*/ 151295 w 6837827"/>
              <a:gd name="connsiteY28" fmla="*/ 664894 h 1153348"/>
              <a:gd name="connsiteX29" fmla="*/ 137016 w 6837827"/>
              <a:gd name="connsiteY29" fmla="*/ 674134 h 1153348"/>
              <a:gd name="connsiteX30" fmla="*/ 129036 w 6837827"/>
              <a:gd name="connsiteY30" fmla="*/ 690933 h 1153348"/>
              <a:gd name="connsiteX31" fmla="*/ 123156 w 6837827"/>
              <a:gd name="connsiteY31" fmla="*/ 708992 h 1153348"/>
              <a:gd name="connsiteX32" fmla="*/ 112237 w 6837827"/>
              <a:gd name="connsiteY32" fmla="*/ 738391 h 1153348"/>
              <a:gd name="connsiteX33" fmla="*/ 107197 w 6837827"/>
              <a:gd name="connsiteY33" fmla="*/ 770729 h 1153348"/>
              <a:gd name="connsiteX34" fmla="*/ 103417 w 6837827"/>
              <a:gd name="connsiteY34" fmla="*/ 803068 h 1153348"/>
              <a:gd name="connsiteX35" fmla="*/ 95437 w 6837827"/>
              <a:gd name="connsiteY35" fmla="*/ 832467 h 1153348"/>
              <a:gd name="connsiteX36" fmla="*/ 74858 w 6837827"/>
              <a:gd name="connsiteY36" fmla="*/ 835407 h 1153348"/>
              <a:gd name="connsiteX37" fmla="*/ 53859 w 6837827"/>
              <a:gd name="connsiteY37" fmla="*/ 838767 h 1153348"/>
              <a:gd name="connsiteX38" fmla="*/ 32020 w 6837827"/>
              <a:gd name="connsiteY38" fmla="*/ 845906 h 1153348"/>
              <a:gd name="connsiteX39" fmla="*/ 21100 w 6837827"/>
              <a:gd name="connsiteY39" fmla="*/ 858506 h 1153348"/>
              <a:gd name="connsiteX40" fmla="*/ 19841 w 6837827"/>
              <a:gd name="connsiteY40" fmla="*/ 874465 h 1153348"/>
              <a:gd name="connsiteX41" fmla="*/ 26980 w 6837827"/>
              <a:gd name="connsiteY41" fmla="*/ 891684 h 1153348"/>
              <a:gd name="connsiteX42" fmla="*/ 38320 w 6837827"/>
              <a:gd name="connsiteY42" fmla="*/ 901764 h 1153348"/>
              <a:gd name="connsiteX43" fmla="*/ 54279 w 6837827"/>
              <a:gd name="connsiteY43" fmla="*/ 905544 h 1153348"/>
              <a:gd name="connsiteX44" fmla="*/ 71078 w 6837827"/>
              <a:gd name="connsiteY44" fmla="*/ 905544 h 1153348"/>
              <a:gd name="connsiteX45" fmla="*/ 85358 w 6837827"/>
              <a:gd name="connsiteY45" fmla="*/ 903864 h 1153348"/>
              <a:gd name="connsiteX46" fmla="*/ 76538 w 6837827"/>
              <a:gd name="connsiteY46" fmla="*/ 947542 h 1153348"/>
              <a:gd name="connsiteX47" fmla="*/ 69398 w 6837827"/>
              <a:gd name="connsiteY47" fmla="*/ 989960 h 1153348"/>
              <a:gd name="connsiteX48" fmla="*/ 49659 w 6837827"/>
              <a:gd name="connsiteY48" fmla="*/ 995420 h 1153348"/>
              <a:gd name="connsiteX49" fmla="*/ 29920 w 6837827"/>
              <a:gd name="connsiteY49" fmla="*/ 1000880 h 1153348"/>
              <a:gd name="connsiteX50" fmla="*/ 16061 w 6837827"/>
              <a:gd name="connsiteY50" fmla="*/ 1007179 h 1153348"/>
              <a:gd name="connsiteX51" fmla="*/ 5141 w 6837827"/>
              <a:gd name="connsiteY51" fmla="*/ 1016419 h 1153348"/>
              <a:gd name="connsiteX52" fmla="*/ 101 w 6837827"/>
              <a:gd name="connsiteY52" fmla="*/ 1028598 h 1153348"/>
              <a:gd name="connsiteX53" fmla="*/ 3461 w 6837827"/>
              <a:gd name="connsiteY53" fmla="*/ 1043718 h 1153348"/>
              <a:gd name="connsiteX54" fmla="*/ 27820 w 6837827"/>
              <a:gd name="connsiteY54" fmla="*/ 1064717 h 1153348"/>
              <a:gd name="connsiteX55" fmla="*/ 60999 w 6837827"/>
              <a:gd name="connsiteY55" fmla="*/ 1066397 h 1153348"/>
              <a:gd name="connsiteX56" fmla="*/ 56379 w 6837827"/>
              <a:gd name="connsiteY56" fmla="*/ 1099155 h 1153348"/>
              <a:gd name="connsiteX57" fmla="*/ 58479 w 6837827"/>
              <a:gd name="connsiteY57" fmla="*/ 1131074 h 1153348"/>
              <a:gd name="connsiteX58" fmla="*/ 79898 w 6837827"/>
              <a:gd name="connsiteY58" fmla="*/ 1151653 h 1153348"/>
              <a:gd name="connsiteX59" fmla="*/ 107617 w 6837827"/>
              <a:gd name="connsiteY59" fmla="*/ 1147033 h 1153348"/>
              <a:gd name="connsiteX60" fmla="*/ 119796 w 6837827"/>
              <a:gd name="connsiteY60" fmla="*/ 1130234 h 1153348"/>
              <a:gd name="connsiteX61" fmla="*/ 124836 w 6837827"/>
              <a:gd name="connsiteY61" fmla="*/ 1106715 h 1153348"/>
              <a:gd name="connsiteX62" fmla="*/ 126096 w 6837827"/>
              <a:gd name="connsiteY62" fmla="*/ 1081516 h 1153348"/>
              <a:gd name="connsiteX63" fmla="*/ 126096 w 6837827"/>
              <a:gd name="connsiteY63" fmla="*/ 1060097 h 1153348"/>
              <a:gd name="connsiteX64" fmla="*/ 166414 w 6837827"/>
              <a:gd name="connsiteY64" fmla="*/ 1049598 h 1153348"/>
              <a:gd name="connsiteX65" fmla="*/ 207152 w 6837827"/>
              <a:gd name="connsiteY65" fmla="*/ 1041198 h 1153348"/>
              <a:gd name="connsiteX66" fmla="*/ 205473 w 6837827"/>
              <a:gd name="connsiteY66" fmla="*/ 1057157 h 1153348"/>
              <a:gd name="connsiteX67" fmla="*/ 206733 w 6837827"/>
              <a:gd name="connsiteY67" fmla="*/ 1076056 h 1153348"/>
              <a:gd name="connsiteX68" fmla="*/ 209672 w 6837827"/>
              <a:gd name="connsiteY68" fmla="*/ 1095375 h 1153348"/>
              <a:gd name="connsiteX69" fmla="*/ 212612 w 6837827"/>
              <a:gd name="connsiteY69" fmla="*/ 1111755 h 1153348"/>
              <a:gd name="connsiteX70" fmla="*/ 224792 w 6837827"/>
              <a:gd name="connsiteY70" fmla="*/ 1132754 h 1153348"/>
              <a:gd name="connsiteX71" fmla="*/ 246211 w 6837827"/>
              <a:gd name="connsiteY71" fmla="*/ 1136954 h 1153348"/>
              <a:gd name="connsiteX72" fmla="*/ 268050 w 6837827"/>
              <a:gd name="connsiteY72" fmla="*/ 1129814 h 1153348"/>
              <a:gd name="connsiteX73" fmla="*/ 281489 w 6837827"/>
              <a:gd name="connsiteY73" fmla="*/ 1116375 h 1153348"/>
              <a:gd name="connsiteX74" fmla="*/ 284429 w 6837827"/>
              <a:gd name="connsiteY74" fmla="*/ 1094116 h 1153348"/>
              <a:gd name="connsiteX75" fmla="*/ 281069 w 6837827"/>
              <a:gd name="connsiteY75" fmla="*/ 1069757 h 1153348"/>
              <a:gd name="connsiteX76" fmla="*/ 276450 w 6837827"/>
              <a:gd name="connsiteY76" fmla="*/ 1045398 h 1153348"/>
              <a:gd name="connsiteX77" fmla="*/ 274770 w 6837827"/>
              <a:gd name="connsiteY77" fmla="*/ 1023979 h 1153348"/>
              <a:gd name="connsiteX78" fmla="*/ 297029 w 6837827"/>
              <a:gd name="connsiteY78" fmla="*/ 1015999 h 1153348"/>
              <a:gd name="connsiteX79" fmla="*/ 323068 w 6837827"/>
              <a:gd name="connsiteY79" fmla="*/ 1010539 h 1153348"/>
              <a:gd name="connsiteX80" fmla="*/ 348266 w 6837827"/>
              <a:gd name="connsiteY80" fmla="*/ 1004659 h 1153348"/>
              <a:gd name="connsiteX81" fmla="*/ 367586 w 6837827"/>
              <a:gd name="connsiteY81" fmla="*/ 994580 h 1153348"/>
              <a:gd name="connsiteX82" fmla="*/ 375145 w 6837827"/>
              <a:gd name="connsiteY82" fmla="*/ 984080 h 1153348"/>
              <a:gd name="connsiteX83" fmla="*/ 378085 w 6837827"/>
              <a:gd name="connsiteY83" fmla="*/ 969801 h 1153348"/>
              <a:gd name="connsiteX84" fmla="*/ 376405 w 6837827"/>
              <a:gd name="connsiteY84" fmla="*/ 955522 h 1153348"/>
              <a:gd name="connsiteX85" fmla="*/ 369266 w 6837827"/>
              <a:gd name="connsiteY85" fmla="*/ 944182 h 1153348"/>
              <a:gd name="connsiteX86" fmla="*/ 350786 w 6837827"/>
              <a:gd name="connsiteY86" fmla="*/ 935362 h 1153348"/>
              <a:gd name="connsiteX87" fmla="*/ 327687 w 6837827"/>
              <a:gd name="connsiteY87" fmla="*/ 932842 h 1153348"/>
              <a:gd name="connsiteX88" fmla="*/ 304168 w 6837827"/>
              <a:gd name="connsiteY88" fmla="*/ 934522 h 1153348"/>
              <a:gd name="connsiteX89" fmla="*/ 285269 w 6837827"/>
              <a:gd name="connsiteY89" fmla="*/ 937462 h 1153348"/>
              <a:gd name="connsiteX90" fmla="*/ 290309 w 6837827"/>
              <a:gd name="connsiteY90" fmla="*/ 895464 h 1153348"/>
              <a:gd name="connsiteX91" fmla="*/ 298289 w 6837827"/>
              <a:gd name="connsiteY91" fmla="*/ 860186 h 1153348"/>
              <a:gd name="connsiteX92" fmla="*/ 357506 w 6837827"/>
              <a:gd name="connsiteY92" fmla="*/ 845906 h 1153348"/>
              <a:gd name="connsiteX93" fmla="*/ 417143 w 6837827"/>
              <a:gd name="connsiteY93" fmla="*/ 835827 h 1153348"/>
              <a:gd name="connsiteX94" fmla="*/ 430583 w 6837827"/>
              <a:gd name="connsiteY94" fmla="*/ 829947 h 1153348"/>
              <a:gd name="connsiteX95" fmla="*/ 441082 w 6837827"/>
              <a:gd name="connsiteY95" fmla="*/ 818187 h 1153348"/>
              <a:gd name="connsiteX96" fmla="*/ 446962 w 6837827"/>
              <a:gd name="connsiteY96" fmla="*/ 804328 h 1153348"/>
              <a:gd name="connsiteX97" fmla="*/ 445702 w 6837827"/>
              <a:gd name="connsiteY97" fmla="*/ 791309 h 1153348"/>
              <a:gd name="connsiteX98" fmla="*/ 432263 w 6837827"/>
              <a:gd name="connsiteY98" fmla="*/ 777449 h 1153348"/>
              <a:gd name="connsiteX99" fmla="*/ 142055 w 6837827"/>
              <a:gd name="connsiteY99" fmla="*/ 963081 h 1153348"/>
              <a:gd name="connsiteX100" fmla="*/ 146675 w 6837827"/>
              <a:gd name="connsiteY100" fmla="*/ 926963 h 1153348"/>
              <a:gd name="connsiteX101" fmla="*/ 151295 w 6837827"/>
              <a:gd name="connsiteY101" fmla="*/ 893364 h 1153348"/>
              <a:gd name="connsiteX102" fmla="*/ 189093 w 6837827"/>
              <a:gd name="connsiteY102" fmla="*/ 887905 h 1153348"/>
              <a:gd name="connsiteX103" fmla="*/ 226052 w 6837827"/>
              <a:gd name="connsiteY103" fmla="*/ 879505 h 1153348"/>
              <a:gd name="connsiteX104" fmla="*/ 218912 w 6837827"/>
              <a:gd name="connsiteY104" fmla="*/ 900504 h 1153348"/>
              <a:gd name="connsiteX105" fmla="*/ 215552 w 6837827"/>
              <a:gd name="connsiteY105" fmla="*/ 916043 h 1153348"/>
              <a:gd name="connsiteX106" fmla="*/ 213872 w 6837827"/>
              <a:gd name="connsiteY106" fmla="*/ 931163 h 1153348"/>
              <a:gd name="connsiteX107" fmla="*/ 212192 w 6837827"/>
              <a:gd name="connsiteY107" fmla="*/ 949222 h 1153348"/>
              <a:gd name="connsiteX108" fmla="*/ 175654 w 6837827"/>
              <a:gd name="connsiteY108" fmla="*/ 957202 h 1153348"/>
              <a:gd name="connsiteX109" fmla="*/ 141635 w 6837827"/>
              <a:gd name="connsiteY109" fmla="*/ 965181 h 1153348"/>
              <a:gd name="connsiteX110" fmla="*/ 142055 w 6837827"/>
              <a:gd name="connsiteY110" fmla="*/ 963081 h 1153348"/>
              <a:gd name="connsiteX111" fmla="*/ 674172 w 6837827"/>
              <a:gd name="connsiteY111" fmla="*/ 656914 h 1153348"/>
              <a:gd name="connsiteX112" fmla="*/ 667873 w 6837827"/>
              <a:gd name="connsiteY112" fmla="*/ 634235 h 1153348"/>
              <a:gd name="connsiteX113" fmla="*/ 653173 w 6837827"/>
              <a:gd name="connsiteY113" fmla="*/ 617016 h 1153348"/>
              <a:gd name="connsiteX114" fmla="*/ 630914 w 6837827"/>
              <a:gd name="connsiteY114" fmla="*/ 612396 h 1153348"/>
              <a:gd name="connsiteX115" fmla="*/ 604455 w 6837827"/>
              <a:gd name="connsiteY115" fmla="*/ 626676 h 1153348"/>
              <a:gd name="connsiteX116" fmla="*/ 591856 w 6837827"/>
              <a:gd name="connsiteY116" fmla="*/ 658594 h 1153348"/>
              <a:gd name="connsiteX117" fmla="*/ 586396 w 6837827"/>
              <a:gd name="connsiteY117" fmla="*/ 696813 h 1153348"/>
              <a:gd name="connsiteX118" fmla="*/ 580936 w 6837827"/>
              <a:gd name="connsiteY118" fmla="*/ 730831 h 1153348"/>
              <a:gd name="connsiteX119" fmla="*/ 572537 w 6837827"/>
              <a:gd name="connsiteY119" fmla="*/ 774509 h 1153348"/>
              <a:gd name="connsiteX120" fmla="*/ 567077 w 6837827"/>
              <a:gd name="connsiteY120" fmla="*/ 824907 h 1153348"/>
              <a:gd name="connsiteX121" fmla="*/ 559937 w 6837827"/>
              <a:gd name="connsiteY121" fmla="*/ 874465 h 1153348"/>
              <a:gd name="connsiteX122" fmla="*/ 546498 w 6837827"/>
              <a:gd name="connsiteY122" fmla="*/ 915623 h 1153348"/>
              <a:gd name="connsiteX123" fmla="*/ 542298 w 6837827"/>
              <a:gd name="connsiteY123" fmla="*/ 929903 h 1153348"/>
              <a:gd name="connsiteX124" fmla="*/ 538098 w 6837827"/>
              <a:gd name="connsiteY124" fmla="*/ 953422 h 1153348"/>
              <a:gd name="connsiteX125" fmla="*/ 534318 w 6837827"/>
              <a:gd name="connsiteY125" fmla="*/ 980720 h 1153348"/>
              <a:gd name="connsiteX126" fmla="*/ 531379 w 6837827"/>
              <a:gd name="connsiteY126" fmla="*/ 1007179 h 1153348"/>
              <a:gd name="connsiteX127" fmla="*/ 529279 w 6837827"/>
              <a:gd name="connsiteY127" fmla="*/ 1028178 h 1153348"/>
              <a:gd name="connsiteX128" fmla="*/ 528439 w 6837827"/>
              <a:gd name="connsiteY128" fmla="*/ 1039098 h 1153348"/>
              <a:gd name="connsiteX129" fmla="*/ 530959 w 6837827"/>
              <a:gd name="connsiteY129" fmla="*/ 1064297 h 1153348"/>
              <a:gd name="connsiteX130" fmla="*/ 540198 w 6837827"/>
              <a:gd name="connsiteY130" fmla="*/ 1094116 h 1153348"/>
              <a:gd name="connsiteX131" fmla="*/ 556577 w 6837827"/>
              <a:gd name="connsiteY131" fmla="*/ 1118054 h 1153348"/>
              <a:gd name="connsiteX132" fmla="*/ 578837 w 6837827"/>
              <a:gd name="connsiteY132" fmla="*/ 1126454 h 1153348"/>
              <a:gd name="connsiteX133" fmla="*/ 600256 w 6837827"/>
              <a:gd name="connsiteY133" fmla="*/ 1116375 h 1153348"/>
              <a:gd name="connsiteX134" fmla="*/ 612015 w 6837827"/>
              <a:gd name="connsiteY134" fmla="*/ 1094956 h 1153348"/>
              <a:gd name="connsiteX135" fmla="*/ 616635 w 6837827"/>
              <a:gd name="connsiteY135" fmla="*/ 1066817 h 1153348"/>
              <a:gd name="connsiteX136" fmla="*/ 617895 w 6837827"/>
              <a:gd name="connsiteY136" fmla="*/ 1036578 h 1153348"/>
              <a:gd name="connsiteX137" fmla="*/ 618315 w 6837827"/>
              <a:gd name="connsiteY137" fmla="*/ 1008859 h 1153348"/>
              <a:gd name="connsiteX138" fmla="*/ 620835 w 6837827"/>
              <a:gd name="connsiteY138" fmla="*/ 987440 h 1153348"/>
              <a:gd name="connsiteX139" fmla="*/ 630494 w 6837827"/>
              <a:gd name="connsiteY139" fmla="*/ 932423 h 1153348"/>
              <a:gd name="connsiteX140" fmla="*/ 639734 w 6837827"/>
              <a:gd name="connsiteY140" fmla="*/ 875725 h 1153348"/>
              <a:gd name="connsiteX141" fmla="*/ 646034 w 6837827"/>
              <a:gd name="connsiteY141" fmla="*/ 845906 h 1153348"/>
              <a:gd name="connsiteX142" fmla="*/ 652753 w 6837827"/>
              <a:gd name="connsiteY142" fmla="*/ 813148 h 1153348"/>
              <a:gd name="connsiteX143" fmla="*/ 663253 w 6837827"/>
              <a:gd name="connsiteY143" fmla="*/ 782489 h 1153348"/>
              <a:gd name="connsiteX144" fmla="*/ 679632 w 6837827"/>
              <a:gd name="connsiteY144" fmla="*/ 759390 h 1153348"/>
              <a:gd name="connsiteX145" fmla="*/ 696012 w 6837827"/>
              <a:gd name="connsiteY145" fmla="*/ 745111 h 1153348"/>
              <a:gd name="connsiteX146" fmla="*/ 718271 w 6837827"/>
              <a:gd name="connsiteY146" fmla="*/ 727051 h 1153348"/>
              <a:gd name="connsiteX147" fmla="*/ 742210 w 6837827"/>
              <a:gd name="connsiteY147" fmla="*/ 712352 h 1153348"/>
              <a:gd name="connsiteX148" fmla="*/ 762369 w 6837827"/>
              <a:gd name="connsiteY148" fmla="*/ 708152 h 1153348"/>
              <a:gd name="connsiteX149" fmla="*/ 771608 w 6837827"/>
              <a:gd name="connsiteY149" fmla="*/ 718232 h 1153348"/>
              <a:gd name="connsiteX150" fmla="*/ 766988 w 6837827"/>
              <a:gd name="connsiteY150" fmla="*/ 737551 h 1153348"/>
              <a:gd name="connsiteX151" fmla="*/ 753129 w 6837827"/>
              <a:gd name="connsiteY151" fmla="*/ 761490 h 1153348"/>
              <a:gd name="connsiteX152" fmla="*/ 735910 w 6837827"/>
              <a:gd name="connsiteY152" fmla="*/ 785429 h 1153348"/>
              <a:gd name="connsiteX153" fmla="*/ 720370 w 6837827"/>
              <a:gd name="connsiteY153" fmla="*/ 805168 h 1153348"/>
              <a:gd name="connsiteX154" fmla="*/ 710711 w 6837827"/>
              <a:gd name="connsiteY154" fmla="*/ 815247 h 1153348"/>
              <a:gd name="connsiteX155" fmla="*/ 690552 w 6837827"/>
              <a:gd name="connsiteY155" fmla="*/ 834987 h 1153348"/>
              <a:gd name="connsiteX156" fmla="*/ 675852 w 6837827"/>
              <a:gd name="connsiteY156" fmla="*/ 857246 h 1153348"/>
              <a:gd name="connsiteX157" fmla="*/ 673752 w 6837827"/>
              <a:gd name="connsiteY157" fmla="*/ 882025 h 1153348"/>
              <a:gd name="connsiteX158" fmla="*/ 690972 w 6837827"/>
              <a:gd name="connsiteY158" fmla="*/ 910164 h 1153348"/>
              <a:gd name="connsiteX159" fmla="*/ 722050 w 6837827"/>
              <a:gd name="connsiteY159" fmla="*/ 930742 h 1153348"/>
              <a:gd name="connsiteX160" fmla="*/ 763209 w 6837827"/>
              <a:gd name="connsiteY160" fmla="*/ 954681 h 1153348"/>
              <a:gd name="connsiteX161" fmla="*/ 803527 w 6837827"/>
              <a:gd name="connsiteY161" fmla="*/ 974001 h 1153348"/>
              <a:gd name="connsiteX162" fmla="*/ 831246 w 6837827"/>
              <a:gd name="connsiteY162" fmla="*/ 979880 h 1153348"/>
              <a:gd name="connsiteX163" fmla="*/ 882483 w 6837827"/>
              <a:gd name="connsiteY163" fmla="*/ 995000 h 1153348"/>
              <a:gd name="connsiteX164" fmla="*/ 936661 w 6837827"/>
              <a:gd name="connsiteY164" fmla="*/ 979880 h 1153348"/>
              <a:gd name="connsiteX165" fmla="*/ 945901 w 6837827"/>
              <a:gd name="connsiteY165" fmla="*/ 960141 h 1153348"/>
              <a:gd name="connsiteX166" fmla="*/ 940441 w 6837827"/>
              <a:gd name="connsiteY166" fmla="*/ 944182 h 1153348"/>
              <a:gd name="connsiteX167" fmla="*/ 924902 w 6837827"/>
              <a:gd name="connsiteY167" fmla="*/ 932003 h 1153348"/>
              <a:gd name="connsiteX168" fmla="*/ 904323 w 6837827"/>
              <a:gd name="connsiteY168" fmla="*/ 924863 h 1153348"/>
              <a:gd name="connsiteX169" fmla="*/ 887103 w 6837827"/>
              <a:gd name="connsiteY169" fmla="*/ 920663 h 1153348"/>
              <a:gd name="connsiteX170" fmla="*/ 861064 w 6837827"/>
              <a:gd name="connsiteY170" fmla="*/ 913523 h 1153348"/>
              <a:gd name="connsiteX171" fmla="*/ 831246 w 6837827"/>
              <a:gd name="connsiteY171" fmla="*/ 903864 h 1153348"/>
              <a:gd name="connsiteX172" fmla="*/ 803527 w 6837827"/>
              <a:gd name="connsiteY172" fmla="*/ 892944 h 1153348"/>
              <a:gd name="connsiteX173" fmla="*/ 782108 w 6837827"/>
              <a:gd name="connsiteY173" fmla="*/ 880345 h 1153348"/>
              <a:gd name="connsiteX174" fmla="*/ 772868 w 6837827"/>
              <a:gd name="connsiteY174" fmla="*/ 866485 h 1153348"/>
              <a:gd name="connsiteX175" fmla="*/ 783368 w 6837827"/>
              <a:gd name="connsiteY175" fmla="*/ 833307 h 1153348"/>
              <a:gd name="connsiteX176" fmla="*/ 810667 w 6837827"/>
              <a:gd name="connsiteY176" fmla="*/ 799708 h 1153348"/>
              <a:gd name="connsiteX177" fmla="*/ 837545 w 6837827"/>
              <a:gd name="connsiteY177" fmla="*/ 762750 h 1153348"/>
              <a:gd name="connsiteX178" fmla="*/ 847205 w 6837827"/>
              <a:gd name="connsiteY178" fmla="*/ 720332 h 1153348"/>
              <a:gd name="connsiteX179" fmla="*/ 838385 w 6837827"/>
              <a:gd name="connsiteY179" fmla="*/ 686313 h 1153348"/>
              <a:gd name="connsiteX180" fmla="*/ 820746 w 6837827"/>
              <a:gd name="connsiteY180" fmla="*/ 655234 h 1153348"/>
              <a:gd name="connsiteX181" fmla="*/ 796807 w 6837827"/>
              <a:gd name="connsiteY181" fmla="*/ 632975 h 1153348"/>
              <a:gd name="connsiteX182" fmla="*/ 769508 w 6837827"/>
              <a:gd name="connsiteY182" fmla="*/ 625416 h 1153348"/>
              <a:gd name="connsiteX183" fmla="*/ 731290 w 6837827"/>
              <a:gd name="connsiteY183" fmla="*/ 634655 h 1153348"/>
              <a:gd name="connsiteX184" fmla="*/ 708191 w 6837827"/>
              <a:gd name="connsiteY184" fmla="*/ 650615 h 1153348"/>
              <a:gd name="connsiteX185" fmla="*/ 691392 w 6837827"/>
              <a:gd name="connsiteY185" fmla="*/ 667414 h 1153348"/>
              <a:gd name="connsiteX186" fmla="*/ 672493 w 6837827"/>
              <a:gd name="connsiteY186" fmla="*/ 678333 h 1153348"/>
              <a:gd name="connsiteX187" fmla="*/ 674172 w 6837827"/>
              <a:gd name="connsiteY187" fmla="*/ 656914 h 1153348"/>
              <a:gd name="connsiteX188" fmla="*/ 1219729 w 6837827"/>
              <a:gd name="connsiteY188" fmla="*/ 678753 h 1153348"/>
              <a:gd name="connsiteX189" fmla="*/ 1233168 w 6837827"/>
              <a:gd name="connsiteY189" fmla="*/ 669934 h 1153348"/>
              <a:gd name="connsiteX190" fmla="*/ 1242408 w 6837827"/>
              <a:gd name="connsiteY190" fmla="*/ 657334 h 1153348"/>
              <a:gd name="connsiteX191" fmla="*/ 1244928 w 6837827"/>
              <a:gd name="connsiteY191" fmla="*/ 641375 h 1153348"/>
              <a:gd name="connsiteX192" fmla="*/ 1238628 w 6837827"/>
              <a:gd name="connsiteY192" fmla="*/ 622896 h 1153348"/>
              <a:gd name="connsiteX193" fmla="*/ 1226449 w 6837827"/>
              <a:gd name="connsiteY193" fmla="*/ 616176 h 1153348"/>
              <a:gd name="connsiteX194" fmla="*/ 1210489 w 6837827"/>
              <a:gd name="connsiteY194" fmla="*/ 617016 h 1153348"/>
              <a:gd name="connsiteX195" fmla="*/ 1192430 w 6837827"/>
              <a:gd name="connsiteY195" fmla="*/ 621216 h 1153348"/>
              <a:gd name="connsiteX196" fmla="*/ 1147912 w 6837827"/>
              <a:gd name="connsiteY196" fmla="*/ 630876 h 1153348"/>
              <a:gd name="connsiteX197" fmla="*/ 1101714 w 6837827"/>
              <a:gd name="connsiteY197" fmla="*/ 640535 h 1153348"/>
              <a:gd name="connsiteX198" fmla="*/ 1083655 w 6837827"/>
              <a:gd name="connsiteY198" fmla="*/ 642635 h 1153348"/>
              <a:gd name="connsiteX199" fmla="*/ 1068116 w 6837827"/>
              <a:gd name="connsiteY199" fmla="*/ 639695 h 1153348"/>
              <a:gd name="connsiteX200" fmla="*/ 1052996 w 6837827"/>
              <a:gd name="connsiteY200" fmla="*/ 638015 h 1153348"/>
              <a:gd name="connsiteX201" fmla="*/ 1036617 w 6837827"/>
              <a:gd name="connsiteY201" fmla="*/ 642635 h 1153348"/>
              <a:gd name="connsiteX202" fmla="*/ 1024857 w 6837827"/>
              <a:gd name="connsiteY202" fmla="*/ 663214 h 1153348"/>
              <a:gd name="connsiteX203" fmla="*/ 1019818 w 6837827"/>
              <a:gd name="connsiteY203" fmla="*/ 687153 h 1153348"/>
              <a:gd name="connsiteX204" fmla="*/ 1016458 w 6837827"/>
              <a:gd name="connsiteY204" fmla="*/ 711932 h 1153348"/>
              <a:gd name="connsiteX205" fmla="*/ 1010158 w 6837827"/>
              <a:gd name="connsiteY205" fmla="*/ 736291 h 1153348"/>
              <a:gd name="connsiteX206" fmla="*/ 1004278 w 6837827"/>
              <a:gd name="connsiteY206" fmla="*/ 761910 h 1153348"/>
              <a:gd name="connsiteX207" fmla="*/ 1000078 w 6837827"/>
              <a:gd name="connsiteY207" fmla="*/ 800968 h 1153348"/>
              <a:gd name="connsiteX208" fmla="*/ 997979 w 6837827"/>
              <a:gd name="connsiteY208" fmla="*/ 845906 h 1153348"/>
              <a:gd name="connsiteX209" fmla="*/ 997559 w 6837827"/>
              <a:gd name="connsiteY209" fmla="*/ 890004 h 1153348"/>
              <a:gd name="connsiteX210" fmla="*/ 998399 w 6837827"/>
              <a:gd name="connsiteY210" fmla="*/ 926123 h 1153348"/>
              <a:gd name="connsiteX211" fmla="*/ 1000918 w 6837827"/>
              <a:gd name="connsiteY211" fmla="*/ 946282 h 1153348"/>
              <a:gd name="connsiteX212" fmla="*/ 1024857 w 6837827"/>
              <a:gd name="connsiteY212" fmla="*/ 987020 h 1153348"/>
              <a:gd name="connsiteX213" fmla="*/ 1062656 w 6837827"/>
              <a:gd name="connsiteY213" fmla="*/ 1002560 h 1153348"/>
              <a:gd name="connsiteX214" fmla="*/ 1107594 w 6837827"/>
              <a:gd name="connsiteY214" fmla="*/ 998780 h 1153348"/>
              <a:gd name="connsiteX215" fmla="*/ 1152952 w 6837827"/>
              <a:gd name="connsiteY215" fmla="*/ 981140 h 1153348"/>
              <a:gd name="connsiteX216" fmla="*/ 1192430 w 6837827"/>
              <a:gd name="connsiteY216" fmla="*/ 955941 h 1153348"/>
              <a:gd name="connsiteX217" fmla="*/ 1219729 w 6837827"/>
              <a:gd name="connsiteY217" fmla="*/ 929063 h 1153348"/>
              <a:gd name="connsiteX218" fmla="*/ 1228969 w 6837827"/>
              <a:gd name="connsiteY218" fmla="*/ 918983 h 1153348"/>
              <a:gd name="connsiteX219" fmla="*/ 1236948 w 6837827"/>
              <a:gd name="connsiteY219" fmla="*/ 909324 h 1153348"/>
              <a:gd name="connsiteX220" fmla="*/ 1240728 w 6837827"/>
              <a:gd name="connsiteY220" fmla="*/ 897144 h 1153348"/>
              <a:gd name="connsiteX221" fmla="*/ 1238208 w 6837827"/>
              <a:gd name="connsiteY221" fmla="*/ 879505 h 1153348"/>
              <a:gd name="connsiteX222" fmla="*/ 1206710 w 6837827"/>
              <a:gd name="connsiteY222" fmla="*/ 859766 h 1153348"/>
              <a:gd name="connsiteX223" fmla="*/ 1179831 w 6837827"/>
              <a:gd name="connsiteY223" fmla="*/ 883285 h 1153348"/>
              <a:gd name="connsiteX224" fmla="*/ 1149172 w 6837827"/>
              <a:gd name="connsiteY224" fmla="*/ 909743 h 1153348"/>
              <a:gd name="connsiteX225" fmla="*/ 1115153 w 6837827"/>
              <a:gd name="connsiteY225" fmla="*/ 927383 h 1153348"/>
              <a:gd name="connsiteX226" fmla="*/ 1077775 w 6837827"/>
              <a:gd name="connsiteY226" fmla="*/ 924023 h 1153348"/>
              <a:gd name="connsiteX227" fmla="*/ 1068535 w 6837827"/>
              <a:gd name="connsiteY227" fmla="*/ 912263 h 1153348"/>
              <a:gd name="connsiteX228" fmla="*/ 1064756 w 6837827"/>
              <a:gd name="connsiteY228" fmla="*/ 891684 h 1153348"/>
              <a:gd name="connsiteX229" fmla="*/ 1064756 w 6837827"/>
              <a:gd name="connsiteY229" fmla="*/ 869845 h 1153348"/>
              <a:gd name="connsiteX230" fmla="*/ 1068116 w 6837827"/>
              <a:gd name="connsiteY230" fmla="*/ 853886 h 1153348"/>
              <a:gd name="connsiteX231" fmla="*/ 1080295 w 6837827"/>
              <a:gd name="connsiteY231" fmla="*/ 844646 h 1153348"/>
              <a:gd name="connsiteX232" fmla="*/ 1101294 w 6837827"/>
              <a:gd name="connsiteY232" fmla="*/ 839186 h 1153348"/>
              <a:gd name="connsiteX233" fmla="*/ 1123973 w 6837827"/>
              <a:gd name="connsiteY233" fmla="*/ 835827 h 1153348"/>
              <a:gd name="connsiteX234" fmla="*/ 1141612 w 6837827"/>
              <a:gd name="connsiteY234" fmla="*/ 833307 h 1153348"/>
              <a:gd name="connsiteX235" fmla="*/ 1157152 w 6837827"/>
              <a:gd name="connsiteY235" fmla="*/ 829947 h 1153348"/>
              <a:gd name="connsiteX236" fmla="*/ 1169751 w 6837827"/>
              <a:gd name="connsiteY236" fmla="*/ 823647 h 1153348"/>
              <a:gd name="connsiteX237" fmla="*/ 1177731 w 6837827"/>
              <a:gd name="connsiteY237" fmla="*/ 812728 h 1153348"/>
              <a:gd name="connsiteX238" fmla="*/ 1178991 w 6837827"/>
              <a:gd name="connsiteY238" fmla="*/ 795088 h 1153348"/>
              <a:gd name="connsiteX239" fmla="*/ 1174791 w 6837827"/>
              <a:gd name="connsiteY239" fmla="*/ 779969 h 1153348"/>
              <a:gd name="connsiteX240" fmla="*/ 1165131 w 6837827"/>
              <a:gd name="connsiteY240" fmla="*/ 769889 h 1153348"/>
              <a:gd name="connsiteX241" fmla="*/ 1139513 w 6837827"/>
              <a:gd name="connsiteY241" fmla="*/ 766530 h 1153348"/>
              <a:gd name="connsiteX242" fmla="*/ 1111374 w 6837827"/>
              <a:gd name="connsiteY242" fmla="*/ 770729 h 1153348"/>
              <a:gd name="connsiteX243" fmla="*/ 1099194 w 6837827"/>
              <a:gd name="connsiteY243" fmla="*/ 772829 h 1153348"/>
              <a:gd name="connsiteX244" fmla="*/ 1085335 w 6837827"/>
              <a:gd name="connsiteY244" fmla="*/ 771989 h 1153348"/>
              <a:gd name="connsiteX245" fmla="*/ 1077775 w 6837827"/>
              <a:gd name="connsiteY245" fmla="*/ 761490 h 1153348"/>
              <a:gd name="connsiteX246" fmla="*/ 1083655 w 6837827"/>
              <a:gd name="connsiteY246" fmla="*/ 733351 h 1153348"/>
              <a:gd name="connsiteX247" fmla="*/ 1106334 w 6837827"/>
              <a:gd name="connsiteY247" fmla="*/ 706892 h 1153348"/>
              <a:gd name="connsiteX248" fmla="*/ 1137832 w 6837827"/>
              <a:gd name="connsiteY248" fmla="*/ 700173 h 1153348"/>
              <a:gd name="connsiteX249" fmla="*/ 1172691 w 6837827"/>
              <a:gd name="connsiteY249" fmla="*/ 697652 h 1153348"/>
              <a:gd name="connsiteX250" fmla="*/ 1205030 w 6837827"/>
              <a:gd name="connsiteY250" fmla="*/ 685053 h 1153348"/>
              <a:gd name="connsiteX251" fmla="*/ 1219729 w 6837827"/>
              <a:gd name="connsiteY251" fmla="*/ 678753 h 1153348"/>
              <a:gd name="connsiteX252" fmla="*/ 1370083 w 6837827"/>
              <a:gd name="connsiteY252" fmla="*/ 654394 h 1153348"/>
              <a:gd name="connsiteX253" fmla="*/ 1367563 w 6837827"/>
              <a:gd name="connsiteY253" fmla="*/ 702272 h 1153348"/>
              <a:gd name="connsiteX254" fmla="*/ 1383522 w 6837827"/>
              <a:gd name="connsiteY254" fmla="*/ 753090 h 1153348"/>
              <a:gd name="connsiteX255" fmla="*/ 1403681 w 6837827"/>
              <a:gd name="connsiteY255" fmla="*/ 812308 h 1153348"/>
              <a:gd name="connsiteX256" fmla="*/ 1407881 w 6837827"/>
              <a:gd name="connsiteY256" fmla="*/ 825327 h 1153348"/>
              <a:gd name="connsiteX257" fmla="*/ 1414181 w 6837827"/>
              <a:gd name="connsiteY257" fmla="*/ 845066 h 1153348"/>
              <a:gd name="connsiteX258" fmla="*/ 1420060 w 6837827"/>
              <a:gd name="connsiteY258" fmla="*/ 868585 h 1153348"/>
              <a:gd name="connsiteX259" fmla="*/ 1423000 w 6837827"/>
              <a:gd name="connsiteY259" fmla="*/ 891264 h 1153348"/>
              <a:gd name="connsiteX260" fmla="*/ 1420480 w 6837827"/>
              <a:gd name="connsiteY260" fmla="*/ 909743 h 1153348"/>
              <a:gd name="connsiteX261" fmla="*/ 1409981 w 6837827"/>
              <a:gd name="connsiteY261" fmla="*/ 920243 h 1153348"/>
              <a:gd name="connsiteX262" fmla="*/ 1400321 w 6837827"/>
              <a:gd name="connsiteY262" fmla="*/ 920243 h 1153348"/>
              <a:gd name="connsiteX263" fmla="*/ 1391922 w 6837827"/>
              <a:gd name="connsiteY263" fmla="*/ 914783 h 1153348"/>
              <a:gd name="connsiteX264" fmla="*/ 1384362 w 6837827"/>
              <a:gd name="connsiteY264" fmla="*/ 906804 h 1153348"/>
              <a:gd name="connsiteX265" fmla="*/ 1378062 w 6837827"/>
              <a:gd name="connsiteY265" fmla="*/ 899664 h 1153348"/>
              <a:gd name="connsiteX266" fmla="*/ 1360003 w 6837827"/>
              <a:gd name="connsiteY266" fmla="*/ 890004 h 1153348"/>
              <a:gd name="connsiteX267" fmla="*/ 1344044 w 6837827"/>
              <a:gd name="connsiteY267" fmla="*/ 896724 h 1153348"/>
              <a:gd name="connsiteX268" fmla="*/ 1333124 w 6837827"/>
              <a:gd name="connsiteY268" fmla="*/ 913943 h 1153348"/>
              <a:gd name="connsiteX269" fmla="*/ 1330184 w 6837827"/>
              <a:gd name="connsiteY269" fmla="*/ 934522 h 1153348"/>
              <a:gd name="connsiteX270" fmla="*/ 1336484 w 6837827"/>
              <a:gd name="connsiteY270" fmla="*/ 958041 h 1153348"/>
              <a:gd name="connsiteX271" fmla="*/ 1349923 w 6837827"/>
              <a:gd name="connsiteY271" fmla="*/ 980301 h 1153348"/>
              <a:gd name="connsiteX272" fmla="*/ 1369663 w 6837827"/>
              <a:gd name="connsiteY272" fmla="*/ 996680 h 1153348"/>
              <a:gd name="connsiteX273" fmla="*/ 1394441 w 6837827"/>
              <a:gd name="connsiteY273" fmla="*/ 1002560 h 1153348"/>
              <a:gd name="connsiteX274" fmla="*/ 1449879 w 6837827"/>
              <a:gd name="connsiteY274" fmla="*/ 986600 h 1153348"/>
              <a:gd name="connsiteX275" fmla="*/ 1481798 w 6837827"/>
              <a:gd name="connsiteY275" fmla="*/ 949222 h 1153348"/>
              <a:gd name="connsiteX276" fmla="*/ 1493557 w 6837827"/>
              <a:gd name="connsiteY276" fmla="*/ 901344 h 1153348"/>
              <a:gd name="connsiteX277" fmla="*/ 1488517 w 6837827"/>
              <a:gd name="connsiteY277" fmla="*/ 852626 h 1153348"/>
              <a:gd name="connsiteX278" fmla="*/ 1475918 w 6837827"/>
              <a:gd name="connsiteY278" fmla="*/ 817347 h 1153348"/>
              <a:gd name="connsiteX279" fmla="*/ 1459959 w 6837827"/>
              <a:gd name="connsiteY279" fmla="*/ 781649 h 1153348"/>
              <a:gd name="connsiteX280" fmla="*/ 1446099 w 6837827"/>
              <a:gd name="connsiteY280" fmla="*/ 745531 h 1153348"/>
              <a:gd name="connsiteX281" fmla="*/ 1439380 w 6837827"/>
              <a:gd name="connsiteY281" fmla="*/ 709412 h 1153348"/>
              <a:gd name="connsiteX282" fmla="*/ 1443159 w 6837827"/>
              <a:gd name="connsiteY282" fmla="*/ 671194 h 1153348"/>
              <a:gd name="connsiteX283" fmla="*/ 1457859 w 6837827"/>
              <a:gd name="connsiteY283" fmla="*/ 653135 h 1153348"/>
              <a:gd name="connsiteX284" fmla="*/ 1483058 w 6837827"/>
              <a:gd name="connsiteY284" fmla="*/ 644315 h 1153348"/>
              <a:gd name="connsiteX285" fmla="*/ 1518336 w 6837827"/>
              <a:gd name="connsiteY285" fmla="*/ 633815 h 1153348"/>
              <a:gd name="connsiteX286" fmla="*/ 1533876 w 6837827"/>
              <a:gd name="connsiteY286" fmla="*/ 625836 h 1153348"/>
              <a:gd name="connsiteX287" fmla="*/ 1543115 w 6837827"/>
              <a:gd name="connsiteY287" fmla="*/ 610716 h 1153348"/>
              <a:gd name="connsiteX288" fmla="*/ 1538075 w 6837827"/>
              <a:gd name="connsiteY288" fmla="*/ 593497 h 1153348"/>
              <a:gd name="connsiteX289" fmla="*/ 1530096 w 6837827"/>
              <a:gd name="connsiteY289" fmla="*/ 580478 h 1153348"/>
              <a:gd name="connsiteX290" fmla="*/ 1516656 w 6837827"/>
              <a:gd name="connsiteY290" fmla="*/ 572918 h 1153348"/>
              <a:gd name="connsiteX291" fmla="*/ 1496077 w 6837827"/>
              <a:gd name="connsiteY291" fmla="*/ 571658 h 1153348"/>
              <a:gd name="connsiteX292" fmla="*/ 1472558 w 6837827"/>
              <a:gd name="connsiteY292" fmla="*/ 575018 h 1153348"/>
              <a:gd name="connsiteX293" fmla="*/ 1447359 w 6837827"/>
              <a:gd name="connsiteY293" fmla="*/ 581318 h 1153348"/>
              <a:gd name="connsiteX294" fmla="*/ 1423840 w 6837827"/>
              <a:gd name="connsiteY294" fmla="*/ 590977 h 1153348"/>
              <a:gd name="connsiteX295" fmla="*/ 1404941 w 6837827"/>
              <a:gd name="connsiteY295" fmla="*/ 604837 h 1153348"/>
              <a:gd name="connsiteX296" fmla="*/ 1370083 w 6837827"/>
              <a:gd name="connsiteY296" fmla="*/ 654394 h 1153348"/>
              <a:gd name="connsiteX297" fmla="*/ 1784185 w 6837827"/>
              <a:gd name="connsiteY297" fmla="*/ 569138 h 1153348"/>
              <a:gd name="connsiteX298" fmla="*/ 1776205 w 6837827"/>
              <a:gd name="connsiteY298" fmla="*/ 569978 h 1153348"/>
              <a:gd name="connsiteX299" fmla="*/ 1748906 w 6837827"/>
              <a:gd name="connsiteY299" fmla="*/ 575858 h 1153348"/>
              <a:gd name="connsiteX300" fmla="*/ 1727907 w 6837827"/>
              <a:gd name="connsiteY300" fmla="*/ 585097 h 1153348"/>
              <a:gd name="connsiteX301" fmla="*/ 1707328 w 6837827"/>
              <a:gd name="connsiteY301" fmla="*/ 596857 h 1153348"/>
              <a:gd name="connsiteX302" fmla="*/ 1680869 w 6837827"/>
              <a:gd name="connsiteY302" fmla="*/ 609876 h 1153348"/>
              <a:gd name="connsiteX303" fmla="*/ 1672050 w 6837827"/>
              <a:gd name="connsiteY303" fmla="*/ 611976 h 1153348"/>
              <a:gd name="connsiteX304" fmla="*/ 1662390 w 6837827"/>
              <a:gd name="connsiteY304" fmla="*/ 612396 h 1153348"/>
              <a:gd name="connsiteX305" fmla="*/ 1652730 w 6837827"/>
              <a:gd name="connsiteY305" fmla="*/ 614496 h 1153348"/>
              <a:gd name="connsiteX306" fmla="*/ 1644751 w 6837827"/>
              <a:gd name="connsiteY306" fmla="*/ 620796 h 1153348"/>
              <a:gd name="connsiteX307" fmla="*/ 1621652 w 6837827"/>
              <a:gd name="connsiteY307" fmla="*/ 722851 h 1153348"/>
              <a:gd name="connsiteX308" fmla="*/ 1619552 w 6837827"/>
              <a:gd name="connsiteY308" fmla="*/ 825747 h 1153348"/>
              <a:gd name="connsiteX309" fmla="*/ 1623752 w 6837827"/>
              <a:gd name="connsiteY309" fmla="*/ 853886 h 1153348"/>
              <a:gd name="connsiteX310" fmla="*/ 1630051 w 6837827"/>
              <a:gd name="connsiteY310" fmla="*/ 881605 h 1153348"/>
              <a:gd name="connsiteX311" fmla="*/ 1649791 w 6837827"/>
              <a:gd name="connsiteY311" fmla="*/ 922343 h 1153348"/>
              <a:gd name="connsiteX312" fmla="*/ 1684649 w 6837827"/>
              <a:gd name="connsiteY312" fmla="*/ 950482 h 1153348"/>
              <a:gd name="connsiteX313" fmla="*/ 1736307 w 6837827"/>
              <a:gd name="connsiteY313" fmla="*/ 959721 h 1153348"/>
              <a:gd name="connsiteX314" fmla="*/ 1766546 w 6837827"/>
              <a:gd name="connsiteY314" fmla="*/ 951742 h 1153348"/>
              <a:gd name="connsiteX315" fmla="*/ 1793844 w 6837827"/>
              <a:gd name="connsiteY315" fmla="*/ 936622 h 1153348"/>
              <a:gd name="connsiteX316" fmla="*/ 1811484 w 6837827"/>
              <a:gd name="connsiteY316" fmla="*/ 911004 h 1153348"/>
              <a:gd name="connsiteX317" fmla="*/ 1819883 w 6837827"/>
              <a:gd name="connsiteY317" fmla="*/ 892524 h 1153348"/>
              <a:gd name="connsiteX318" fmla="*/ 1823243 w 6837827"/>
              <a:gd name="connsiteY318" fmla="*/ 871525 h 1153348"/>
              <a:gd name="connsiteX319" fmla="*/ 1812324 w 6837827"/>
              <a:gd name="connsiteY319" fmla="*/ 851786 h 1153348"/>
              <a:gd name="connsiteX320" fmla="*/ 1789225 w 6837827"/>
              <a:gd name="connsiteY320" fmla="*/ 843806 h 1153348"/>
              <a:gd name="connsiteX321" fmla="*/ 1778725 w 6837827"/>
              <a:gd name="connsiteY321" fmla="*/ 845066 h 1153348"/>
              <a:gd name="connsiteX322" fmla="*/ 1772425 w 6837827"/>
              <a:gd name="connsiteY322" fmla="*/ 848846 h 1153348"/>
              <a:gd name="connsiteX323" fmla="*/ 1768225 w 6837827"/>
              <a:gd name="connsiteY323" fmla="*/ 855146 h 1153348"/>
              <a:gd name="connsiteX324" fmla="*/ 1763186 w 6837827"/>
              <a:gd name="connsiteY324" fmla="*/ 863545 h 1153348"/>
              <a:gd name="connsiteX325" fmla="*/ 1752266 w 6837827"/>
              <a:gd name="connsiteY325" fmla="*/ 873625 h 1153348"/>
              <a:gd name="connsiteX326" fmla="*/ 1739247 w 6837827"/>
              <a:gd name="connsiteY326" fmla="*/ 877825 h 1153348"/>
              <a:gd name="connsiteX327" fmla="*/ 1710268 w 6837827"/>
              <a:gd name="connsiteY327" fmla="*/ 869425 h 1153348"/>
              <a:gd name="connsiteX328" fmla="*/ 1697668 w 6837827"/>
              <a:gd name="connsiteY328" fmla="*/ 840026 h 1153348"/>
              <a:gd name="connsiteX329" fmla="*/ 1714888 w 6837827"/>
              <a:gd name="connsiteY329" fmla="*/ 827427 h 1153348"/>
              <a:gd name="connsiteX330" fmla="*/ 1735047 w 6837827"/>
              <a:gd name="connsiteY330" fmla="*/ 816508 h 1153348"/>
              <a:gd name="connsiteX331" fmla="*/ 1754786 w 6837827"/>
              <a:gd name="connsiteY331" fmla="*/ 804328 h 1153348"/>
              <a:gd name="connsiteX332" fmla="*/ 1770745 w 6837827"/>
              <a:gd name="connsiteY332" fmla="*/ 788369 h 1153348"/>
              <a:gd name="connsiteX333" fmla="*/ 1779145 w 6837827"/>
              <a:gd name="connsiteY333" fmla="*/ 771989 h 1153348"/>
              <a:gd name="connsiteX334" fmla="*/ 1781245 w 6837827"/>
              <a:gd name="connsiteY334" fmla="*/ 753510 h 1153348"/>
              <a:gd name="connsiteX335" fmla="*/ 1771585 w 6837827"/>
              <a:gd name="connsiteY335" fmla="*/ 735451 h 1153348"/>
              <a:gd name="connsiteX336" fmla="*/ 1751006 w 6837827"/>
              <a:gd name="connsiteY336" fmla="*/ 729571 h 1153348"/>
              <a:gd name="connsiteX337" fmla="*/ 1730007 w 6837827"/>
              <a:gd name="connsiteY337" fmla="*/ 734611 h 1153348"/>
              <a:gd name="connsiteX338" fmla="*/ 1712368 w 6837827"/>
              <a:gd name="connsiteY338" fmla="*/ 742591 h 1153348"/>
              <a:gd name="connsiteX339" fmla="*/ 1702288 w 6837827"/>
              <a:gd name="connsiteY339" fmla="*/ 746790 h 1153348"/>
              <a:gd name="connsiteX340" fmla="*/ 1697248 w 6837827"/>
              <a:gd name="connsiteY340" fmla="*/ 745531 h 1153348"/>
              <a:gd name="connsiteX341" fmla="*/ 1695569 w 6837827"/>
              <a:gd name="connsiteY341" fmla="*/ 740491 h 1153348"/>
              <a:gd name="connsiteX342" fmla="*/ 1694729 w 6837827"/>
              <a:gd name="connsiteY342" fmla="*/ 734191 h 1153348"/>
              <a:gd name="connsiteX343" fmla="*/ 1695569 w 6837827"/>
              <a:gd name="connsiteY343" fmla="*/ 721172 h 1153348"/>
              <a:gd name="connsiteX344" fmla="*/ 1698928 w 6837827"/>
              <a:gd name="connsiteY344" fmla="*/ 706472 h 1153348"/>
              <a:gd name="connsiteX345" fmla="*/ 1702708 w 6837827"/>
              <a:gd name="connsiteY345" fmla="*/ 693453 h 1153348"/>
              <a:gd name="connsiteX346" fmla="*/ 1705228 w 6837827"/>
              <a:gd name="connsiteY346" fmla="*/ 684633 h 1153348"/>
              <a:gd name="connsiteX347" fmla="*/ 1716568 w 6837827"/>
              <a:gd name="connsiteY347" fmla="*/ 671194 h 1153348"/>
              <a:gd name="connsiteX348" fmla="*/ 1737567 w 6837827"/>
              <a:gd name="connsiteY348" fmla="*/ 659014 h 1153348"/>
              <a:gd name="connsiteX349" fmla="*/ 1761086 w 6837827"/>
              <a:gd name="connsiteY349" fmla="*/ 648935 h 1153348"/>
              <a:gd name="connsiteX350" fmla="*/ 1779145 w 6837827"/>
              <a:gd name="connsiteY350" fmla="*/ 642635 h 1153348"/>
              <a:gd name="connsiteX351" fmla="*/ 1811484 w 6837827"/>
              <a:gd name="connsiteY351" fmla="*/ 627516 h 1153348"/>
              <a:gd name="connsiteX352" fmla="*/ 1826603 w 6837827"/>
              <a:gd name="connsiteY352" fmla="*/ 595597 h 1153348"/>
              <a:gd name="connsiteX353" fmla="*/ 1823663 w 6837827"/>
              <a:gd name="connsiteY353" fmla="*/ 585518 h 1153348"/>
              <a:gd name="connsiteX354" fmla="*/ 1815263 w 6837827"/>
              <a:gd name="connsiteY354" fmla="*/ 577538 h 1153348"/>
              <a:gd name="connsiteX355" fmla="*/ 1804344 w 6837827"/>
              <a:gd name="connsiteY355" fmla="*/ 572078 h 1153348"/>
              <a:gd name="connsiteX356" fmla="*/ 1793844 w 6837827"/>
              <a:gd name="connsiteY356" fmla="*/ 569978 h 1153348"/>
              <a:gd name="connsiteX357" fmla="*/ 1784185 w 6837827"/>
              <a:gd name="connsiteY357" fmla="*/ 569138 h 1153348"/>
              <a:gd name="connsiteX358" fmla="*/ 1963097 w 6837827"/>
              <a:gd name="connsiteY358" fmla="*/ 933263 h 1153348"/>
              <a:gd name="connsiteX359" fmla="*/ 1977796 w 6837827"/>
              <a:gd name="connsiteY359" fmla="*/ 923183 h 1153348"/>
              <a:gd name="connsiteX360" fmla="*/ 1987456 w 6837827"/>
              <a:gd name="connsiteY360" fmla="*/ 902604 h 1153348"/>
              <a:gd name="connsiteX361" fmla="*/ 1993756 w 6837827"/>
              <a:gd name="connsiteY361" fmla="*/ 876985 h 1153348"/>
              <a:gd name="connsiteX362" fmla="*/ 1998376 w 6837827"/>
              <a:gd name="connsiteY362" fmla="*/ 851786 h 1153348"/>
              <a:gd name="connsiteX363" fmla="*/ 2003415 w 6837827"/>
              <a:gd name="connsiteY363" fmla="*/ 832047 h 1153348"/>
              <a:gd name="connsiteX364" fmla="*/ 2011815 w 6837827"/>
              <a:gd name="connsiteY364" fmla="*/ 816087 h 1153348"/>
              <a:gd name="connsiteX365" fmla="*/ 2029874 w 6837827"/>
              <a:gd name="connsiteY365" fmla="*/ 813568 h 1153348"/>
              <a:gd name="connsiteX366" fmla="*/ 2057173 w 6837827"/>
              <a:gd name="connsiteY366" fmla="*/ 811888 h 1153348"/>
              <a:gd name="connsiteX367" fmla="*/ 2078172 w 6837827"/>
              <a:gd name="connsiteY367" fmla="*/ 808528 h 1153348"/>
              <a:gd name="connsiteX368" fmla="*/ 2097491 w 6837827"/>
              <a:gd name="connsiteY368" fmla="*/ 801388 h 1153348"/>
              <a:gd name="connsiteX369" fmla="*/ 2119330 w 6837827"/>
              <a:gd name="connsiteY369" fmla="*/ 788789 h 1153348"/>
              <a:gd name="connsiteX370" fmla="*/ 2129830 w 6837827"/>
              <a:gd name="connsiteY370" fmla="*/ 818187 h 1153348"/>
              <a:gd name="connsiteX371" fmla="*/ 2135290 w 6837827"/>
              <a:gd name="connsiteY371" fmla="*/ 854306 h 1153348"/>
              <a:gd name="connsiteX372" fmla="*/ 2146209 w 6837827"/>
              <a:gd name="connsiteY372" fmla="*/ 885384 h 1153348"/>
              <a:gd name="connsiteX373" fmla="*/ 2173088 w 6837827"/>
              <a:gd name="connsiteY373" fmla="*/ 900084 h 1153348"/>
              <a:gd name="connsiteX374" fmla="*/ 2197867 w 6837827"/>
              <a:gd name="connsiteY374" fmla="*/ 895884 h 1153348"/>
              <a:gd name="connsiteX375" fmla="*/ 2215926 w 6837827"/>
              <a:gd name="connsiteY375" fmla="*/ 880765 h 1153348"/>
              <a:gd name="connsiteX376" fmla="*/ 2226006 w 6837827"/>
              <a:gd name="connsiteY376" fmla="*/ 858926 h 1153348"/>
              <a:gd name="connsiteX377" fmla="*/ 2226846 w 6837827"/>
              <a:gd name="connsiteY377" fmla="*/ 833727 h 1153348"/>
              <a:gd name="connsiteX378" fmla="*/ 2221386 w 6837827"/>
              <a:gd name="connsiteY378" fmla="*/ 819867 h 1153348"/>
              <a:gd name="connsiteX379" fmla="*/ 2210886 w 6837827"/>
              <a:gd name="connsiteY379" fmla="*/ 803068 h 1153348"/>
              <a:gd name="connsiteX380" fmla="*/ 2199547 w 6837827"/>
              <a:gd name="connsiteY380" fmla="*/ 783749 h 1153348"/>
              <a:gd name="connsiteX381" fmla="*/ 2191987 w 6837827"/>
              <a:gd name="connsiteY381" fmla="*/ 762330 h 1153348"/>
              <a:gd name="connsiteX382" fmla="*/ 2187787 w 6837827"/>
              <a:gd name="connsiteY382" fmla="*/ 742171 h 1153348"/>
              <a:gd name="connsiteX383" fmla="*/ 2181908 w 6837827"/>
              <a:gd name="connsiteY383" fmla="*/ 718652 h 1153348"/>
              <a:gd name="connsiteX384" fmla="*/ 2175608 w 6837827"/>
              <a:gd name="connsiteY384" fmla="*/ 695133 h 1153348"/>
              <a:gd name="connsiteX385" fmla="*/ 2170568 w 6837827"/>
              <a:gd name="connsiteY385" fmla="*/ 674553 h 1153348"/>
              <a:gd name="connsiteX386" fmla="*/ 2163848 w 6837827"/>
              <a:gd name="connsiteY386" fmla="*/ 643475 h 1153348"/>
              <a:gd name="connsiteX387" fmla="*/ 2156289 w 6837827"/>
              <a:gd name="connsiteY387" fmla="*/ 614916 h 1153348"/>
              <a:gd name="connsiteX388" fmla="*/ 2146209 w 6837827"/>
              <a:gd name="connsiteY388" fmla="*/ 586777 h 1153348"/>
              <a:gd name="connsiteX389" fmla="*/ 2131930 w 6837827"/>
              <a:gd name="connsiteY389" fmla="*/ 556539 h 1153348"/>
              <a:gd name="connsiteX390" fmla="*/ 2120590 w 6837827"/>
              <a:gd name="connsiteY390" fmla="*/ 538479 h 1153348"/>
              <a:gd name="connsiteX391" fmla="*/ 2103791 w 6837827"/>
              <a:gd name="connsiteY391" fmla="*/ 520420 h 1153348"/>
              <a:gd name="connsiteX392" fmla="*/ 2083632 w 6837827"/>
              <a:gd name="connsiteY392" fmla="*/ 509501 h 1153348"/>
              <a:gd name="connsiteX393" fmla="*/ 2062213 w 6837827"/>
              <a:gd name="connsiteY393" fmla="*/ 514540 h 1153348"/>
              <a:gd name="connsiteX394" fmla="*/ 2051713 w 6837827"/>
              <a:gd name="connsiteY394" fmla="*/ 529240 h 1153348"/>
              <a:gd name="connsiteX395" fmla="*/ 2041634 w 6837827"/>
              <a:gd name="connsiteY395" fmla="*/ 553179 h 1153348"/>
              <a:gd name="connsiteX396" fmla="*/ 2032394 w 6837827"/>
              <a:gd name="connsiteY396" fmla="*/ 577958 h 1153348"/>
              <a:gd name="connsiteX397" fmla="*/ 2025674 w 6837827"/>
              <a:gd name="connsiteY397" fmla="*/ 596017 h 1153348"/>
              <a:gd name="connsiteX398" fmla="*/ 2014755 w 6837827"/>
              <a:gd name="connsiteY398" fmla="*/ 619116 h 1153348"/>
              <a:gd name="connsiteX399" fmla="*/ 2001316 w 6837827"/>
              <a:gd name="connsiteY399" fmla="*/ 648515 h 1153348"/>
              <a:gd name="connsiteX400" fmla="*/ 1990396 w 6837827"/>
              <a:gd name="connsiteY400" fmla="*/ 678333 h 1153348"/>
              <a:gd name="connsiteX401" fmla="*/ 1986196 w 6837827"/>
              <a:gd name="connsiteY401" fmla="*/ 701432 h 1153348"/>
              <a:gd name="connsiteX402" fmla="*/ 1966457 w 6837827"/>
              <a:gd name="connsiteY402" fmla="*/ 742171 h 1153348"/>
              <a:gd name="connsiteX403" fmla="*/ 1943778 w 6837827"/>
              <a:gd name="connsiteY403" fmla="*/ 786269 h 1153348"/>
              <a:gd name="connsiteX404" fmla="*/ 1926139 w 6837827"/>
              <a:gd name="connsiteY404" fmla="*/ 832887 h 1153348"/>
              <a:gd name="connsiteX405" fmla="*/ 1921519 w 6837827"/>
              <a:gd name="connsiteY405" fmla="*/ 881605 h 1153348"/>
              <a:gd name="connsiteX406" fmla="*/ 1927819 w 6837827"/>
              <a:gd name="connsiteY406" fmla="*/ 906804 h 1153348"/>
              <a:gd name="connsiteX407" fmla="*/ 1941678 w 6837827"/>
              <a:gd name="connsiteY407" fmla="*/ 927803 h 1153348"/>
              <a:gd name="connsiteX408" fmla="*/ 1963097 w 6837827"/>
              <a:gd name="connsiteY408" fmla="*/ 933263 h 1153348"/>
              <a:gd name="connsiteX409" fmla="*/ 2089512 w 6837827"/>
              <a:gd name="connsiteY409" fmla="*/ 624576 h 1153348"/>
              <a:gd name="connsiteX410" fmla="*/ 2092451 w 6837827"/>
              <a:gd name="connsiteY410" fmla="*/ 648095 h 1153348"/>
              <a:gd name="connsiteX411" fmla="*/ 2100011 w 6837827"/>
              <a:gd name="connsiteY411" fmla="*/ 679173 h 1153348"/>
              <a:gd name="connsiteX412" fmla="*/ 2106311 w 6837827"/>
              <a:gd name="connsiteY412" fmla="*/ 709412 h 1153348"/>
              <a:gd name="connsiteX413" fmla="*/ 2105891 w 6837827"/>
              <a:gd name="connsiteY413" fmla="*/ 730411 h 1153348"/>
              <a:gd name="connsiteX414" fmla="*/ 2091192 w 6837827"/>
              <a:gd name="connsiteY414" fmla="*/ 734191 h 1153348"/>
              <a:gd name="connsiteX415" fmla="*/ 2067673 w 6837827"/>
              <a:gd name="connsiteY415" fmla="*/ 737551 h 1153348"/>
              <a:gd name="connsiteX416" fmla="*/ 2045834 w 6837827"/>
              <a:gd name="connsiteY416" fmla="*/ 738811 h 1153348"/>
              <a:gd name="connsiteX417" fmla="*/ 2037014 w 6837827"/>
              <a:gd name="connsiteY417" fmla="*/ 735871 h 1153348"/>
              <a:gd name="connsiteX418" fmla="*/ 2056333 w 6837827"/>
              <a:gd name="connsiteY418" fmla="*/ 679593 h 1153348"/>
              <a:gd name="connsiteX419" fmla="*/ 2081532 w 6837827"/>
              <a:gd name="connsiteY419" fmla="*/ 624996 h 1153348"/>
              <a:gd name="connsiteX420" fmla="*/ 2089512 w 6837827"/>
              <a:gd name="connsiteY420" fmla="*/ 624576 h 1153348"/>
              <a:gd name="connsiteX421" fmla="*/ 2428437 w 6837827"/>
              <a:gd name="connsiteY421" fmla="*/ 757710 h 1153348"/>
              <a:gd name="connsiteX422" fmla="*/ 2439777 w 6837827"/>
              <a:gd name="connsiteY422" fmla="*/ 760650 h 1153348"/>
              <a:gd name="connsiteX423" fmla="*/ 2470435 w 6837827"/>
              <a:gd name="connsiteY423" fmla="*/ 771989 h 1153348"/>
              <a:gd name="connsiteX424" fmla="*/ 2498574 w 6837827"/>
              <a:gd name="connsiteY424" fmla="*/ 790049 h 1153348"/>
              <a:gd name="connsiteX425" fmla="*/ 2521253 w 6837827"/>
              <a:gd name="connsiteY425" fmla="*/ 809368 h 1153348"/>
              <a:gd name="connsiteX426" fmla="*/ 2548132 w 6837827"/>
              <a:gd name="connsiteY426" fmla="*/ 826167 h 1153348"/>
              <a:gd name="connsiteX427" fmla="*/ 2577531 w 6837827"/>
              <a:gd name="connsiteY427" fmla="*/ 837087 h 1153348"/>
              <a:gd name="connsiteX428" fmla="*/ 2608609 w 6837827"/>
              <a:gd name="connsiteY428" fmla="*/ 839186 h 1153348"/>
              <a:gd name="connsiteX429" fmla="*/ 2634648 w 6837827"/>
              <a:gd name="connsiteY429" fmla="*/ 830787 h 1153348"/>
              <a:gd name="connsiteX430" fmla="*/ 2651027 w 6837827"/>
              <a:gd name="connsiteY430" fmla="*/ 816087 h 1153348"/>
              <a:gd name="connsiteX431" fmla="*/ 2654388 w 6837827"/>
              <a:gd name="connsiteY431" fmla="*/ 798868 h 1153348"/>
              <a:gd name="connsiteX432" fmla="*/ 2645988 w 6837827"/>
              <a:gd name="connsiteY432" fmla="*/ 782489 h 1153348"/>
              <a:gd name="connsiteX433" fmla="*/ 2627509 w 6837827"/>
              <a:gd name="connsiteY433" fmla="*/ 769889 h 1153348"/>
              <a:gd name="connsiteX434" fmla="*/ 2616589 w 6837827"/>
              <a:gd name="connsiteY434" fmla="*/ 769049 h 1153348"/>
              <a:gd name="connsiteX435" fmla="*/ 2606509 w 6837827"/>
              <a:gd name="connsiteY435" fmla="*/ 766110 h 1153348"/>
              <a:gd name="connsiteX436" fmla="*/ 2577951 w 6837827"/>
              <a:gd name="connsiteY436" fmla="*/ 746790 h 1153348"/>
              <a:gd name="connsiteX437" fmla="*/ 2547712 w 6837827"/>
              <a:gd name="connsiteY437" fmla="*/ 729991 h 1153348"/>
              <a:gd name="connsiteX438" fmla="*/ 2516633 w 6837827"/>
              <a:gd name="connsiteY438" fmla="*/ 714032 h 1153348"/>
              <a:gd name="connsiteX439" fmla="*/ 2487234 w 6837827"/>
              <a:gd name="connsiteY439" fmla="*/ 695973 h 1153348"/>
              <a:gd name="connsiteX440" fmla="*/ 2519573 w 6837827"/>
              <a:gd name="connsiteY440" fmla="*/ 682953 h 1153348"/>
              <a:gd name="connsiteX441" fmla="*/ 2543932 w 6837827"/>
              <a:gd name="connsiteY441" fmla="*/ 650615 h 1153348"/>
              <a:gd name="connsiteX442" fmla="*/ 2559471 w 6837827"/>
              <a:gd name="connsiteY442" fmla="*/ 606517 h 1153348"/>
              <a:gd name="connsiteX443" fmla="*/ 2565351 w 6837827"/>
              <a:gd name="connsiteY443" fmla="*/ 558639 h 1153348"/>
              <a:gd name="connsiteX444" fmla="*/ 2560731 w 6837827"/>
              <a:gd name="connsiteY444" fmla="*/ 514121 h 1153348"/>
              <a:gd name="connsiteX445" fmla="*/ 2543932 w 6837827"/>
              <a:gd name="connsiteY445" fmla="*/ 480522 h 1153348"/>
              <a:gd name="connsiteX446" fmla="*/ 2514533 w 6837827"/>
              <a:gd name="connsiteY446" fmla="*/ 465403 h 1153348"/>
              <a:gd name="connsiteX447" fmla="*/ 2471695 w 6837827"/>
              <a:gd name="connsiteY447" fmla="*/ 476742 h 1153348"/>
              <a:gd name="connsiteX448" fmla="*/ 2460776 w 6837827"/>
              <a:gd name="connsiteY448" fmla="*/ 480522 h 1153348"/>
              <a:gd name="connsiteX449" fmla="*/ 2449856 w 6837827"/>
              <a:gd name="connsiteY449" fmla="*/ 491441 h 1153348"/>
              <a:gd name="connsiteX450" fmla="*/ 2439357 w 6837827"/>
              <a:gd name="connsiteY450" fmla="*/ 504881 h 1153348"/>
              <a:gd name="connsiteX451" fmla="*/ 2430117 w 6837827"/>
              <a:gd name="connsiteY451" fmla="*/ 515800 h 1153348"/>
              <a:gd name="connsiteX452" fmla="*/ 2420037 w 6837827"/>
              <a:gd name="connsiteY452" fmla="*/ 522100 h 1153348"/>
              <a:gd name="connsiteX453" fmla="*/ 2409958 w 6837827"/>
              <a:gd name="connsiteY453" fmla="*/ 526720 h 1153348"/>
              <a:gd name="connsiteX454" fmla="*/ 2401558 w 6837827"/>
              <a:gd name="connsiteY454" fmla="*/ 532600 h 1153348"/>
              <a:gd name="connsiteX455" fmla="*/ 2396938 w 6837827"/>
              <a:gd name="connsiteY455" fmla="*/ 543099 h 1153348"/>
              <a:gd name="connsiteX456" fmla="*/ 2388959 w 6837827"/>
              <a:gd name="connsiteY456" fmla="*/ 576698 h 1153348"/>
              <a:gd name="connsiteX457" fmla="*/ 2378459 w 6837827"/>
              <a:gd name="connsiteY457" fmla="*/ 608196 h 1153348"/>
              <a:gd name="connsiteX458" fmla="*/ 2367120 w 6837827"/>
              <a:gd name="connsiteY458" fmla="*/ 639695 h 1153348"/>
              <a:gd name="connsiteX459" fmla="*/ 2356620 w 6837827"/>
              <a:gd name="connsiteY459" fmla="*/ 672454 h 1153348"/>
              <a:gd name="connsiteX460" fmla="*/ 2346961 w 6837827"/>
              <a:gd name="connsiteY460" fmla="*/ 714452 h 1153348"/>
              <a:gd name="connsiteX461" fmla="*/ 2338561 w 6837827"/>
              <a:gd name="connsiteY461" fmla="*/ 755610 h 1153348"/>
              <a:gd name="connsiteX462" fmla="*/ 2332261 w 6837827"/>
              <a:gd name="connsiteY462" fmla="*/ 779129 h 1153348"/>
              <a:gd name="connsiteX463" fmla="*/ 2323022 w 6837827"/>
              <a:gd name="connsiteY463" fmla="*/ 817347 h 1153348"/>
              <a:gd name="connsiteX464" fmla="*/ 2315042 w 6837827"/>
              <a:gd name="connsiteY464" fmla="*/ 861445 h 1153348"/>
              <a:gd name="connsiteX465" fmla="*/ 2313782 w 6837827"/>
              <a:gd name="connsiteY465" fmla="*/ 902604 h 1153348"/>
              <a:gd name="connsiteX466" fmla="*/ 2323022 w 6837827"/>
              <a:gd name="connsiteY466" fmla="*/ 932003 h 1153348"/>
              <a:gd name="connsiteX467" fmla="*/ 2347381 w 6837827"/>
              <a:gd name="connsiteY467" fmla="*/ 941662 h 1153348"/>
              <a:gd name="connsiteX468" fmla="*/ 2367120 w 6837827"/>
              <a:gd name="connsiteY468" fmla="*/ 932842 h 1153348"/>
              <a:gd name="connsiteX469" fmla="*/ 2378459 w 6837827"/>
              <a:gd name="connsiteY469" fmla="*/ 914783 h 1153348"/>
              <a:gd name="connsiteX470" fmla="*/ 2383499 w 6837827"/>
              <a:gd name="connsiteY470" fmla="*/ 891264 h 1153348"/>
              <a:gd name="connsiteX471" fmla="*/ 2384339 w 6837827"/>
              <a:gd name="connsiteY471" fmla="*/ 866485 h 1153348"/>
              <a:gd name="connsiteX472" fmla="*/ 2388119 w 6837827"/>
              <a:gd name="connsiteY472" fmla="*/ 840446 h 1153348"/>
              <a:gd name="connsiteX473" fmla="*/ 2396938 w 6837827"/>
              <a:gd name="connsiteY473" fmla="*/ 808108 h 1153348"/>
              <a:gd name="connsiteX474" fmla="*/ 2408698 w 6837827"/>
              <a:gd name="connsiteY474" fmla="*/ 775349 h 1153348"/>
              <a:gd name="connsiteX475" fmla="*/ 2420458 w 6837827"/>
              <a:gd name="connsiteY475" fmla="*/ 748470 h 1153348"/>
              <a:gd name="connsiteX476" fmla="*/ 2428437 w 6837827"/>
              <a:gd name="connsiteY476" fmla="*/ 757710 h 1153348"/>
              <a:gd name="connsiteX477" fmla="*/ 2460776 w 6837827"/>
              <a:gd name="connsiteY477" fmla="*/ 649355 h 1153348"/>
              <a:gd name="connsiteX478" fmla="*/ 2452376 w 6837827"/>
              <a:gd name="connsiteY478" fmla="*/ 659434 h 1153348"/>
              <a:gd name="connsiteX479" fmla="*/ 2443976 w 6837827"/>
              <a:gd name="connsiteY479" fmla="*/ 664894 h 1153348"/>
              <a:gd name="connsiteX480" fmla="*/ 2437257 w 6837827"/>
              <a:gd name="connsiteY480" fmla="*/ 663214 h 1153348"/>
              <a:gd name="connsiteX481" fmla="*/ 2434317 w 6837827"/>
              <a:gd name="connsiteY481" fmla="*/ 645995 h 1153348"/>
              <a:gd name="connsiteX482" fmla="*/ 2443557 w 6837827"/>
              <a:gd name="connsiteY482" fmla="*/ 622476 h 1153348"/>
              <a:gd name="connsiteX483" fmla="*/ 2458256 w 6837827"/>
              <a:gd name="connsiteY483" fmla="*/ 600217 h 1153348"/>
              <a:gd name="connsiteX484" fmla="*/ 2472115 w 6837827"/>
              <a:gd name="connsiteY484" fmla="*/ 586357 h 1153348"/>
              <a:gd name="connsiteX485" fmla="*/ 2472955 w 6837827"/>
              <a:gd name="connsiteY485" fmla="*/ 612396 h 1153348"/>
              <a:gd name="connsiteX486" fmla="*/ 2467075 w 6837827"/>
              <a:gd name="connsiteY486" fmla="*/ 638015 h 1153348"/>
              <a:gd name="connsiteX487" fmla="*/ 2460776 w 6837827"/>
              <a:gd name="connsiteY487" fmla="*/ 649355 h 1153348"/>
              <a:gd name="connsiteX488" fmla="*/ 2831200 w 6837827"/>
              <a:gd name="connsiteY488" fmla="*/ 496901 h 1153348"/>
              <a:gd name="connsiteX489" fmla="*/ 2790882 w 6837827"/>
              <a:gd name="connsiteY489" fmla="*/ 531340 h 1153348"/>
              <a:gd name="connsiteX490" fmla="*/ 2758543 w 6837827"/>
              <a:gd name="connsiteY490" fmla="*/ 578378 h 1153348"/>
              <a:gd name="connsiteX491" fmla="*/ 2735444 w 6837827"/>
              <a:gd name="connsiteY491" fmla="*/ 631716 h 1153348"/>
              <a:gd name="connsiteX492" fmla="*/ 2723685 w 6837827"/>
              <a:gd name="connsiteY492" fmla="*/ 685893 h 1153348"/>
              <a:gd name="connsiteX493" fmla="*/ 2725364 w 6837827"/>
              <a:gd name="connsiteY493" fmla="*/ 734191 h 1153348"/>
              <a:gd name="connsiteX494" fmla="*/ 2748043 w 6837827"/>
              <a:gd name="connsiteY494" fmla="*/ 784169 h 1153348"/>
              <a:gd name="connsiteX495" fmla="*/ 2790882 w 6837827"/>
              <a:gd name="connsiteY495" fmla="*/ 817767 h 1153348"/>
              <a:gd name="connsiteX496" fmla="*/ 2843799 w 6837827"/>
              <a:gd name="connsiteY496" fmla="*/ 826587 h 1153348"/>
              <a:gd name="connsiteX497" fmla="*/ 2896297 w 6837827"/>
              <a:gd name="connsiteY497" fmla="*/ 802648 h 1153348"/>
              <a:gd name="connsiteX498" fmla="*/ 2915616 w 6837827"/>
              <a:gd name="connsiteY498" fmla="*/ 788789 h 1153348"/>
              <a:gd name="connsiteX499" fmla="*/ 2937455 w 6837827"/>
              <a:gd name="connsiteY499" fmla="*/ 773669 h 1153348"/>
              <a:gd name="connsiteX500" fmla="*/ 2954254 w 6837827"/>
              <a:gd name="connsiteY500" fmla="*/ 755190 h 1153348"/>
              <a:gd name="connsiteX501" fmla="*/ 2959294 w 6837827"/>
              <a:gd name="connsiteY501" fmla="*/ 730831 h 1153348"/>
              <a:gd name="connsiteX502" fmla="*/ 2949635 w 6837827"/>
              <a:gd name="connsiteY502" fmla="*/ 717392 h 1153348"/>
              <a:gd name="connsiteX503" fmla="*/ 2929056 w 6837827"/>
              <a:gd name="connsiteY503" fmla="*/ 715712 h 1153348"/>
              <a:gd name="connsiteX504" fmla="*/ 2903017 w 6837827"/>
              <a:gd name="connsiteY504" fmla="*/ 721592 h 1153348"/>
              <a:gd name="connsiteX505" fmla="*/ 2876138 w 6837827"/>
              <a:gd name="connsiteY505" fmla="*/ 731251 h 1153348"/>
              <a:gd name="connsiteX506" fmla="*/ 2854299 w 6837827"/>
              <a:gd name="connsiteY506" fmla="*/ 740911 h 1153348"/>
              <a:gd name="connsiteX507" fmla="*/ 2842539 w 6837827"/>
              <a:gd name="connsiteY507" fmla="*/ 745531 h 1153348"/>
              <a:gd name="connsiteX508" fmla="*/ 2816081 w 6837827"/>
              <a:gd name="connsiteY508" fmla="*/ 743011 h 1153348"/>
              <a:gd name="connsiteX509" fmla="*/ 2802641 w 6837827"/>
              <a:gd name="connsiteY509" fmla="*/ 726211 h 1153348"/>
              <a:gd name="connsiteX510" fmla="*/ 2798861 w 6837827"/>
              <a:gd name="connsiteY510" fmla="*/ 700173 h 1153348"/>
              <a:gd name="connsiteX511" fmla="*/ 2802641 w 6837827"/>
              <a:gd name="connsiteY511" fmla="*/ 670354 h 1153348"/>
              <a:gd name="connsiteX512" fmla="*/ 2810621 w 6837827"/>
              <a:gd name="connsiteY512" fmla="*/ 642635 h 1153348"/>
              <a:gd name="connsiteX513" fmla="*/ 2819860 w 6837827"/>
              <a:gd name="connsiteY513" fmla="*/ 622056 h 1153348"/>
              <a:gd name="connsiteX514" fmla="*/ 2838759 w 6837827"/>
              <a:gd name="connsiteY514" fmla="*/ 590137 h 1153348"/>
              <a:gd name="connsiteX515" fmla="*/ 2860179 w 6837827"/>
              <a:gd name="connsiteY515" fmla="*/ 566198 h 1153348"/>
              <a:gd name="connsiteX516" fmla="*/ 2889157 w 6837827"/>
              <a:gd name="connsiteY516" fmla="*/ 555279 h 1153348"/>
              <a:gd name="connsiteX517" fmla="*/ 2931576 w 6837827"/>
              <a:gd name="connsiteY517" fmla="*/ 563258 h 1153348"/>
              <a:gd name="connsiteX518" fmla="*/ 2946275 w 6837827"/>
              <a:gd name="connsiteY518" fmla="*/ 554859 h 1153348"/>
              <a:gd name="connsiteX519" fmla="*/ 2951735 w 6837827"/>
              <a:gd name="connsiteY519" fmla="*/ 540579 h 1153348"/>
              <a:gd name="connsiteX520" fmla="*/ 2950475 w 6837827"/>
              <a:gd name="connsiteY520" fmla="*/ 523360 h 1153348"/>
              <a:gd name="connsiteX521" fmla="*/ 2945015 w 6837827"/>
              <a:gd name="connsiteY521" fmla="*/ 506561 h 1153348"/>
              <a:gd name="connsiteX522" fmla="*/ 2933676 w 6837827"/>
              <a:gd name="connsiteY522" fmla="*/ 493121 h 1153348"/>
              <a:gd name="connsiteX523" fmla="*/ 2916456 w 6837827"/>
              <a:gd name="connsiteY523" fmla="*/ 485142 h 1153348"/>
              <a:gd name="connsiteX524" fmla="*/ 2896717 w 6837827"/>
              <a:gd name="connsiteY524" fmla="*/ 481362 h 1153348"/>
              <a:gd name="connsiteX525" fmla="*/ 2878238 w 6837827"/>
              <a:gd name="connsiteY525" fmla="*/ 481362 h 1153348"/>
              <a:gd name="connsiteX526" fmla="*/ 2831200 w 6837827"/>
              <a:gd name="connsiteY526" fmla="*/ 496901 h 1153348"/>
              <a:gd name="connsiteX527" fmla="*/ 3248662 w 6837827"/>
              <a:gd name="connsiteY527" fmla="*/ 421725 h 1153348"/>
              <a:gd name="connsiteX528" fmla="*/ 3229763 w 6837827"/>
              <a:gd name="connsiteY528" fmla="*/ 451543 h 1153348"/>
              <a:gd name="connsiteX529" fmla="*/ 3225983 w 6837827"/>
              <a:gd name="connsiteY529" fmla="*/ 481362 h 1153348"/>
              <a:gd name="connsiteX530" fmla="*/ 3224723 w 6837827"/>
              <a:gd name="connsiteY530" fmla="*/ 510341 h 1153348"/>
              <a:gd name="connsiteX531" fmla="*/ 3223043 w 6837827"/>
              <a:gd name="connsiteY531" fmla="*/ 539739 h 1153348"/>
              <a:gd name="connsiteX532" fmla="*/ 3217163 w 6837827"/>
              <a:gd name="connsiteY532" fmla="*/ 568298 h 1153348"/>
              <a:gd name="connsiteX533" fmla="*/ 3201204 w 6837827"/>
              <a:gd name="connsiteY533" fmla="*/ 571238 h 1153348"/>
              <a:gd name="connsiteX534" fmla="*/ 3180625 w 6837827"/>
              <a:gd name="connsiteY534" fmla="*/ 574178 h 1153348"/>
              <a:gd name="connsiteX535" fmla="*/ 3160466 w 6837827"/>
              <a:gd name="connsiteY535" fmla="*/ 576278 h 1153348"/>
              <a:gd name="connsiteX536" fmla="*/ 3146186 w 6837827"/>
              <a:gd name="connsiteY536" fmla="*/ 576278 h 1153348"/>
              <a:gd name="connsiteX537" fmla="*/ 3141567 w 6837827"/>
              <a:gd name="connsiteY537" fmla="*/ 547719 h 1153348"/>
              <a:gd name="connsiteX538" fmla="*/ 3142406 w 6837827"/>
              <a:gd name="connsiteY538" fmla="*/ 522520 h 1153348"/>
              <a:gd name="connsiteX539" fmla="*/ 3144926 w 6837827"/>
              <a:gd name="connsiteY539" fmla="*/ 497741 h 1153348"/>
              <a:gd name="connsiteX540" fmla="*/ 3145766 w 6837827"/>
              <a:gd name="connsiteY540" fmla="*/ 470442 h 1153348"/>
              <a:gd name="connsiteX541" fmla="*/ 3139887 w 6837827"/>
              <a:gd name="connsiteY541" fmla="*/ 458683 h 1153348"/>
              <a:gd name="connsiteX542" fmla="*/ 3126867 w 6837827"/>
              <a:gd name="connsiteY542" fmla="*/ 449863 h 1153348"/>
              <a:gd name="connsiteX543" fmla="*/ 3111328 w 6837827"/>
              <a:gd name="connsiteY543" fmla="*/ 445663 h 1153348"/>
              <a:gd name="connsiteX544" fmla="*/ 3098728 w 6837827"/>
              <a:gd name="connsiteY544" fmla="*/ 446923 h 1153348"/>
              <a:gd name="connsiteX545" fmla="*/ 3085289 w 6837827"/>
              <a:gd name="connsiteY545" fmla="*/ 462043 h 1153348"/>
              <a:gd name="connsiteX546" fmla="*/ 3078989 w 6837827"/>
              <a:gd name="connsiteY546" fmla="*/ 487242 h 1153348"/>
              <a:gd name="connsiteX547" fmla="*/ 3077729 w 6837827"/>
              <a:gd name="connsiteY547" fmla="*/ 514121 h 1153348"/>
              <a:gd name="connsiteX548" fmla="*/ 3078989 w 6837827"/>
              <a:gd name="connsiteY548" fmla="*/ 534280 h 1153348"/>
              <a:gd name="connsiteX549" fmla="*/ 3079829 w 6837827"/>
              <a:gd name="connsiteY549" fmla="*/ 564098 h 1153348"/>
              <a:gd name="connsiteX550" fmla="*/ 3076049 w 6837827"/>
              <a:gd name="connsiteY550" fmla="*/ 593917 h 1153348"/>
              <a:gd name="connsiteX551" fmla="*/ 3072270 w 6837827"/>
              <a:gd name="connsiteY551" fmla="*/ 624576 h 1153348"/>
              <a:gd name="connsiteX552" fmla="*/ 3071430 w 6837827"/>
              <a:gd name="connsiteY552" fmla="*/ 655234 h 1153348"/>
              <a:gd name="connsiteX553" fmla="*/ 3072689 w 6837827"/>
              <a:gd name="connsiteY553" fmla="*/ 672034 h 1153348"/>
              <a:gd name="connsiteX554" fmla="*/ 3073529 w 6837827"/>
              <a:gd name="connsiteY554" fmla="*/ 691353 h 1153348"/>
              <a:gd name="connsiteX555" fmla="*/ 3073949 w 6837827"/>
              <a:gd name="connsiteY555" fmla="*/ 709412 h 1153348"/>
              <a:gd name="connsiteX556" fmla="*/ 3072689 w 6837827"/>
              <a:gd name="connsiteY556" fmla="*/ 722012 h 1153348"/>
              <a:gd name="connsiteX557" fmla="*/ 3071849 w 6837827"/>
              <a:gd name="connsiteY557" fmla="*/ 734611 h 1153348"/>
              <a:gd name="connsiteX558" fmla="*/ 3073529 w 6837827"/>
              <a:gd name="connsiteY558" fmla="*/ 752250 h 1153348"/>
              <a:gd name="connsiteX559" fmla="*/ 3076469 w 6837827"/>
              <a:gd name="connsiteY559" fmla="*/ 769889 h 1153348"/>
              <a:gd name="connsiteX560" fmla="*/ 3080249 w 6837827"/>
              <a:gd name="connsiteY560" fmla="*/ 781649 h 1153348"/>
              <a:gd name="connsiteX561" fmla="*/ 3100408 w 6837827"/>
              <a:gd name="connsiteY561" fmla="*/ 803908 h 1153348"/>
              <a:gd name="connsiteX562" fmla="*/ 3125187 w 6837827"/>
              <a:gd name="connsiteY562" fmla="*/ 809788 h 1153348"/>
              <a:gd name="connsiteX563" fmla="*/ 3145766 w 6837827"/>
              <a:gd name="connsiteY563" fmla="*/ 798868 h 1153348"/>
              <a:gd name="connsiteX564" fmla="*/ 3153746 w 6837827"/>
              <a:gd name="connsiteY564" fmla="*/ 769470 h 1153348"/>
              <a:gd name="connsiteX565" fmla="*/ 3152486 w 6837827"/>
              <a:gd name="connsiteY565" fmla="*/ 758970 h 1153348"/>
              <a:gd name="connsiteX566" fmla="*/ 3149966 w 6837827"/>
              <a:gd name="connsiteY566" fmla="*/ 753090 h 1153348"/>
              <a:gd name="connsiteX567" fmla="*/ 3147026 w 6837827"/>
              <a:gd name="connsiteY567" fmla="*/ 747630 h 1153348"/>
              <a:gd name="connsiteX568" fmla="*/ 3144926 w 6837827"/>
              <a:gd name="connsiteY568" fmla="*/ 738391 h 1153348"/>
              <a:gd name="connsiteX569" fmla="*/ 3141986 w 6837827"/>
              <a:gd name="connsiteY569" fmla="*/ 657334 h 1153348"/>
              <a:gd name="connsiteX570" fmla="*/ 3181045 w 6837827"/>
              <a:gd name="connsiteY570" fmla="*/ 640955 h 1153348"/>
              <a:gd name="connsiteX571" fmla="*/ 3222623 w 6837827"/>
              <a:gd name="connsiteY571" fmla="*/ 634655 h 1153348"/>
              <a:gd name="connsiteX572" fmla="*/ 3224303 w 6837827"/>
              <a:gd name="connsiteY572" fmla="*/ 646835 h 1153348"/>
              <a:gd name="connsiteX573" fmla="*/ 3224723 w 6837827"/>
              <a:gd name="connsiteY573" fmla="*/ 653554 h 1153348"/>
              <a:gd name="connsiteX574" fmla="*/ 3226823 w 6837827"/>
              <a:gd name="connsiteY574" fmla="*/ 671614 h 1153348"/>
              <a:gd name="connsiteX575" fmla="*/ 3225563 w 6837827"/>
              <a:gd name="connsiteY575" fmla="*/ 689673 h 1153348"/>
              <a:gd name="connsiteX576" fmla="*/ 3224303 w 6837827"/>
              <a:gd name="connsiteY576" fmla="*/ 708152 h 1153348"/>
              <a:gd name="connsiteX577" fmla="*/ 3228503 w 6837827"/>
              <a:gd name="connsiteY577" fmla="*/ 726211 h 1153348"/>
              <a:gd name="connsiteX578" fmla="*/ 3235222 w 6837827"/>
              <a:gd name="connsiteY578" fmla="*/ 742171 h 1153348"/>
              <a:gd name="connsiteX579" fmla="*/ 3245302 w 6837827"/>
              <a:gd name="connsiteY579" fmla="*/ 760650 h 1153348"/>
              <a:gd name="connsiteX580" fmla="*/ 3260001 w 6837827"/>
              <a:gd name="connsiteY580" fmla="*/ 774089 h 1153348"/>
              <a:gd name="connsiteX581" fmla="*/ 3280161 w 6837827"/>
              <a:gd name="connsiteY581" fmla="*/ 774509 h 1153348"/>
              <a:gd name="connsiteX582" fmla="*/ 3287720 w 6837827"/>
              <a:gd name="connsiteY582" fmla="*/ 769889 h 1153348"/>
              <a:gd name="connsiteX583" fmla="*/ 3295700 w 6837827"/>
              <a:gd name="connsiteY583" fmla="*/ 759810 h 1153348"/>
              <a:gd name="connsiteX584" fmla="*/ 3301160 w 6837827"/>
              <a:gd name="connsiteY584" fmla="*/ 744271 h 1153348"/>
              <a:gd name="connsiteX585" fmla="*/ 3301160 w 6837827"/>
              <a:gd name="connsiteY585" fmla="*/ 723691 h 1153348"/>
              <a:gd name="connsiteX586" fmla="*/ 3298220 w 6837827"/>
              <a:gd name="connsiteY586" fmla="*/ 701432 h 1153348"/>
              <a:gd name="connsiteX587" fmla="*/ 3296540 w 6837827"/>
              <a:gd name="connsiteY587" fmla="*/ 685053 h 1153348"/>
              <a:gd name="connsiteX588" fmla="*/ 3295700 w 6837827"/>
              <a:gd name="connsiteY588" fmla="*/ 669514 h 1153348"/>
              <a:gd name="connsiteX589" fmla="*/ 3295700 w 6837827"/>
              <a:gd name="connsiteY589" fmla="*/ 650195 h 1153348"/>
              <a:gd name="connsiteX590" fmla="*/ 3294440 w 6837827"/>
              <a:gd name="connsiteY590" fmla="*/ 622056 h 1153348"/>
              <a:gd name="connsiteX591" fmla="*/ 3291920 w 6837827"/>
              <a:gd name="connsiteY591" fmla="*/ 593917 h 1153348"/>
              <a:gd name="connsiteX592" fmla="*/ 3290240 w 6837827"/>
              <a:gd name="connsiteY592" fmla="*/ 565778 h 1153348"/>
              <a:gd name="connsiteX593" fmla="*/ 3290660 w 6837827"/>
              <a:gd name="connsiteY593" fmla="*/ 537639 h 1153348"/>
              <a:gd name="connsiteX594" fmla="*/ 3290660 w 6837827"/>
              <a:gd name="connsiteY594" fmla="*/ 522940 h 1153348"/>
              <a:gd name="connsiteX595" fmla="*/ 3290240 w 6837827"/>
              <a:gd name="connsiteY595" fmla="*/ 500261 h 1153348"/>
              <a:gd name="connsiteX596" fmla="*/ 3290660 w 6837827"/>
              <a:gd name="connsiteY596" fmla="*/ 478422 h 1153348"/>
              <a:gd name="connsiteX597" fmla="*/ 3293180 w 6837827"/>
              <a:gd name="connsiteY597" fmla="*/ 466662 h 1153348"/>
              <a:gd name="connsiteX598" fmla="*/ 3299900 w 6837827"/>
              <a:gd name="connsiteY598" fmla="*/ 454903 h 1153348"/>
              <a:gd name="connsiteX599" fmla="*/ 3301160 w 6837827"/>
              <a:gd name="connsiteY599" fmla="*/ 441044 h 1153348"/>
              <a:gd name="connsiteX600" fmla="*/ 3296540 w 6837827"/>
              <a:gd name="connsiteY600" fmla="*/ 428864 h 1153348"/>
              <a:gd name="connsiteX601" fmla="*/ 3286040 w 6837827"/>
              <a:gd name="connsiteY601" fmla="*/ 420464 h 1153348"/>
              <a:gd name="connsiteX602" fmla="*/ 3248662 w 6837827"/>
              <a:gd name="connsiteY602" fmla="*/ 421725 h 1153348"/>
              <a:gd name="connsiteX603" fmla="*/ 3685023 w 6837827"/>
              <a:gd name="connsiteY603" fmla="*/ 666994 h 1153348"/>
              <a:gd name="connsiteX604" fmla="*/ 3689643 w 6837827"/>
              <a:gd name="connsiteY604" fmla="*/ 647675 h 1153348"/>
              <a:gd name="connsiteX605" fmla="*/ 3692163 w 6837827"/>
              <a:gd name="connsiteY605" fmla="*/ 626676 h 1153348"/>
              <a:gd name="connsiteX606" fmla="*/ 3693843 w 6837827"/>
              <a:gd name="connsiteY606" fmla="*/ 598957 h 1153348"/>
              <a:gd name="connsiteX607" fmla="*/ 3698463 w 6837827"/>
              <a:gd name="connsiteY607" fmla="*/ 578378 h 1153348"/>
              <a:gd name="connsiteX608" fmla="*/ 3701822 w 6837827"/>
              <a:gd name="connsiteY608" fmla="*/ 557379 h 1153348"/>
              <a:gd name="connsiteX609" fmla="*/ 3703082 w 6837827"/>
              <a:gd name="connsiteY609" fmla="*/ 541419 h 1153348"/>
              <a:gd name="connsiteX610" fmla="*/ 3703502 w 6837827"/>
              <a:gd name="connsiteY610" fmla="*/ 522520 h 1153348"/>
              <a:gd name="connsiteX611" fmla="*/ 3705602 w 6837827"/>
              <a:gd name="connsiteY611" fmla="*/ 504041 h 1153348"/>
              <a:gd name="connsiteX612" fmla="*/ 3710642 w 6837827"/>
              <a:gd name="connsiteY612" fmla="*/ 488922 h 1153348"/>
              <a:gd name="connsiteX613" fmla="*/ 3719042 w 6837827"/>
              <a:gd name="connsiteY613" fmla="*/ 456583 h 1153348"/>
              <a:gd name="connsiteX614" fmla="*/ 3711062 w 6837827"/>
              <a:gd name="connsiteY614" fmla="*/ 429284 h 1153348"/>
              <a:gd name="connsiteX615" fmla="*/ 3692163 w 6837827"/>
              <a:gd name="connsiteY615" fmla="*/ 410385 h 1153348"/>
              <a:gd name="connsiteX616" fmla="*/ 3668644 w 6837827"/>
              <a:gd name="connsiteY616" fmla="*/ 403665 h 1153348"/>
              <a:gd name="connsiteX617" fmla="*/ 3646805 w 6837827"/>
              <a:gd name="connsiteY617" fmla="*/ 412905 h 1153348"/>
              <a:gd name="connsiteX618" fmla="*/ 3632525 w 6837827"/>
              <a:gd name="connsiteY618" fmla="*/ 441044 h 1153348"/>
              <a:gd name="connsiteX619" fmla="*/ 3627485 w 6837827"/>
              <a:gd name="connsiteY619" fmla="*/ 491022 h 1153348"/>
              <a:gd name="connsiteX620" fmla="*/ 3622026 w 6837827"/>
              <a:gd name="connsiteY620" fmla="*/ 540999 h 1153348"/>
              <a:gd name="connsiteX621" fmla="*/ 3621186 w 6837827"/>
              <a:gd name="connsiteY621" fmla="*/ 556539 h 1153348"/>
              <a:gd name="connsiteX622" fmla="*/ 3617826 w 6837827"/>
              <a:gd name="connsiteY622" fmla="*/ 571238 h 1153348"/>
              <a:gd name="connsiteX623" fmla="*/ 3613626 w 6837827"/>
              <a:gd name="connsiteY623" fmla="*/ 579218 h 1153348"/>
              <a:gd name="connsiteX624" fmla="*/ 3611526 w 6837827"/>
              <a:gd name="connsiteY624" fmla="*/ 587617 h 1153348"/>
              <a:gd name="connsiteX625" fmla="*/ 3595147 w 6837827"/>
              <a:gd name="connsiteY625" fmla="*/ 565358 h 1153348"/>
              <a:gd name="connsiteX626" fmla="*/ 3583387 w 6837827"/>
              <a:gd name="connsiteY626" fmla="*/ 548139 h 1153348"/>
              <a:gd name="connsiteX627" fmla="*/ 3574148 w 6837827"/>
              <a:gd name="connsiteY627" fmla="*/ 532180 h 1153348"/>
              <a:gd name="connsiteX628" fmla="*/ 3565748 w 6837827"/>
              <a:gd name="connsiteY628" fmla="*/ 513700 h 1153348"/>
              <a:gd name="connsiteX629" fmla="*/ 3554409 w 6837827"/>
              <a:gd name="connsiteY629" fmla="*/ 485562 h 1153348"/>
              <a:gd name="connsiteX630" fmla="*/ 3539709 w 6837827"/>
              <a:gd name="connsiteY630" fmla="*/ 459103 h 1153348"/>
              <a:gd name="connsiteX631" fmla="*/ 3502331 w 6837827"/>
              <a:gd name="connsiteY631" fmla="*/ 432224 h 1153348"/>
              <a:gd name="connsiteX632" fmla="*/ 3472092 w 6837827"/>
              <a:gd name="connsiteY632" fmla="*/ 445663 h 1153348"/>
              <a:gd name="connsiteX633" fmla="*/ 3452773 w 6837827"/>
              <a:gd name="connsiteY633" fmla="*/ 483462 h 1153348"/>
              <a:gd name="connsiteX634" fmla="*/ 3448573 w 6837827"/>
              <a:gd name="connsiteY634" fmla="*/ 529660 h 1153348"/>
              <a:gd name="connsiteX635" fmla="*/ 3449833 w 6837827"/>
              <a:gd name="connsiteY635" fmla="*/ 539739 h 1153348"/>
              <a:gd name="connsiteX636" fmla="*/ 3451933 w 6837827"/>
              <a:gd name="connsiteY636" fmla="*/ 550239 h 1153348"/>
              <a:gd name="connsiteX637" fmla="*/ 3451513 w 6837827"/>
              <a:gd name="connsiteY637" fmla="*/ 560319 h 1153348"/>
              <a:gd name="connsiteX638" fmla="*/ 3446053 w 6837827"/>
              <a:gd name="connsiteY638" fmla="*/ 569558 h 1153348"/>
              <a:gd name="connsiteX639" fmla="*/ 3441854 w 6837827"/>
              <a:gd name="connsiteY639" fmla="*/ 588037 h 1153348"/>
              <a:gd name="connsiteX640" fmla="*/ 3441854 w 6837827"/>
              <a:gd name="connsiteY640" fmla="*/ 607356 h 1153348"/>
              <a:gd name="connsiteX641" fmla="*/ 3439334 w 6837827"/>
              <a:gd name="connsiteY641" fmla="*/ 626256 h 1153348"/>
              <a:gd name="connsiteX642" fmla="*/ 3435134 w 6837827"/>
              <a:gd name="connsiteY642" fmla="*/ 656494 h 1153348"/>
              <a:gd name="connsiteX643" fmla="*/ 3429674 w 6837827"/>
              <a:gd name="connsiteY643" fmla="*/ 685893 h 1153348"/>
              <a:gd name="connsiteX644" fmla="*/ 3424214 w 6837827"/>
              <a:gd name="connsiteY644" fmla="*/ 702272 h 1153348"/>
              <a:gd name="connsiteX645" fmla="*/ 3419175 w 6837827"/>
              <a:gd name="connsiteY645" fmla="*/ 714872 h 1153348"/>
              <a:gd name="connsiteX646" fmla="*/ 3417494 w 6837827"/>
              <a:gd name="connsiteY646" fmla="*/ 732931 h 1153348"/>
              <a:gd name="connsiteX647" fmla="*/ 3417915 w 6837827"/>
              <a:gd name="connsiteY647" fmla="*/ 751830 h 1153348"/>
              <a:gd name="connsiteX648" fmla="*/ 3418755 w 6837827"/>
              <a:gd name="connsiteY648" fmla="*/ 766530 h 1153348"/>
              <a:gd name="connsiteX649" fmla="*/ 3420855 w 6837827"/>
              <a:gd name="connsiteY649" fmla="*/ 782909 h 1153348"/>
              <a:gd name="connsiteX650" fmla="*/ 3426314 w 6837827"/>
              <a:gd name="connsiteY650" fmla="*/ 798868 h 1153348"/>
              <a:gd name="connsiteX651" fmla="*/ 3436814 w 6837827"/>
              <a:gd name="connsiteY651" fmla="*/ 810208 h 1153348"/>
              <a:gd name="connsiteX652" fmla="*/ 3454033 w 6837827"/>
              <a:gd name="connsiteY652" fmla="*/ 814408 h 1153348"/>
              <a:gd name="connsiteX653" fmla="*/ 3477132 w 6837827"/>
              <a:gd name="connsiteY653" fmla="*/ 805588 h 1153348"/>
              <a:gd name="connsiteX654" fmla="*/ 3486792 w 6837827"/>
              <a:gd name="connsiteY654" fmla="*/ 782909 h 1153348"/>
              <a:gd name="connsiteX655" fmla="*/ 3488891 w 6837827"/>
              <a:gd name="connsiteY655" fmla="*/ 754350 h 1153348"/>
              <a:gd name="connsiteX656" fmla="*/ 3492251 w 6837827"/>
              <a:gd name="connsiteY656" fmla="*/ 725791 h 1153348"/>
              <a:gd name="connsiteX657" fmla="*/ 3501491 w 6837827"/>
              <a:gd name="connsiteY657" fmla="*/ 677074 h 1153348"/>
              <a:gd name="connsiteX658" fmla="*/ 3509471 w 6837827"/>
              <a:gd name="connsiteY658" fmla="*/ 628355 h 1153348"/>
              <a:gd name="connsiteX659" fmla="*/ 3511151 w 6837827"/>
              <a:gd name="connsiteY659" fmla="*/ 608196 h 1153348"/>
              <a:gd name="connsiteX660" fmla="*/ 3514510 w 6837827"/>
              <a:gd name="connsiteY660" fmla="*/ 587617 h 1153348"/>
              <a:gd name="connsiteX661" fmla="*/ 3515770 w 6837827"/>
              <a:gd name="connsiteY661" fmla="*/ 593497 h 1153348"/>
              <a:gd name="connsiteX662" fmla="*/ 3520810 w 6837827"/>
              <a:gd name="connsiteY662" fmla="*/ 600217 h 1153348"/>
              <a:gd name="connsiteX663" fmla="*/ 3527110 w 6837827"/>
              <a:gd name="connsiteY663" fmla="*/ 606517 h 1153348"/>
              <a:gd name="connsiteX664" fmla="*/ 3531730 w 6837827"/>
              <a:gd name="connsiteY664" fmla="*/ 611556 h 1153348"/>
              <a:gd name="connsiteX665" fmla="*/ 3553989 w 6837827"/>
              <a:gd name="connsiteY665" fmla="*/ 647255 h 1153348"/>
              <a:gd name="connsiteX666" fmla="*/ 3578348 w 6837827"/>
              <a:gd name="connsiteY666" fmla="*/ 685893 h 1153348"/>
              <a:gd name="connsiteX667" fmla="*/ 3609006 w 6837827"/>
              <a:gd name="connsiteY667" fmla="*/ 715712 h 1153348"/>
              <a:gd name="connsiteX668" fmla="*/ 3651424 w 6837827"/>
              <a:gd name="connsiteY668" fmla="*/ 724951 h 1153348"/>
              <a:gd name="connsiteX669" fmla="*/ 3662764 w 6837827"/>
              <a:gd name="connsiteY669" fmla="*/ 720332 h 1153348"/>
              <a:gd name="connsiteX670" fmla="*/ 3669904 w 6837827"/>
              <a:gd name="connsiteY670" fmla="*/ 711512 h 1153348"/>
              <a:gd name="connsiteX671" fmla="*/ 3674523 w 6837827"/>
              <a:gd name="connsiteY671" fmla="*/ 700592 h 1153348"/>
              <a:gd name="connsiteX672" fmla="*/ 3678303 w 6837827"/>
              <a:gd name="connsiteY672" fmla="*/ 689673 h 1153348"/>
              <a:gd name="connsiteX673" fmla="*/ 3685023 w 6837827"/>
              <a:gd name="connsiteY673" fmla="*/ 666994 h 1153348"/>
              <a:gd name="connsiteX674" fmla="*/ 3998330 w 6837827"/>
              <a:gd name="connsiteY674" fmla="*/ 336468 h 1153348"/>
              <a:gd name="connsiteX675" fmla="*/ 3990350 w 6837827"/>
              <a:gd name="connsiteY675" fmla="*/ 337308 h 1153348"/>
              <a:gd name="connsiteX676" fmla="*/ 3963051 w 6837827"/>
              <a:gd name="connsiteY676" fmla="*/ 342768 h 1153348"/>
              <a:gd name="connsiteX677" fmla="*/ 3942052 w 6837827"/>
              <a:gd name="connsiteY677" fmla="*/ 352007 h 1153348"/>
              <a:gd name="connsiteX678" fmla="*/ 3921473 w 6837827"/>
              <a:gd name="connsiteY678" fmla="*/ 363767 h 1153348"/>
              <a:gd name="connsiteX679" fmla="*/ 3895014 w 6837827"/>
              <a:gd name="connsiteY679" fmla="*/ 376786 h 1153348"/>
              <a:gd name="connsiteX680" fmla="*/ 3885774 w 6837827"/>
              <a:gd name="connsiteY680" fmla="*/ 378886 h 1153348"/>
              <a:gd name="connsiteX681" fmla="*/ 3875695 w 6837827"/>
              <a:gd name="connsiteY681" fmla="*/ 379306 h 1153348"/>
              <a:gd name="connsiteX682" fmla="*/ 3866035 w 6837827"/>
              <a:gd name="connsiteY682" fmla="*/ 381406 h 1153348"/>
              <a:gd name="connsiteX683" fmla="*/ 3858056 w 6837827"/>
              <a:gd name="connsiteY683" fmla="*/ 387706 h 1153348"/>
              <a:gd name="connsiteX684" fmla="*/ 3834957 w 6837827"/>
              <a:gd name="connsiteY684" fmla="*/ 489342 h 1153348"/>
              <a:gd name="connsiteX685" fmla="*/ 3832437 w 6837827"/>
              <a:gd name="connsiteY685" fmla="*/ 592237 h 1153348"/>
              <a:gd name="connsiteX686" fmla="*/ 3836637 w 6837827"/>
              <a:gd name="connsiteY686" fmla="*/ 619956 h 1153348"/>
              <a:gd name="connsiteX687" fmla="*/ 3842936 w 6837827"/>
              <a:gd name="connsiteY687" fmla="*/ 647675 h 1153348"/>
              <a:gd name="connsiteX688" fmla="*/ 3862675 w 6837827"/>
              <a:gd name="connsiteY688" fmla="*/ 688413 h 1153348"/>
              <a:gd name="connsiteX689" fmla="*/ 3897534 w 6837827"/>
              <a:gd name="connsiteY689" fmla="*/ 716972 h 1153348"/>
              <a:gd name="connsiteX690" fmla="*/ 3949192 w 6837827"/>
              <a:gd name="connsiteY690" fmla="*/ 726211 h 1153348"/>
              <a:gd name="connsiteX691" fmla="*/ 3979431 w 6837827"/>
              <a:gd name="connsiteY691" fmla="*/ 718232 h 1153348"/>
              <a:gd name="connsiteX692" fmla="*/ 4006729 w 6837827"/>
              <a:gd name="connsiteY692" fmla="*/ 703112 h 1153348"/>
              <a:gd name="connsiteX693" fmla="*/ 4024368 w 6837827"/>
              <a:gd name="connsiteY693" fmla="*/ 677493 h 1153348"/>
              <a:gd name="connsiteX694" fmla="*/ 4032348 w 6837827"/>
              <a:gd name="connsiteY694" fmla="*/ 659014 h 1153348"/>
              <a:gd name="connsiteX695" fmla="*/ 4035708 w 6837827"/>
              <a:gd name="connsiteY695" fmla="*/ 638015 h 1153348"/>
              <a:gd name="connsiteX696" fmla="*/ 4024788 w 6837827"/>
              <a:gd name="connsiteY696" fmla="*/ 618276 h 1153348"/>
              <a:gd name="connsiteX697" fmla="*/ 4001689 w 6837827"/>
              <a:gd name="connsiteY697" fmla="*/ 609876 h 1153348"/>
              <a:gd name="connsiteX698" fmla="*/ 3991190 w 6837827"/>
              <a:gd name="connsiteY698" fmla="*/ 611136 h 1153348"/>
              <a:gd name="connsiteX699" fmla="*/ 3984890 w 6837827"/>
              <a:gd name="connsiteY699" fmla="*/ 614916 h 1153348"/>
              <a:gd name="connsiteX700" fmla="*/ 3980690 w 6837827"/>
              <a:gd name="connsiteY700" fmla="*/ 621216 h 1153348"/>
              <a:gd name="connsiteX701" fmla="*/ 3975651 w 6837827"/>
              <a:gd name="connsiteY701" fmla="*/ 629616 h 1153348"/>
              <a:gd name="connsiteX702" fmla="*/ 3964731 w 6837827"/>
              <a:gd name="connsiteY702" fmla="*/ 639695 h 1153348"/>
              <a:gd name="connsiteX703" fmla="*/ 3951291 w 6837827"/>
              <a:gd name="connsiteY703" fmla="*/ 643895 h 1153348"/>
              <a:gd name="connsiteX704" fmla="*/ 3922313 w 6837827"/>
              <a:gd name="connsiteY704" fmla="*/ 635495 h 1153348"/>
              <a:gd name="connsiteX705" fmla="*/ 3909713 w 6837827"/>
              <a:gd name="connsiteY705" fmla="*/ 606096 h 1153348"/>
              <a:gd name="connsiteX706" fmla="*/ 3926933 w 6837827"/>
              <a:gd name="connsiteY706" fmla="*/ 593497 h 1153348"/>
              <a:gd name="connsiteX707" fmla="*/ 3947092 w 6837827"/>
              <a:gd name="connsiteY707" fmla="*/ 582578 h 1153348"/>
              <a:gd name="connsiteX708" fmla="*/ 3966831 w 6837827"/>
              <a:gd name="connsiteY708" fmla="*/ 570398 h 1153348"/>
              <a:gd name="connsiteX709" fmla="*/ 3982790 w 6837827"/>
              <a:gd name="connsiteY709" fmla="*/ 554439 h 1153348"/>
              <a:gd name="connsiteX710" fmla="*/ 3991190 w 6837827"/>
              <a:gd name="connsiteY710" fmla="*/ 538059 h 1153348"/>
              <a:gd name="connsiteX711" fmla="*/ 3993290 w 6837827"/>
              <a:gd name="connsiteY711" fmla="*/ 519580 h 1153348"/>
              <a:gd name="connsiteX712" fmla="*/ 3983630 w 6837827"/>
              <a:gd name="connsiteY712" fmla="*/ 501521 h 1153348"/>
              <a:gd name="connsiteX713" fmla="*/ 3962631 w 6837827"/>
              <a:gd name="connsiteY713" fmla="*/ 495641 h 1153348"/>
              <a:gd name="connsiteX714" fmla="*/ 3942052 w 6837827"/>
              <a:gd name="connsiteY714" fmla="*/ 500681 h 1153348"/>
              <a:gd name="connsiteX715" fmla="*/ 3924413 w 6837827"/>
              <a:gd name="connsiteY715" fmla="*/ 508661 h 1153348"/>
              <a:gd name="connsiteX716" fmla="*/ 3914333 w 6837827"/>
              <a:gd name="connsiteY716" fmla="*/ 512860 h 1153348"/>
              <a:gd name="connsiteX717" fmla="*/ 3909294 w 6837827"/>
              <a:gd name="connsiteY717" fmla="*/ 511601 h 1153348"/>
              <a:gd name="connsiteX718" fmla="*/ 3907613 w 6837827"/>
              <a:gd name="connsiteY718" fmla="*/ 506561 h 1153348"/>
              <a:gd name="connsiteX719" fmla="*/ 3906773 w 6837827"/>
              <a:gd name="connsiteY719" fmla="*/ 500261 h 1153348"/>
              <a:gd name="connsiteX720" fmla="*/ 3907613 w 6837827"/>
              <a:gd name="connsiteY720" fmla="*/ 487242 h 1153348"/>
              <a:gd name="connsiteX721" fmla="*/ 3910973 w 6837827"/>
              <a:gd name="connsiteY721" fmla="*/ 472542 h 1153348"/>
              <a:gd name="connsiteX722" fmla="*/ 3914753 w 6837827"/>
              <a:gd name="connsiteY722" fmla="*/ 459523 h 1153348"/>
              <a:gd name="connsiteX723" fmla="*/ 3917273 w 6837827"/>
              <a:gd name="connsiteY723" fmla="*/ 450703 h 1153348"/>
              <a:gd name="connsiteX724" fmla="*/ 3928613 w 6837827"/>
              <a:gd name="connsiteY724" fmla="*/ 437684 h 1153348"/>
              <a:gd name="connsiteX725" fmla="*/ 3949612 w 6837827"/>
              <a:gd name="connsiteY725" fmla="*/ 425504 h 1153348"/>
              <a:gd name="connsiteX726" fmla="*/ 3973131 w 6837827"/>
              <a:gd name="connsiteY726" fmla="*/ 415425 h 1153348"/>
              <a:gd name="connsiteX727" fmla="*/ 3991190 w 6837827"/>
              <a:gd name="connsiteY727" fmla="*/ 408705 h 1153348"/>
              <a:gd name="connsiteX728" fmla="*/ 4023529 w 6837827"/>
              <a:gd name="connsiteY728" fmla="*/ 393586 h 1153348"/>
              <a:gd name="connsiteX729" fmla="*/ 4038648 w 6837827"/>
              <a:gd name="connsiteY729" fmla="*/ 361667 h 1153348"/>
              <a:gd name="connsiteX730" fmla="*/ 4035708 w 6837827"/>
              <a:gd name="connsiteY730" fmla="*/ 351588 h 1153348"/>
              <a:gd name="connsiteX731" fmla="*/ 4027309 w 6837827"/>
              <a:gd name="connsiteY731" fmla="*/ 343608 h 1153348"/>
              <a:gd name="connsiteX732" fmla="*/ 4016389 w 6837827"/>
              <a:gd name="connsiteY732" fmla="*/ 338148 h 1153348"/>
              <a:gd name="connsiteX733" fmla="*/ 4006309 w 6837827"/>
              <a:gd name="connsiteY733" fmla="*/ 336468 h 1153348"/>
              <a:gd name="connsiteX734" fmla="*/ 3998330 w 6837827"/>
              <a:gd name="connsiteY734" fmla="*/ 336468 h 1153348"/>
              <a:gd name="connsiteX735" fmla="*/ 4295677 w 6837827"/>
              <a:gd name="connsiteY735" fmla="*/ 480522 h 1153348"/>
              <a:gd name="connsiteX736" fmla="*/ 4281818 w 6837827"/>
              <a:gd name="connsiteY736" fmla="*/ 511601 h 1153348"/>
              <a:gd name="connsiteX737" fmla="*/ 4266278 w 6837827"/>
              <a:gd name="connsiteY737" fmla="*/ 540999 h 1153348"/>
              <a:gd name="connsiteX738" fmla="*/ 4252839 w 6837827"/>
              <a:gd name="connsiteY738" fmla="*/ 557379 h 1153348"/>
              <a:gd name="connsiteX739" fmla="*/ 4247799 w 6837827"/>
              <a:gd name="connsiteY739" fmla="*/ 525460 h 1153348"/>
              <a:gd name="connsiteX740" fmla="*/ 4245279 w 6837827"/>
              <a:gd name="connsiteY740" fmla="*/ 494381 h 1153348"/>
              <a:gd name="connsiteX741" fmla="*/ 4242759 w 6837827"/>
              <a:gd name="connsiteY741" fmla="*/ 469182 h 1153348"/>
              <a:gd name="connsiteX742" fmla="*/ 4238559 w 6837827"/>
              <a:gd name="connsiteY742" fmla="*/ 443144 h 1153348"/>
              <a:gd name="connsiteX743" fmla="*/ 4234779 w 6837827"/>
              <a:gd name="connsiteY743" fmla="*/ 418785 h 1153348"/>
              <a:gd name="connsiteX744" fmla="*/ 4233940 w 6837827"/>
              <a:gd name="connsiteY744" fmla="*/ 397786 h 1153348"/>
              <a:gd name="connsiteX745" fmla="*/ 4229320 w 6837827"/>
              <a:gd name="connsiteY745" fmla="*/ 373847 h 1153348"/>
              <a:gd name="connsiteX746" fmla="*/ 4226800 w 6837827"/>
              <a:gd name="connsiteY746" fmla="*/ 345288 h 1153348"/>
              <a:gd name="connsiteX747" fmla="*/ 4223020 w 6837827"/>
              <a:gd name="connsiteY747" fmla="*/ 317149 h 1153348"/>
              <a:gd name="connsiteX748" fmla="*/ 4214621 w 6837827"/>
              <a:gd name="connsiteY748" fmla="*/ 293210 h 1153348"/>
              <a:gd name="connsiteX749" fmla="*/ 4198661 w 6837827"/>
              <a:gd name="connsiteY749" fmla="*/ 278511 h 1153348"/>
              <a:gd name="connsiteX750" fmla="*/ 4171782 w 6837827"/>
              <a:gd name="connsiteY750" fmla="*/ 276831 h 1153348"/>
              <a:gd name="connsiteX751" fmla="*/ 4160023 w 6837827"/>
              <a:gd name="connsiteY751" fmla="*/ 280610 h 1153348"/>
              <a:gd name="connsiteX752" fmla="*/ 4150363 w 6837827"/>
              <a:gd name="connsiteY752" fmla="*/ 285650 h 1153348"/>
              <a:gd name="connsiteX753" fmla="*/ 4144483 w 6837827"/>
              <a:gd name="connsiteY753" fmla="*/ 293630 h 1153348"/>
              <a:gd name="connsiteX754" fmla="*/ 4143643 w 6837827"/>
              <a:gd name="connsiteY754" fmla="*/ 306649 h 1153348"/>
              <a:gd name="connsiteX755" fmla="*/ 4150363 w 6837827"/>
              <a:gd name="connsiteY755" fmla="*/ 339408 h 1153348"/>
              <a:gd name="connsiteX756" fmla="*/ 4158343 w 6837827"/>
              <a:gd name="connsiteY756" fmla="*/ 373847 h 1153348"/>
              <a:gd name="connsiteX757" fmla="*/ 4160863 w 6837827"/>
              <a:gd name="connsiteY757" fmla="*/ 394006 h 1153348"/>
              <a:gd name="connsiteX758" fmla="*/ 4165062 w 6837827"/>
              <a:gd name="connsiteY758" fmla="*/ 430964 h 1153348"/>
              <a:gd name="connsiteX759" fmla="*/ 4170942 w 6837827"/>
              <a:gd name="connsiteY759" fmla="*/ 478002 h 1153348"/>
              <a:gd name="connsiteX760" fmla="*/ 4177662 w 6837827"/>
              <a:gd name="connsiteY760" fmla="*/ 528820 h 1153348"/>
              <a:gd name="connsiteX761" fmla="*/ 4185222 w 6837827"/>
              <a:gd name="connsiteY761" fmla="*/ 577118 h 1153348"/>
              <a:gd name="connsiteX762" fmla="*/ 4193201 w 6837827"/>
              <a:gd name="connsiteY762" fmla="*/ 616176 h 1153348"/>
              <a:gd name="connsiteX763" fmla="*/ 4196981 w 6837827"/>
              <a:gd name="connsiteY763" fmla="*/ 646415 h 1153348"/>
              <a:gd name="connsiteX764" fmla="*/ 4204121 w 6837827"/>
              <a:gd name="connsiteY764" fmla="*/ 677074 h 1153348"/>
              <a:gd name="connsiteX765" fmla="*/ 4222180 w 6837827"/>
              <a:gd name="connsiteY765" fmla="*/ 691353 h 1153348"/>
              <a:gd name="connsiteX766" fmla="*/ 4245699 w 6837827"/>
              <a:gd name="connsiteY766" fmla="*/ 690093 h 1153348"/>
              <a:gd name="connsiteX767" fmla="*/ 4266278 w 6837827"/>
              <a:gd name="connsiteY767" fmla="*/ 677493 h 1153348"/>
              <a:gd name="connsiteX768" fmla="*/ 4287698 w 6837827"/>
              <a:gd name="connsiteY768" fmla="*/ 651875 h 1153348"/>
              <a:gd name="connsiteX769" fmla="*/ 4308276 w 6837827"/>
              <a:gd name="connsiteY769" fmla="*/ 618276 h 1153348"/>
              <a:gd name="connsiteX770" fmla="*/ 4326336 w 6837827"/>
              <a:gd name="connsiteY770" fmla="*/ 581738 h 1153348"/>
              <a:gd name="connsiteX771" fmla="*/ 4339775 w 6837827"/>
              <a:gd name="connsiteY771" fmla="*/ 548559 h 1153348"/>
              <a:gd name="connsiteX772" fmla="*/ 4346915 w 6837827"/>
              <a:gd name="connsiteY772" fmla="*/ 523780 h 1153348"/>
              <a:gd name="connsiteX773" fmla="*/ 4354895 w 6837827"/>
              <a:gd name="connsiteY773" fmla="*/ 495641 h 1153348"/>
              <a:gd name="connsiteX774" fmla="*/ 4367914 w 6837827"/>
              <a:gd name="connsiteY774" fmla="*/ 466662 h 1153348"/>
              <a:gd name="connsiteX775" fmla="*/ 4382193 w 6837827"/>
              <a:gd name="connsiteY775" fmla="*/ 438104 h 1153348"/>
              <a:gd name="connsiteX776" fmla="*/ 4393953 w 6837827"/>
              <a:gd name="connsiteY776" fmla="*/ 410805 h 1153348"/>
              <a:gd name="connsiteX777" fmla="*/ 4401932 w 6837827"/>
              <a:gd name="connsiteY777" fmla="*/ 394846 h 1153348"/>
              <a:gd name="connsiteX778" fmla="*/ 4412852 w 6837827"/>
              <a:gd name="connsiteY778" fmla="*/ 380146 h 1153348"/>
              <a:gd name="connsiteX779" fmla="*/ 4423351 w 6837827"/>
              <a:gd name="connsiteY779" fmla="*/ 365027 h 1153348"/>
              <a:gd name="connsiteX780" fmla="*/ 4430491 w 6837827"/>
              <a:gd name="connsiteY780" fmla="*/ 349067 h 1153348"/>
              <a:gd name="connsiteX781" fmla="*/ 4433431 w 6837827"/>
              <a:gd name="connsiteY781" fmla="*/ 322189 h 1153348"/>
              <a:gd name="connsiteX782" fmla="*/ 4427131 w 6837827"/>
              <a:gd name="connsiteY782" fmla="*/ 297410 h 1153348"/>
              <a:gd name="connsiteX783" fmla="*/ 4410332 w 6837827"/>
              <a:gd name="connsiteY783" fmla="*/ 279770 h 1153348"/>
              <a:gd name="connsiteX784" fmla="*/ 4382193 w 6837827"/>
              <a:gd name="connsiteY784" fmla="*/ 275151 h 1153348"/>
              <a:gd name="connsiteX785" fmla="*/ 4367914 w 6837827"/>
              <a:gd name="connsiteY785" fmla="*/ 280610 h 1153348"/>
              <a:gd name="connsiteX786" fmla="*/ 4357834 w 6837827"/>
              <a:gd name="connsiteY786" fmla="*/ 291530 h 1153348"/>
              <a:gd name="connsiteX787" fmla="*/ 4350695 w 6837827"/>
              <a:gd name="connsiteY787" fmla="*/ 305809 h 1153348"/>
              <a:gd name="connsiteX788" fmla="*/ 4345235 w 6837827"/>
              <a:gd name="connsiteY788" fmla="*/ 320929 h 1153348"/>
              <a:gd name="connsiteX789" fmla="*/ 4326756 w 6837827"/>
              <a:gd name="connsiteY789" fmla="*/ 390226 h 1153348"/>
              <a:gd name="connsiteX790" fmla="*/ 4304497 w 6837827"/>
              <a:gd name="connsiteY790" fmla="*/ 459523 h 1153348"/>
              <a:gd name="connsiteX791" fmla="*/ 4295677 w 6837827"/>
              <a:gd name="connsiteY791" fmla="*/ 480522 h 1153348"/>
              <a:gd name="connsiteX792" fmla="*/ 4768156 w 6837827"/>
              <a:gd name="connsiteY792" fmla="*/ 305809 h 1153348"/>
              <a:gd name="connsiteX793" fmla="*/ 4781596 w 6837827"/>
              <a:gd name="connsiteY793" fmla="*/ 296570 h 1153348"/>
              <a:gd name="connsiteX794" fmla="*/ 4790836 w 6837827"/>
              <a:gd name="connsiteY794" fmla="*/ 283970 h 1153348"/>
              <a:gd name="connsiteX795" fmla="*/ 4793355 w 6837827"/>
              <a:gd name="connsiteY795" fmla="*/ 268011 h 1153348"/>
              <a:gd name="connsiteX796" fmla="*/ 4787056 w 6837827"/>
              <a:gd name="connsiteY796" fmla="*/ 249532 h 1153348"/>
              <a:gd name="connsiteX797" fmla="*/ 4774877 w 6837827"/>
              <a:gd name="connsiteY797" fmla="*/ 242812 h 1153348"/>
              <a:gd name="connsiteX798" fmla="*/ 4758917 w 6837827"/>
              <a:gd name="connsiteY798" fmla="*/ 243652 h 1153348"/>
              <a:gd name="connsiteX799" fmla="*/ 4740858 w 6837827"/>
              <a:gd name="connsiteY799" fmla="*/ 247852 h 1153348"/>
              <a:gd name="connsiteX800" fmla="*/ 4696340 w 6837827"/>
              <a:gd name="connsiteY800" fmla="*/ 257511 h 1153348"/>
              <a:gd name="connsiteX801" fmla="*/ 4650142 w 6837827"/>
              <a:gd name="connsiteY801" fmla="*/ 267171 h 1153348"/>
              <a:gd name="connsiteX802" fmla="*/ 4632083 w 6837827"/>
              <a:gd name="connsiteY802" fmla="*/ 269271 h 1153348"/>
              <a:gd name="connsiteX803" fmla="*/ 4616543 w 6837827"/>
              <a:gd name="connsiteY803" fmla="*/ 266751 h 1153348"/>
              <a:gd name="connsiteX804" fmla="*/ 4601424 w 6837827"/>
              <a:gd name="connsiteY804" fmla="*/ 265071 h 1153348"/>
              <a:gd name="connsiteX805" fmla="*/ 4585044 w 6837827"/>
              <a:gd name="connsiteY805" fmla="*/ 269691 h 1153348"/>
              <a:gd name="connsiteX806" fmla="*/ 4573285 w 6837827"/>
              <a:gd name="connsiteY806" fmla="*/ 290270 h 1153348"/>
              <a:gd name="connsiteX807" fmla="*/ 4568245 w 6837827"/>
              <a:gd name="connsiteY807" fmla="*/ 314209 h 1153348"/>
              <a:gd name="connsiteX808" fmla="*/ 4564886 w 6837827"/>
              <a:gd name="connsiteY808" fmla="*/ 339408 h 1153348"/>
              <a:gd name="connsiteX809" fmla="*/ 4558586 w 6837827"/>
              <a:gd name="connsiteY809" fmla="*/ 363767 h 1153348"/>
              <a:gd name="connsiteX810" fmla="*/ 4552706 w 6837827"/>
              <a:gd name="connsiteY810" fmla="*/ 388966 h 1153348"/>
              <a:gd name="connsiteX811" fmla="*/ 4548506 w 6837827"/>
              <a:gd name="connsiteY811" fmla="*/ 428024 h 1153348"/>
              <a:gd name="connsiteX812" fmla="*/ 4546406 w 6837827"/>
              <a:gd name="connsiteY812" fmla="*/ 472962 h 1153348"/>
              <a:gd name="connsiteX813" fmla="*/ 4545986 w 6837827"/>
              <a:gd name="connsiteY813" fmla="*/ 517060 h 1153348"/>
              <a:gd name="connsiteX814" fmla="*/ 4546826 w 6837827"/>
              <a:gd name="connsiteY814" fmla="*/ 553179 h 1153348"/>
              <a:gd name="connsiteX815" fmla="*/ 4549346 w 6837827"/>
              <a:gd name="connsiteY815" fmla="*/ 573338 h 1153348"/>
              <a:gd name="connsiteX816" fmla="*/ 4573285 w 6837827"/>
              <a:gd name="connsiteY816" fmla="*/ 614076 h 1153348"/>
              <a:gd name="connsiteX817" fmla="*/ 4611084 w 6837827"/>
              <a:gd name="connsiteY817" fmla="*/ 629616 h 1153348"/>
              <a:gd name="connsiteX818" fmla="*/ 4656021 w 6837827"/>
              <a:gd name="connsiteY818" fmla="*/ 625416 h 1153348"/>
              <a:gd name="connsiteX819" fmla="*/ 4701380 w 6837827"/>
              <a:gd name="connsiteY819" fmla="*/ 607777 h 1153348"/>
              <a:gd name="connsiteX820" fmla="*/ 4740858 w 6837827"/>
              <a:gd name="connsiteY820" fmla="*/ 582578 h 1153348"/>
              <a:gd name="connsiteX821" fmla="*/ 4768156 w 6837827"/>
              <a:gd name="connsiteY821" fmla="*/ 555699 h 1153348"/>
              <a:gd name="connsiteX822" fmla="*/ 4777396 w 6837827"/>
              <a:gd name="connsiteY822" fmla="*/ 545619 h 1153348"/>
              <a:gd name="connsiteX823" fmla="*/ 4785376 w 6837827"/>
              <a:gd name="connsiteY823" fmla="*/ 535540 h 1153348"/>
              <a:gd name="connsiteX824" fmla="*/ 4789156 w 6837827"/>
              <a:gd name="connsiteY824" fmla="*/ 523360 h 1153348"/>
              <a:gd name="connsiteX825" fmla="*/ 4786636 w 6837827"/>
              <a:gd name="connsiteY825" fmla="*/ 505721 h 1153348"/>
              <a:gd name="connsiteX826" fmla="*/ 4755137 w 6837827"/>
              <a:gd name="connsiteY826" fmla="*/ 485982 h 1153348"/>
              <a:gd name="connsiteX827" fmla="*/ 4728258 w 6837827"/>
              <a:gd name="connsiteY827" fmla="*/ 509501 h 1153348"/>
              <a:gd name="connsiteX828" fmla="*/ 4697600 w 6837827"/>
              <a:gd name="connsiteY828" fmla="*/ 535959 h 1153348"/>
              <a:gd name="connsiteX829" fmla="*/ 4663581 w 6837827"/>
              <a:gd name="connsiteY829" fmla="*/ 553599 h 1153348"/>
              <a:gd name="connsiteX830" fmla="*/ 4626203 w 6837827"/>
              <a:gd name="connsiteY830" fmla="*/ 550239 h 1153348"/>
              <a:gd name="connsiteX831" fmla="*/ 4616963 w 6837827"/>
              <a:gd name="connsiteY831" fmla="*/ 538479 h 1153348"/>
              <a:gd name="connsiteX832" fmla="*/ 4613184 w 6837827"/>
              <a:gd name="connsiteY832" fmla="*/ 517900 h 1153348"/>
              <a:gd name="connsiteX833" fmla="*/ 4613184 w 6837827"/>
              <a:gd name="connsiteY833" fmla="*/ 495641 h 1153348"/>
              <a:gd name="connsiteX834" fmla="*/ 4616123 w 6837827"/>
              <a:gd name="connsiteY834" fmla="*/ 479682 h 1153348"/>
              <a:gd name="connsiteX835" fmla="*/ 4627883 w 6837827"/>
              <a:gd name="connsiteY835" fmla="*/ 470442 h 1153348"/>
              <a:gd name="connsiteX836" fmla="*/ 4648882 w 6837827"/>
              <a:gd name="connsiteY836" fmla="*/ 464983 h 1153348"/>
              <a:gd name="connsiteX837" fmla="*/ 4671561 w 6837827"/>
              <a:gd name="connsiteY837" fmla="*/ 461203 h 1153348"/>
              <a:gd name="connsiteX838" fmla="*/ 4689200 w 6837827"/>
              <a:gd name="connsiteY838" fmla="*/ 458683 h 1153348"/>
              <a:gd name="connsiteX839" fmla="*/ 4704739 w 6837827"/>
              <a:gd name="connsiteY839" fmla="*/ 455323 h 1153348"/>
              <a:gd name="connsiteX840" fmla="*/ 4717339 w 6837827"/>
              <a:gd name="connsiteY840" fmla="*/ 449023 h 1153348"/>
              <a:gd name="connsiteX841" fmla="*/ 4725318 w 6837827"/>
              <a:gd name="connsiteY841" fmla="*/ 438104 h 1153348"/>
              <a:gd name="connsiteX842" fmla="*/ 4726579 w 6837827"/>
              <a:gd name="connsiteY842" fmla="*/ 420464 h 1153348"/>
              <a:gd name="connsiteX843" fmla="*/ 4722379 w 6837827"/>
              <a:gd name="connsiteY843" fmla="*/ 405345 h 1153348"/>
              <a:gd name="connsiteX844" fmla="*/ 4712719 w 6837827"/>
              <a:gd name="connsiteY844" fmla="*/ 395265 h 1153348"/>
              <a:gd name="connsiteX845" fmla="*/ 4687100 w 6837827"/>
              <a:gd name="connsiteY845" fmla="*/ 391486 h 1153348"/>
              <a:gd name="connsiteX846" fmla="*/ 4658961 w 6837827"/>
              <a:gd name="connsiteY846" fmla="*/ 395686 h 1153348"/>
              <a:gd name="connsiteX847" fmla="*/ 4646782 w 6837827"/>
              <a:gd name="connsiteY847" fmla="*/ 397786 h 1153348"/>
              <a:gd name="connsiteX848" fmla="*/ 4632922 w 6837827"/>
              <a:gd name="connsiteY848" fmla="*/ 396946 h 1153348"/>
              <a:gd name="connsiteX849" fmla="*/ 4625363 w 6837827"/>
              <a:gd name="connsiteY849" fmla="*/ 386446 h 1153348"/>
              <a:gd name="connsiteX850" fmla="*/ 4631242 w 6837827"/>
              <a:gd name="connsiteY850" fmla="*/ 358307 h 1153348"/>
              <a:gd name="connsiteX851" fmla="*/ 4653922 w 6837827"/>
              <a:gd name="connsiteY851" fmla="*/ 331848 h 1153348"/>
              <a:gd name="connsiteX852" fmla="*/ 4685420 w 6837827"/>
              <a:gd name="connsiteY852" fmla="*/ 325129 h 1153348"/>
              <a:gd name="connsiteX853" fmla="*/ 4720279 w 6837827"/>
              <a:gd name="connsiteY853" fmla="*/ 323029 h 1153348"/>
              <a:gd name="connsiteX854" fmla="*/ 4752617 w 6837827"/>
              <a:gd name="connsiteY854" fmla="*/ 310009 h 1153348"/>
              <a:gd name="connsiteX855" fmla="*/ 4768156 w 6837827"/>
              <a:gd name="connsiteY855" fmla="*/ 305809 h 1153348"/>
              <a:gd name="connsiteX856" fmla="*/ 4989067 w 6837827"/>
              <a:gd name="connsiteY856" fmla="*/ 488502 h 1153348"/>
              <a:gd name="connsiteX857" fmla="*/ 5000407 w 6837827"/>
              <a:gd name="connsiteY857" fmla="*/ 491861 h 1153348"/>
              <a:gd name="connsiteX858" fmla="*/ 5031066 w 6837827"/>
              <a:gd name="connsiteY858" fmla="*/ 503201 h 1153348"/>
              <a:gd name="connsiteX859" fmla="*/ 5059204 w 6837827"/>
              <a:gd name="connsiteY859" fmla="*/ 521260 h 1153348"/>
              <a:gd name="connsiteX860" fmla="*/ 5081883 w 6837827"/>
              <a:gd name="connsiteY860" fmla="*/ 540579 h 1153348"/>
              <a:gd name="connsiteX861" fmla="*/ 5108342 w 6837827"/>
              <a:gd name="connsiteY861" fmla="*/ 557379 h 1153348"/>
              <a:gd name="connsiteX862" fmla="*/ 5137741 w 6837827"/>
              <a:gd name="connsiteY862" fmla="*/ 568298 h 1153348"/>
              <a:gd name="connsiteX863" fmla="*/ 5169239 w 6837827"/>
              <a:gd name="connsiteY863" fmla="*/ 570398 h 1153348"/>
              <a:gd name="connsiteX864" fmla="*/ 5195278 w 6837827"/>
              <a:gd name="connsiteY864" fmla="*/ 561998 h 1153348"/>
              <a:gd name="connsiteX865" fmla="*/ 5211658 w 6837827"/>
              <a:gd name="connsiteY865" fmla="*/ 547299 h 1153348"/>
              <a:gd name="connsiteX866" fmla="*/ 5215017 w 6837827"/>
              <a:gd name="connsiteY866" fmla="*/ 530080 h 1153348"/>
              <a:gd name="connsiteX867" fmla="*/ 5206618 w 6837827"/>
              <a:gd name="connsiteY867" fmla="*/ 513700 h 1153348"/>
              <a:gd name="connsiteX868" fmla="*/ 5188138 w 6837827"/>
              <a:gd name="connsiteY868" fmla="*/ 501101 h 1153348"/>
              <a:gd name="connsiteX869" fmla="*/ 5177639 w 6837827"/>
              <a:gd name="connsiteY869" fmla="*/ 500261 h 1153348"/>
              <a:gd name="connsiteX870" fmla="*/ 5167560 w 6837827"/>
              <a:gd name="connsiteY870" fmla="*/ 497321 h 1153348"/>
              <a:gd name="connsiteX871" fmla="*/ 5139001 w 6837827"/>
              <a:gd name="connsiteY871" fmla="*/ 478002 h 1153348"/>
              <a:gd name="connsiteX872" fmla="*/ 5108762 w 6837827"/>
              <a:gd name="connsiteY872" fmla="*/ 461203 h 1153348"/>
              <a:gd name="connsiteX873" fmla="*/ 5077683 w 6837827"/>
              <a:gd name="connsiteY873" fmla="*/ 445243 h 1153348"/>
              <a:gd name="connsiteX874" fmla="*/ 5048285 w 6837827"/>
              <a:gd name="connsiteY874" fmla="*/ 427184 h 1153348"/>
              <a:gd name="connsiteX875" fmla="*/ 5080623 w 6837827"/>
              <a:gd name="connsiteY875" fmla="*/ 413745 h 1153348"/>
              <a:gd name="connsiteX876" fmla="*/ 5104982 w 6837827"/>
              <a:gd name="connsiteY876" fmla="*/ 381406 h 1153348"/>
              <a:gd name="connsiteX877" fmla="*/ 5120102 w 6837827"/>
              <a:gd name="connsiteY877" fmla="*/ 337308 h 1153348"/>
              <a:gd name="connsiteX878" fmla="*/ 5125981 w 6837827"/>
              <a:gd name="connsiteY878" fmla="*/ 289430 h 1153348"/>
              <a:gd name="connsiteX879" fmla="*/ 5121362 w 6837827"/>
              <a:gd name="connsiteY879" fmla="*/ 244912 h 1153348"/>
              <a:gd name="connsiteX880" fmla="*/ 5104562 w 6837827"/>
              <a:gd name="connsiteY880" fmla="*/ 211313 h 1153348"/>
              <a:gd name="connsiteX881" fmla="*/ 5075164 w 6837827"/>
              <a:gd name="connsiteY881" fmla="*/ 196194 h 1153348"/>
              <a:gd name="connsiteX882" fmla="*/ 5032325 w 6837827"/>
              <a:gd name="connsiteY882" fmla="*/ 207534 h 1153348"/>
              <a:gd name="connsiteX883" fmla="*/ 5021826 w 6837827"/>
              <a:gd name="connsiteY883" fmla="*/ 211313 h 1153348"/>
              <a:gd name="connsiteX884" fmla="*/ 5010486 w 6837827"/>
              <a:gd name="connsiteY884" fmla="*/ 222233 h 1153348"/>
              <a:gd name="connsiteX885" fmla="*/ 4999987 w 6837827"/>
              <a:gd name="connsiteY885" fmla="*/ 235672 h 1153348"/>
              <a:gd name="connsiteX886" fmla="*/ 4990747 w 6837827"/>
              <a:gd name="connsiteY886" fmla="*/ 246592 h 1153348"/>
              <a:gd name="connsiteX887" fmla="*/ 4980668 w 6837827"/>
              <a:gd name="connsiteY887" fmla="*/ 252892 h 1153348"/>
              <a:gd name="connsiteX888" fmla="*/ 4970588 w 6837827"/>
              <a:gd name="connsiteY888" fmla="*/ 257511 h 1153348"/>
              <a:gd name="connsiteX889" fmla="*/ 4962188 w 6837827"/>
              <a:gd name="connsiteY889" fmla="*/ 263391 h 1153348"/>
              <a:gd name="connsiteX890" fmla="*/ 4957569 w 6837827"/>
              <a:gd name="connsiteY890" fmla="*/ 273891 h 1153348"/>
              <a:gd name="connsiteX891" fmla="*/ 4949589 w 6837827"/>
              <a:gd name="connsiteY891" fmla="*/ 307489 h 1153348"/>
              <a:gd name="connsiteX892" fmla="*/ 4939089 w 6837827"/>
              <a:gd name="connsiteY892" fmla="*/ 338988 h 1153348"/>
              <a:gd name="connsiteX893" fmla="*/ 4927750 w 6837827"/>
              <a:gd name="connsiteY893" fmla="*/ 370067 h 1153348"/>
              <a:gd name="connsiteX894" fmla="*/ 4917250 w 6837827"/>
              <a:gd name="connsiteY894" fmla="*/ 403245 h 1153348"/>
              <a:gd name="connsiteX895" fmla="*/ 4907591 w 6837827"/>
              <a:gd name="connsiteY895" fmla="*/ 445243 h 1153348"/>
              <a:gd name="connsiteX896" fmla="*/ 4899191 w 6837827"/>
              <a:gd name="connsiteY896" fmla="*/ 486402 h 1153348"/>
              <a:gd name="connsiteX897" fmla="*/ 4892891 w 6837827"/>
              <a:gd name="connsiteY897" fmla="*/ 509921 h 1153348"/>
              <a:gd name="connsiteX898" fmla="*/ 4883651 w 6837827"/>
              <a:gd name="connsiteY898" fmla="*/ 548139 h 1153348"/>
              <a:gd name="connsiteX899" fmla="*/ 4875672 w 6837827"/>
              <a:gd name="connsiteY899" fmla="*/ 592237 h 1153348"/>
              <a:gd name="connsiteX900" fmla="*/ 4874412 w 6837827"/>
              <a:gd name="connsiteY900" fmla="*/ 633395 h 1153348"/>
              <a:gd name="connsiteX901" fmla="*/ 4883651 w 6837827"/>
              <a:gd name="connsiteY901" fmla="*/ 662794 h 1153348"/>
              <a:gd name="connsiteX902" fmla="*/ 4908011 w 6837827"/>
              <a:gd name="connsiteY902" fmla="*/ 672454 h 1153348"/>
              <a:gd name="connsiteX903" fmla="*/ 4928170 w 6837827"/>
              <a:gd name="connsiteY903" fmla="*/ 663634 h 1153348"/>
              <a:gd name="connsiteX904" fmla="*/ 4939509 w 6837827"/>
              <a:gd name="connsiteY904" fmla="*/ 645575 h 1153348"/>
              <a:gd name="connsiteX905" fmla="*/ 4944549 w 6837827"/>
              <a:gd name="connsiteY905" fmla="*/ 622056 h 1153348"/>
              <a:gd name="connsiteX906" fmla="*/ 4945389 w 6837827"/>
              <a:gd name="connsiteY906" fmla="*/ 597697 h 1153348"/>
              <a:gd name="connsiteX907" fmla="*/ 4948749 w 6837827"/>
              <a:gd name="connsiteY907" fmla="*/ 571658 h 1153348"/>
              <a:gd name="connsiteX908" fmla="*/ 4957569 w 6837827"/>
              <a:gd name="connsiteY908" fmla="*/ 539320 h 1153348"/>
              <a:gd name="connsiteX909" fmla="*/ 4968908 w 6837827"/>
              <a:gd name="connsiteY909" fmla="*/ 506561 h 1153348"/>
              <a:gd name="connsiteX910" fmla="*/ 4980668 w 6837827"/>
              <a:gd name="connsiteY910" fmla="*/ 479682 h 1153348"/>
              <a:gd name="connsiteX911" fmla="*/ 4989067 w 6837827"/>
              <a:gd name="connsiteY911" fmla="*/ 488502 h 1153348"/>
              <a:gd name="connsiteX912" fmla="*/ 5020986 w 6837827"/>
              <a:gd name="connsiteY912" fmla="*/ 380146 h 1153348"/>
              <a:gd name="connsiteX913" fmla="*/ 5013006 w 6837827"/>
              <a:gd name="connsiteY913" fmla="*/ 390226 h 1153348"/>
              <a:gd name="connsiteX914" fmla="*/ 5004606 w 6837827"/>
              <a:gd name="connsiteY914" fmla="*/ 395686 h 1153348"/>
              <a:gd name="connsiteX915" fmla="*/ 4997887 w 6837827"/>
              <a:gd name="connsiteY915" fmla="*/ 394426 h 1153348"/>
              <a:gd name="connsiteX916" fmla="*/ 4994947 w 6837827"/>
              <a:gd name="connsiteY916" fmla="*/ 377206 h 1153348"/>
              <a:gd name="connsiteX917" fmla="*/ 5004187 w 6837827"/>
              <a:gd name="connsiteY917" fmla="*/ 353687 h 1153348"/>
              <a:gd name="connsiteX918" fmla="*/ 5018886 w 6837827"/>
              <a:gd name="connsiteY918" fmla="*/ 331428 h 1153348"/>
              <a:gd name="connsiteX919" fmla="*/ 5032745 w 6837827"/>
              <a:gd name="connsiteY919" fmla="*/ 317149 h 1153348"/>
              <a:gd name="connsiteX920" fmla="*/ 5033585 w 6837827"/>
              <a:gd name="connsiteY920" fmla="*/ 343188 h 1153348"/>
              <a:gd name="connsiteX921" fmla="*/ 5027705 w 6837827"/>
              <a:gd name="connsiteY921" fmla="*/ 368387 h 1153348"/>
              <a:gd name="connsiteX922" fmla="*/ 5020986 w 6837827"/>
              <a:gd name="connsiteY922" fmla="*/ 380146 h 1153348"/>
              <a:gd name="connsiteX923" fmla="*/ 5336392 w 6837827"/>
              <a:gd name="connsiteY923" fmla="*/ 237352 h 1153348"/>
              <a:gd name="connsiteX924" fmla="*/ 5333872 w 6837827"/>
              <a:gd name="connsiteY924" fmla="*/ 285230 h 1153348"/>
              <a:gd name="connsiteX925" fmla="*/ 5349831 w 6837827"/>
              <a:gd name="connsiteY925" fmla="*/ 336048 h 1153348"/>
              <a:gd name="connsiteX926" fmla="*/ 5369991 w 6837827"/>
              <a:gd name="connsiteY926" fmla="*/ 395265 h 1153348"/>
              <a:gd name="connsiteX927" fmla="*/ 5374191 w 6837827"/>
              <a:gd name="connsiteY927" fmla="*/ 408285 h 1153348"/>
              <a:gd name="connsiteX928" fmla="*/ 5380490 w 6837827"/>
              <a:gd name="connsiteY928" fmla="*/ 428024 h 1153348"/>
              <a:gd name="connsiteX929" fmla="*/ 5386370 w 6837827"/>
              <a:gd name="connsiteY929" fmla="*/ 451543 h 1153348"/>
              <a:gd name="connsiteX930" fmla="*/ 5389310 w 6837827"/>
              <a:gd name="connsiteY930" fmla="*/ 474642 h 1153348"/>
              <a:gd name="connsiteX931" fmla="*/ 5386790 w 6837827"/>
              <a:gd name="connsiteY931" fmla="*/ 493121 h 1153348"/>
              <a:gd name="connsiteX932" fmla="*/ 5376291 w 6837827"/>
              <a:gd name="connsiteY932" fmla="*/ 503621 h 1153348"/>
              <a:gd name="connsiteX933" fmla="*/ 5366631 w 6837827"/>
              <a:gd name="connsiteY933" fmla="*/ 503621 h 1153348"/>
              <a:gd name="connsiteX934" fmla="*/ 5358231 w 6837827"/>
              <a:gd name="connsiteY934" fmla="*/ 498161 h 1153348"/>
              <a:gd name="connsiteX935" fmla="*/ 5351092 w 6837827"/>
              <a:gd name="connsiteY935" fmla="*/ 490182 h 1153348"/>
              <a:gd name="connsiteX936" fmla="*/ 5344792 w 6837827"/>
              <a:gd name="connsiteY936" fmla="*/ 483042 h 1153348"/>
              <a:gd name="connsiteX937" fmla="*/ 5326732 w 6837827"/>
              <a:gd name="connsiteY937" fmla="*/ 473382 h 1153348"/>
              <a:gd name="connsiteX938" fmla="*/ 5310773 w 6837827"/>
              <a:gd name="connsiteY938" fmla="*/ 480102 h 1153348"/>
              <a:gd name="connsiteX939" fmla="*/ 5299854 w 6837827"/>
              <a:gd name="connsiteY939" fmla="*/ 497321 h 1153348"/>
              <a:gd name="connsiteX940" fmla="*/ 5296914 w 6837827"/>
              <a:gd name="connsiteY940" fmla="*/ 517900 h 1153348"/>
              <a:gd name="connsiteX941" fmla="*/ 5303214 w 6837827"/>
              <a:gd name="connsiteY941" fmla="*/ 541419 h 1153348"/>
              <a:gd name="connsiteX942" fmla="*/ 5316653 w 6837827"/>
              <a:gd name="connsiteY942" fmla="*/ 563678 h 1153348"/>
              <a:gd name="connsiteX943" fmla="*/ 5336392 w 6837827"/>
              <a:gd name="connsiteY943" fmla="*/ 579638 h 1153348"/>
              <a:gd name="connsiteX944" fmla="*/ 5361171 w 6837827"/>
              <a:gd name="connsiteY944" fmla="*/ 585518 h 1153348"/>
              <a:gd name="connsiteX945" fmla="*/ 5416609 w 6837827"/>
              <a:gd name="connsiteY945" fmla="*/ 569558 h 1153348"/>
              <a:gd name="connsiteX946" fmla="*/ 5448527 w 6837827"/>
              <a:gd name="connsiteY946" fmla="*/ 532180 h 1153348"/>
              <a:gd name="connsiteX947" fmla="*/ 5460287 w 6837827"/>
              <a:gd name="connsiteY947" fmla="*/ 484302 h 1153348"/>
              <a:gd name="connsiteX948" fmla="*/ 5455247 w 6837827"/>
              <a:gd name="connsiteY948" fmla="*/ 435584 h 1153348"/>
              <a:gd name="connsiteX949" fmla="*/ 5442648 w 6837827"/>
              <a:gd name="connsiteY949" fmla="*/ 400305 h 1153348"/>
              <a:gd name="connsiteX950" fmla="*/ 5426688 w 6837827"/>
              <a:gd name="connsiteY950" fmla="*/ 364607 h 1153348"/>
              <a:gd name="connsiteX951" fmla="*/ 5412829 w 6837827"/>
              <a:gd name="connsiteY951" fmla="*/ 328489 h 1153348"/>
              <a:gd name="connsiteX952" fmla="*/ 5406109 w 6837827"/>
              <a:gd name="connsiteY952" fmla="*/ 292370 h 1153348"/>
              <a:gd name="connsiteX953" fmla="*/ 5409889 w 6837827"/>
              <a:gd name="connsiteY953" fmla="*/ 254152 h 1153348"/>
              <a:gd name="connsiteX954" fmla="*/ 5424588 w 6837827"/>
              <a:gd name="connsiteY954" fmla="*/ 236512 h 1153348"/>
              <a:gd name="connsiteX955" fmla="*/ 5449787 w 6837827"/>
              <a:gd name="connsiteY955" fmla="*/ 227693 h 1153348"/>
              <a:gd name="connsiteX956" fmla="*/ 5485066 w 6837827"/>
              <a:gd name="connsiteY956" fmla="*/ 217193 h 1153348"/>
              <a:gd name="connsiteX957" fmla="*/ 5500605 w 6837827"/>
              <a:gd name="connsiteY957" fmla="*/ 209214 h 1153348"/>
              <a:gd name="connsiteX958" fmla="*/ 5509845 w 6837827"/>
              <a:gd name="connsiteY958" fmla="*/ 194094 h 1153348"/>
              <a:gd name="connsiteX959" fmla="*/ 5504805 w 6837827"/>
              <a:gd name="connsiteY959" fmla="*/ 176875 h 1153348"/>
              <a:gd name="connsiteX960" fmla="*/ 5496405 w 6837827"/>
              <a:gd name="connsiteY960" fmla="*/ 164275 h 1153348"/>
              <a:gd name="connsiteX961" fmla="*/ 5482966 w 6837827"/>
              <a:gd name="connsiteY961" fmla="*/ 156716 h 1153348"/>
              <a:gd name="connsiteX962" fmla="*/ 5462387 w 6837827"/>
              <a:gd name="connsiteY962" fmla="*/ 155876 h 1153348"/>
              <a:gd name="connsiteX963" fmla="*/ 5438868 w 6837827"/>
              <a:gd name="connsiteY963" fmla="*/ 159236 h 1153348"/>
              <a:gd name="connsiteX964" fmla="*/ 5413669 w 6837827"/>
              <a:gd name="connsiteY964" fmla="*/ 165536 h 1153348"/>
              <a:gd name="connsiteX965" fmla="*/ 5390150 w 6837827"/>
              <a:gd name="connsiteY965" fmla="*/ 175195 h 1153348"/>
              <a:gd name="connsiteX966" fmla="*/ 5370831 w 6837827"/>
              <a:gd name="connsiteY966" fmla="*/ 189054 h 1153348"/>
              <a:gd name="connsiteX967" fmla="*/ 5336392 w 6837827"/>
              <a:gd name="connsiteY967" fmla="*/ 237352 h 1153348"/>
              <a:gd name="connsiteX968" fmla="*/ 5839951 w 6837827"/>
              <a:gd name="connsiteY968" fmla="*/ 119757 h 1153348"/>
              <a:gd name="connsiteX969" fmla="*/ 5827771 w 6837827"/>
              <a:gd name="connsiteY969" fmla="*/ 118498 h 1153348"/>
              <a:gd name="connsiteX970" fmla="*/ 5814332 w 6837827"/>
              <a:gd name="connsiteY970" fmla="*/ 119757 h 1153348"/>
              <a:gd name="connsiteX971" fmla="*/ 5802152 w 6837827"/>
              <a:gd name="connsiteY971" fmla="*/ 121437 h 1153348"/>
              <a:gd name="connsiteX972" fmla="*/ 5743775 w 6837827"/>
              <a:gd name="connsiteY972" fmla="*/ 129417 h 1153348"/>
              <a:gd name="connsiteX973" fmla="*/ 5684977 w 6837827"/>
              <a:gd name="connsiteY973" fmla="*/ 142856 h 1153348"/>
              <a:gd name="connsiteX974" fmla="*/ 5629540 w 6837827"/>
              <a:gd name="connsiteY974" fmla="*/ 160916 h 1153348"/>
              <a:gd name="connsiteX975" fmla="*/ 5580822 w 6837827"/>
              <a:gd name="connsiteY975" fmla="*/ 183175 h 1153348"/>
              <a:gd name="connsiteX976" fmla="*/ 5572842 w 6837827"/>
              <a:gd name="connsiteY976" fmla="*/ 188635 h 1153348"/>
              <a:gd name="connsiteX977" fmla="*/ 5571162 w 6837827"/>
              <a:gd name="connsiteY977" fmla="*/ 198294 h 1153348"/>
              <a:gd name="connsiteX978" fmla="*/ 5572842 w 6837827"/>
              <a:gd name="connsiteY978" fmla="*/ 209634 h 1153348"/>
              <a:gd name="connsiteX979" fmla="*/ 5576622 w 6837827"/>
              <a:gd name="connsiteY979" fmla="*/ 221393 h 1153348"/>
              <a:gd name="connsiteX980" fmla="*/ 5582921 w 6837827"/>
              <a:gd name="connsiteY980" fmla="*/ 231473 h 1153348"/>
              <a:gd name="connsiteX981" fmla="*/ 5592161 w 6837827"/>
              <a:gd name="connsiteY981" fmla="*/ 237352 h 1153348"/>
              <a:gd name="connsiteX982" fmla="*/ 5614420 w 6837827"/>
              <a:gd name="connsiteY982" fmla="*/ 239032 h 1153348"/>
              <a:gd name="connsiteX983" fmla="*/ 5638359 w 6837827"/>
              <a:gd name="connsiteY983" fmla="*/ 233572 h 1153348"/>
              <a:gd name="connsiteX984" fmla="*/ 5661878 w 6837827"/>
              <a:gd name="connsiteY984" fmla="*/ 224333 h 1153348"/>
              <a:gd name="connsiteX985" fmla="*/ 5682038 w 6837827"/>
              <a:gd name="connsiteY985" fmla="*/ 215093 h 1153348"/>
              <a:gd name="connsiteX986" fmla="*/ 5677417 w 6837827"/>
              <a:gd name="connsiteY986" fmla="*/ 286910 h 1153348"/>
              <a:gd name="connsiteX987" fmla="*/ 5670278 w 6837827"/>
              <a:gd name="connsiteY987" fmla="*/ 354527 h 1153348"/>
              <a:gd name="connsiteX988" fmla="*/ 5664818 w 6837827"/>
              <a:gd name="connsiteY988" fmla="*/ 421725 h 1153348"/>
              <a:gd name="connsiteX989" fmla="*/ 5665238 w 6837827"/>
              <a:gd name="connsiteY989" fmla="*/ 492281 h 1153348"/>
              <a:gd name="connsiteX990" fmla="*/ 5670278 w 6837827"/>
              <a:gd name="connsiteY990" fmla="*/ 512021 h 1153348"/>
              <a:gd name="connsiteX991" fmla="*/ 5680777 w 6837827"/>
              <a:gd name="connsiteY991" fmla="*/ 529240 h 1153348"/>
              <a:gd name="connsiteX992" fmla="*/ 5696317 w 6837827"/>
              <a:gd name="connsiteY992" fmla="*/ 538899 h 1153348"/>
              <a:gd name="connsiteX993" fmla="*/ 5715636 w 6837827"/>
              <a:gd name="connsiteY993" fmla="*/ 536799 h 1153348"/>
              <a:gd name="connsiteX994" fmla="*/ 5739575 w 6837827"/>
              <a:gd name="connsiteY994" fmla="*/ 518740 h 1153348"/>
              <a:gd name="connsiteX995" fmla="*/ 5744614 w 6837827"/>
              <a:gd name="connsiteY995" fmla="*/ 497321 h 1153348"/>
              <a:gd name="connsiteX996" fmla="*/ 5739995 w 6837827"/>
              <a:gd name="connsiteY996" fmla="*/ 472542 h 1153348"/>
              <a:gd name="connsiteX997" fmla="*/ 5734115 w 6837827"/>
              <a:gd name="connsiteY997" fmla="*/ 444403 h 1153348"/>
              <a:gd name="connsiteX998" fmla="*/ 5733275 w 6837827"/>
              <a:gd name="connsiteY998" fmla="*/ 386866 h 1153348"/>
              <a:gd name="connsiteX999" fmla="*/ 5738735 w 6837827"/>
              <a:gd name="connsiteY999" fmla="*/ 328908 h 1153348"/>
              <a:gd name="connsiteX1000" fmla="*/ 5745455 w 6837827"/>
              <a:gd name="connsiteY1000" fmla="*/ 270111 h 1153348"/>
              <a:gd name="connsiteX1001" fmla="*/ 5748394 w 6837827"/>
              <a:gd name="connsiteY1001" fmla="*/ 210054 h 1153348"/>
              <a:gd name="connsiteX1002" fmla="*/ 5750494 w 6837827"/>
              <a:gd name="connsiteY1002" fmla="*/ 199134 h 1153348"/>
              <a:gd name="connsiteX1003" fmla="*/ 5756374 w 6837827"/>
              <a:gd name="connsiteY1003" fmla="*/ 192834 h 1153348"/>
              <a:gd name="connsiteX1004" fmla="*/ 5765194 w 6837827"/>
              <a:gd name="connsiteY1004" fmla="*/ 189054 h 1153348"/>
              <a:gd name="connsiteX1005" fmla="*/ 5774853 w 6837827"/>
              <a:gd name="connsiteY1005" fmla="*/ 186535 h 1153348"/>
              <a:gd name="connsiteX1006" fmla="*/ 5809712 w 6837827"/>
              <a:gd name="connsiteY1006" fmla="*/ 181075 h 1153348"/>
              <a:gd name="connsiteX1007" fmla="*/ 5844151 w 6837827"/>
              <a:gd name="connsiteY1007" fmla="*/ 174775 h 1153348"/>
              <a:gd name="connsiteX1008" fmla="*/ 5855070 w 6837827"/>
              <a:gd name="connsiteY1008" fmla="*/ 165955 h 1153348"/>
              <a:gd name="connsiteX1009" fmla="*/ 5855910 w 6837827"/>
              <a:gd name="connsiteY1009" fmla="*/ 153356 h 1153348"/>
              <a:gd name="connsiteX1010" fmla="*/ 5852130 w 6837827"/>
              <a:gd name="connsiteY1010" fmla="*/ 138657 h 1153348"/>
              <a:gd name="connsiteX1011" fmla="*/ 5849610 w 6837827"/>
              <a:gd name="connsiteY1011" fmla="*/ 123537 h 1153348"/>
              <a:gd name="connsiteX1012" fmla="*/ 5839951 w 6837827"/>
              <a:gd name="connsiteY1012" fmla="*/ 119757 h 1153348"/>
              <a:gd name="connsiteX1013" fmla="*/ 6155357 w 6837827"/>
              <a:gd name="connsiteY1013" fmla="*/ 108418 h 1153348"/>
              <a:gd name="connsiteX1014" fmla="*/ 6139818 w 6837827"/>
              <a:gd name="connsiteY1014" fmla="*/ 104638 h 1153348"/>
              <a:gd name="connsiteX1015" fmla="*/ 6114199 w 6837827"/>
              <a:gd name="connsiteY1015" fmla="*/ 92459 h 1153348"/>
              <a:gd name="connsiteX1016" fmla="*/ 6087320 w 6837827"/>
              <a:gd name="connsiteY1016" fmla="*/ 86159 h 1153348"/>
              <a:gd name="connsiteX1017" fmla="*/ 6054141 w 6837827"/>
              <a:gd name="connsiteY1017" fmla="*/ 100018 h 1153348"/>
              <a:gd name="connsiteX1018" fmla="*/ 6029782 w 6837827"/>
              <a:gd name="connsiteY1018" fmla="*/ 127737 h 1153348"/>
              <a:gd name="connsiteX1019" fmla="*/ 6010883 w 6837827"/>
              <a:gd name="connsiteY1019" fmla="*/ 161756 h 1153348"/>
              <a:gd name="connsiteX1020" fmla="*/ 5994084 w 6837827"/>
              <a:gd name="connsiteY1020" fmla="*/ 195774 h 1153348"/>
              <a:gd name="connsiteX1021" fmla="*/ 5975185 w 6837827"/>
              <a:gd name="connsiteY1021" fmla="*/ 238612 h 1153348"/>
              <a:gd name="connsiteX1022" fmla="*/ 5956285 w 6837827"/>
              <a:gd name="connsiteY1022" fmla="*/ 291950 h 1153348"/>
              <a:gd name="connsiteX1023" fmla="*/ 5942846 w 6837827"/>
              <a:gd name="connsiteY1023" fmla="*/ 349488 h 1153348"/>
              <a:gd name="connsiteX1024" fmla="*/ 5940326 w 6837827"/>
              <a:gd name="connsiteY1024" fmla="*/ 405345 h 1153348"/>
              <a:gd name="connsiteX1025" fmla="*/ 5954605 w 6837827"/>
              <a:gd name="connsiteY1025" fmla="*/ 453643 h 1153348"/>
              <a:gd name="connsiteX1026" fmla="*/ 5991144 w 6837827"/>
              <a:gd name="connsiteY1026" fmla="*/ 488502 h 1153348"/>
              <a:gd name="connsiteX1027" fmla="*/ 6011723 w 6837827"/>
              <a:gd name="connsiteY1027" fmla="*/ 495641 h 1153348"/>
              <a:gd name="connsiteX1028" fmla="*/ 6031882 w 6837827"/>
              <a:gd name="connsiteY1028" fmla="*/ 496481 h 1153348"/>
              <a:gd name="connsiteX1029" fmla="*/ 6072621 w 6837827"/>
              <a:gd name="connsiteY1029" fmla="*/ 482202 h 1153348"/>
              <a:gd name="connsiteX1030" fmla="*/ 6113359 w 6837827"/>
              <a:gd name="connsiteY1030" fmla="*/ 452803 h 1153348"/>
              <a:gd name="connsiteX1031" fmla="*/ 6148637 w 6837827"/>
              <a:gd name="connsiteY1031" fmla="*/ 416685 h 1153348"/>
              <a:gd name="connsiteX1032" fmla="*/ 6172576 w 6837827"/>
              <a:gd name="connsiteY1032" fmla="*/ 382666 h 1153348"/>
              <a:gd name="connsiteX1033" fmla="*/ 6186016 w 6837827"/>
              <a:gd name="connsiteY1033" fmla="*/ 361667 h 1153348"/>
              <a:gd name="connsiteX1034" fmla="*/ 6197775 w 6837827"/>
              <a:gd name="connsiteY1034" fmla="*/ 342348 h 1153348"/>
              <a:gd name="connsiteX1035" fmla="*/ 6207855 w 6837827"/>
              <a:gd name="connsiteY1035" fmla="*/ 319249 h 1153348"/>
              <a:gd name="connsiteX1036" fmla="*/ 6214574 w 6837827"/>
              <a:gd name="connsiteY1036" fmla="*/ 288170 h 1153348"/>
              <a:gd name="connsiteX1037" fmla="*/ 6218774 w 6837827"/>
              <a:gd name="connsiteY1037" fmla="*/ 270531 h 1153348"/>
              <a:gd name="connsiteX1038" fmla="*/ 6222134 w 6837827"/>
              <a:gd name="connsiteY1038" fmla="*/ 255832 h 1153348"/>
              <a:gd name="connsiteX1039" fmla="*/ 6224654 w 6837827"/>
              <a:gd name="connsiteY1039" fmla="*/ 216773 h 1153348"/>
              <a:gd name="connsiteX1040" fmla="*/ 6220454 w 6837827"/>
              <a:gd name="connsiteY1040" fmla="*/ 171415 h 1153348"/>
              <a:gd name="connsiteX1041" fmla="*/ 6204075 w 6837827"/>
              <a:gd name="connsiteY1041" fmla="*/ 131937 h 1153348"/>
              <a:gd name="connsiteX1042" fmla="*/ 6172156 w 6837827"/>
              <a:gd name="connsiteY1042" fmla="*/ 110098 h 1153348"/>
              <a:gd name="connsiteX1043" fmla="*/ 6155357 w 6837827"/>
              <a:gd name="connsiteY1043" fmla="*/ 108418 h 1153348"/>
              <a:gd name="connsiteX1044" fmla="*/ 6134778 w 6837827"/>
              <a:gd name="connsiteY1044" fmla="*/ 332268 h 1153348"/>
              <a:gd name="connsiteX1045" fmla="*/ 6107059 w 6837827"/>
              <a:gd name="connsiteY1045" fmla="*/ 372166 h 1153348"/>
              <a:gd name="connsiteX1046" fmla="*/ 6073041 w 6837827"/>
              <a:gd name="connsiteY1046" fmla="*/ 405765 h 1153348"/>
              <a:gd name="connsiteX1047" fmla="*/ 6036502 w 6837827"/>
              <a:gd name="connsiteY1047" fmla="*/ 427604 h 1153348"/>
              <a:gd name="connsiteX1048" fmla="*/ 6019703 w 6837827"/>
              <a:gd name="connsiteY1048" fmla="*/ 427604 h 1153348"/>
              <a:gd name="connsiteX1049" fmla="*/ 6008783 w 6837827"/>
              <a:gd name="connsiteY1049" fmla="*/ 415845 h 1153348"/>
              <a:gd name="connsiteX1050" fmla="*/ 6002903 w 6837827"/>
              <a:gd name="connsiteY1050" fmla="*/ 396946 h 1153348"/>
              <a:gd name="connsiteX1051" fmla="*/ 6001224 w 6837827"/>
              <a:gd name="connsiteY1051" fmla="*/ 375106 h 1153348"/>
              <a:gd name="connsiteX1052" fmla="*/ 6002903 w 6837827"/>
              <a:gd name="connsiteY1052" fmla="*/ 354527 h 1153348"/>
              <a:gd name="connsiteX1053" fmla="*/ 6007524 w 6837827"/>
              <a:gd name="connsiteY1053" fmla="*/ 340248 h 1153348"/>
              <a:gd name="connsiteX1054" fmla="*/ 6018863 w 6837827"/>
              <a:gd name="connsiteY1054" fmla="*/ 307069 h 1153348"/>
              <a:gd name="connsiteX1055" fmla="*/ 6026002 w 6837827"/>
              <a:gd name="connsiteY1055" fmla="*/ 272211 h 1153348"/>
              <a:gd name="connsiteX1056" fmla="*/ 6050362 w 6837827"/>
              <a:gd name="connsiteY1056" fmla="*/ 219713 h 1153348"/>
              <a:gd name="connsiteX1057" fmla="*/ 6091520 w 6837827"/>
              <a:gd name="connsiteY1057" fmla="*/ 177715 h 1153348"/>
              <a:gd name="connsiteX1058" fmla="*/ 6105799 w 6837827"/>
              <a:gd name="connsiteY1058" fmla="*/ 174355 h 1153348"/>
              <a:gd name="connsiteX1059" fmla="*/ 6122598 w 6837827"/>
              <a:gd name="connsiteY1059" fmla="*/ 174355 h 1153348"/>
              <a:gd name="connsiteX1060" fmla="*/ 6141918 w 6837827"/>
              <a:gd name="connsiteY1060" fmla="*/ 179395 h 1153348"/>
              <a:gd name="connsiteX1061" fmla="*/ 6153257 w 6837827"/>
              <a:gd name="connsiteY1061" fmla="*/ 196614 h 1153348"/>
              <a:gd name="connsiteX1062" fmla="*/ 6158297 w 6837827"/>
              <a:gd name="connsiteY1062" fmla="*/ 220973 h 1153348"/>
              <a:gd name="connsiteX1063" fmla="*/ 6158717 w 6837827"/>
              <a:gd name="connsiteY1063" fmla="*/ 247852 h 1153348"/>
              <a:gd name="connsiteX1064" fmla="*/ 6156197 w 6837827"/>
              <a:gd name="connsiteY1064" fmla="*/ 272631 h 1153348"/>
              <a:gd name="connsiteX1065" fmla="*/ 6152837 w 6837827"/>
              <a:gd name="connsiteY1065" fmla="*/ 290270 h 1153348"/>
              <a:gd name="connsiteX1066" fmla="*/ 6134778 w 6837827"/>
              <a:gd name="connsiteY1066" fmla="*/ 332268 h 1153348"/>
              <a:gd name="connsiteX1067" fmla="*/ 6433385 w 6837827"/>
              <a:gd name="connsiteY1067" fmla="*/ 242392 h 1153348"/>
              <a:gd name="connsiteX1068" fmla="*/ 6451864 w 6837827"/>
              <a:gd name="connsiteY1068" fmla="*/ 243652 h 1153348"/>
              <a:gd name="connsiteX1069" fmla="*/ 6469083 w 6837827"/>
              <a:gd name="connsiteY1069" fmla="*/ 239032 h 1153348"/>
              <a:gd name="connsiteX1070" fmla="*/ 6483363 w 6837827"/>
              <a:gd name="connsiteY1070" fmla="*/ 227273 h 1153348"/>
              <a:gd name="connsiteX1071" fmla="*/ 6495542 w 6837827"/>
              <a:gd name="connsiteY1071" fmla="*/ 211313 h 1153348"/>
              <a:gd name="connsiteX1072" fmla="*/ 6505622 w 6837827"/>
              <a:gd name="connsiteY1072" fmla="*/ 195774 h 1153348"/>
              <a:gd name="connsiteX1073" fmla="*/ 6518641 w 6837827"/>
              <a:gd name="connsiteY1073" fmla="*/ 169735 h 1153348"/>
              <a:gd name="connsiteX1074" fmla="*/ 6532921 w 6837827"/>
              <a:gd name="connsiteY1074" fmla="*/ 143696 h 1153348"/>
              <a:gd name="connsiteX1075" fmla="*/ 6543420 w 6837827"/>
              <a:gd name="connsiteY1075" fmla="*/ 116817 h 1153348"/>
              <a:gd name="connsiteX1076" fmla="*/ 6545940 w 6837827"/>
              <a:gd name="connsiteY1076" fmla="*/ 87839 h 1153348"/>
              <a:gd name="connsiteX1077" fmla="*/ 6530401 w 6837827"/>
              <a:gd name="connsiteY1077" fmla="*/ 50460 h 1153348"/>
              <a:gd name="connsiteX1078" fmla="*/ 6497642 w 6837827"/>
              <a:gd name="connsiteY1078" fmla="*/ 22322 h 1153348"/>
              <a:gd name="connsiteX1079" fmla="*/ 6456484 w 6837827"/>
              <a:gd name="connsiteY1079" fmla="*/ 6362 h 1153348"/>
              <a:gd name="connsiteX1080" fmla="*/ 6414486 w 6837827"/>
              <a:gd name="connsiteY1080" fmla="*/ 5522 h 1153348"/>
              <a:gd name="connsiteX1081" fmla="*/ 6399366 w 6837827"/>
              <a:gd name="connsiteY1081" fmla="*/ 63 h 1153348"/>
              <a:gd name="connsiteX1082" fmla="*/ 6378367 w 6837827"/>
              <a:gd name="connsiteY1082" fmla="*/ 5522 h 1153348"/>
              <a:gd name="connsiteX1083" fmla="*/ 6359468 w 6837827"/>
              <a:gd name="connsiteY1083" fmla="*/ 17702 h 1153348"/>
              <a:gd name="connsiteX1084" fmla="*/ 6350229 w 6837827"/>
              <a:gd name="connsiteY1084" fmla="*/ 32401 h 1153348"/>
              <a:gd name="connsiteX1085" fmla="*/ 6351909 w 6837827"/>
              <a:gd name="connsiteY1085" fmla="*/ 51300 h 1153348"/>
              <a:gd name="connsiteX1086" fmla="*/ 6355268 w 6837827"/>
              <a:gd name="connsiteY1086" fmla="*/ 70200 h 1153348"/>
              <a:gd name="connsiteX1087" fmla="*/ 6351909 w 6837827"/>
              <a:gd name="connsiteY1087" fmla="*/ 106318 h 1153348"/>
              <a:gd name="connsiteX1088" fmla="*/ 6347289 w 6837827"/>
              <a:gd name="connsiteY1088" fmla="*/ 142437 h 1153348"/>
              <a:gd name="connsiteX1089" fmla="*/ 6344349 w 6837827"/>
              <a:gd name="connsiteY1089" fmla="*/ 205854 h 1153348"/>
              <a:gd name="connsiteX1090" fmla="*/ 6338469 w 6837827"/>
              <a:gd name="connsiteY1090" fmla="*/ 271371 h 1153348"/>
              <a:gd name="connsiteX1091" fmla="*/ 6334269 w 6837827"/>
              <a:gd name="connsiteY1091" fmla="*/ 337308 h 1153348"/>
              <a:gd name="connsiteX1092" fmla="*/ 6336369 w 6837827"/>
              <a:gd name="connsiteY1092" fmla="*/ 401565 h 1153348"/>
              <a:gd name="connsiteX1093" fmla="*/ 6337629 w 6837827"/>
              <a:gd name="connsiteY1093" fmla="*/ 431804 h 1153348"/>
              <a:gd name="connsiteX1094" fmla="*/ 6336789 w 6837827"/>
              <a:gd name="connsiteY1094" fmla="*/ 453223 h 1153348"/>
              <a:gd name="connsiteX1095" fmla="*/ 6335949 w 6837827"/>
              <a:gd name="connsiteY1095" fmla="*/ 470442 h 1153348"/>
              <a:gd name="connsiteX1096" fmla="*/ 6337629 w 6837827"/>
              <a:gd name="connsiteY1096" fmla="*/ 487662 h 1153348"/>
              <a:gd name="connsiteX1097" fmla="*/ 6348969 w 6837827"/>
              <a:gd name="connsiteY1097" fmla="*/ 502781 h 1153348"/>
              <a:gd name="connsiteX1098" fmla="*/ 6369128 w 6837827"/>
              <a:gd name="connsiteY1098" fmla="*/ 509501 h 1153348"/>
              <a:gd name="connsiteX1099" fmla="*/ 6390547 w 6837827"/>
              <a:gd name="connsiteY1099" fmla="*/ 507401 h 1153348"/>
              <a:gd name="connsiteX1100" fmla="*/ 6406926 w 6837827"/>
              <a:gd name="connsiteY1100" fmla="*/ 496481 h 1153348"/>
              <a:gd name="connsiteX1101" fmla="*/ 6411126 w 6837827"/>
              <a:gd name="connsiteY1101" fmla="*/ 482202 h 1153348"/>
              <a:gd name="connsiteX1102" fmla="*/ 6412806 w 6837827"/>
              <a:gd name="connsiteY1102" fmla="*/ 458683 h 1153348"/>
              <a:gd name="connsiteX1103" fmla="*/ 6412806 w 6837827"/>
              <a:gd name="connsiteY1103" fmla="*/ 434324 h 1153348"/>
              <a:gd name="connsiteX1104" fmla="*/ 6411966 w 6837827"/>
              <a:gd name="connsiteY1104" fmla="*/ 417105 h 1153348"/>
              <a:gd name="connsiteX1105" fmla="*/ 6409866 w 6837827"/>
              <a:gd name="connsiteY1105" fmla="*/ 396946 h 1153348"/>
              <a:gd name="connsiteX1106" fmla="*/ 6408606 w 6837827"/>
              <a:gd name="connsiteY1106" fmla="*/ 380986 h 1153348"/>
              <a:gd name="connsiteX1107" fmla="*/ 6408186 w 6837827"/>
              <a:gd name="connsiteY1107" fmla="*/ 363767 h 1153348"/>
              <a:gd name="connsiteX1108" fmla="*/ 6409446 w 6837827"/>
              <a:gd name="connsiteY1108" fmla="*/ 340248 h 1153348"/>
              <a:gd name="connsiteX1109" fmla="*/ 6409446 w 6837827"/>
              <a:gd name="connsiteY1109" fmla="*/ 319669 h 1153348"/>
              <a:gd name="connsiteX1110" fmla="*/ 6408606 w 6837827"/>
              <a:gd name="connsiteY1110" fmla="*/ 297830 h 1153348"/>
              <a:gd name="connsiteX1111" fmla="*/ 6409866 w 6837827"/>
              <a:gd name="connsiteY1111" fmla="*/ 271371 h 1153348"/>
              <a:gd name="connsiteX1112" fmla="*/ 6417006 w 6837827"/>
              <a:gd name="connsiteY1112" fmla="*/ 236512 h 1153348"/>
              <a:gd name="connsiteX1113" fmla="*/ 6433385 w 6837827"/>
              <a:gd name="connsiteY1113" fmla="*/ 242392 h 1153348"/>
              <a:gd name="connsiteX1114" fmla="*/ 6423726 w 6837827"/>
              <a:gd name="connsiteY1114" fmla="*/ 98758 h 1153348"/>
              <a:gd name="connsiteX1115" fmla="*/ 6434225 w 6837827"/>
              <a:gd name="connsiteY1115" fmla="*/ 92459 h 1153348"/>
              <a:gd name="connsiteX1116" fmla="*/ 6446405 w 6837827"/>
              <a:gd name="connsiteY1116" fmla="*/ 94978 h 1153348"/>
              <a:gd name="connsiteX1117" fmla="*/ 6453964 w 6837827"/>
              <a:gd name="connsiteY1117" fmla="*/ 105478 h 1153348"/>
              <a:gd name="connsiteX1118" fmla="*/ 6454804 w 6837827"/>
              <a:gd name="connsiteY1118" fmla="*/ 118077 h 1153348"/>
              <a:gd name="connsiteX1119" fmla="*/ 6450605 w 6837827"/>
              <a:gd name="connsiteY1119" fmla="*/ 130677 h 1153348"/>
              <a:gd name="connsiteX1120" fmla="*/ 6442625 w 6837827"/>
              <a:gd name="connsiteY1120" fmla="*/ 141176 h 1153348"/>
              <a:gd name="connsiteX1121" fmla="*/ 6438425 w 6837827"/>
              <a:gd name="connsiteY1121" fmla="*/ 144116 h 1153348"/>
              <a:gd name="connsiteX1122" fmla="*/ 6430865 w 6837827"/>
              <a:gd name="connsiteY1122" fmla="*/ 148736 h 1153348"/>
              <a:gd name="connsiteX1123" fmla="*/ 6423726 w 6837827"/>
              <a:gd name="connsiteY1123" fmla="*/ 152096 h 1153348"/>
              <a:gd name="connsiteX1124" fmla="*/ 6419946 w 6837827"/>
              <a:gd name="connsiteY1124" fmla="*/ 151676 h 1153348"/>
              <a:gd name="connsiteX1125" fmla="*/ 6418266 w 6837827"/>
              <a:gd name="connsiteY1125" fmla="*/ 139497 h 1153348"/>
              <a:gd name="connsiteX1126" fmla="*/ 6418266 w 6837827"/>
              <a:gd name="connsiteY1126" fmla="*/ 123537 h 1153348"/>
              <a:gd name="connsiteX1127" fmla="*/ 6419946 w 6837827"/>
              <a:gd name="connsiteY1127" fmla="*/ 107998 h 1153348"/>
              <a:gd name="connsiteX1128" fmla="*/ 6423306 w 6837827"/>
              <a:gd name="connsiteY1128" fmla="*/ 96239 h 1153348"/>
              <a:gd name="connsiteX1129" fmla="*/ 6423726 w 6837827"/>
              <a:gd name="connsiteY1129" fmla="*/ 98758 h 1153348"/>
              <a:gd name="connsiteX1130" fmla="*/ 6664795 w 6837827"/>
              <a:gd name="connsiteY1130" fmla="*/ 97498 h 1153348"/>
              <a:gd name="connsiteX1131" fmla="*/ 6662275 w 6837827"/>
              <a:gd name="connsiteY1131" fmla="*/ 145376 h 1153348"/>
              <a:gd name="connsiteX1132" fmla="*/ 6678235 w 6837827"/>
              <a:gd name="connsiteY1132" fmla="*/ 196194 h 1153348"/>
              <a:gd name="connsiteX1133" fmla="*/ 6698394 w 6837827"/>
              <a:gd name="connsiteY1133" fmla="*/ 254992 h 1153348"/>
              <a:gd name="connsiteX1134" fmla="*/ 6702594 w 6837827"/>
              <a:gd name="connsiteY1134" fmla="*/ 268011 h 1153348"/>
              <a:gd name="connsiteX1135" fmla="*/ 6708893 w 6837827"/>
              <a:gd name="connsiteY1135" fmla="*/ 287750 h 1153348"/>
              <a:gd name="connsiteX1136" fmla="*/ 6714773 w 6837827"/>
              <a:gd name="connsiteY1136" fmla="*/ 311269 h 1153348"/>
              <a:gd name="connsiteX1137" fmla="*/ 6717713 w 6837827"/>
              <a:gd name="connsiteY1137" fmla="*/ 333948 h 1153348"/>
              <a:gd name="connsiteX1138" fmla="*/ 6715193 w 6837827"/>
              <a:gd name="connsiteY1138" fmla="*/ 352428 h 1153348"/>
              <a:gd name="connsiteX1139" fmla="*/ 6704694 w 6837827"/>
              <a:gd name="connsiteY1139" fmla="*/ 362927 h 1153348"/>
              <a:gd name="connsiteX1140" fmla="*/ 6695034 w 6837827"/>
              <a:gd name="connsiteY1140" fmla="*/ 362927 h 1153348"/>
              <a:gd name="connsiteX1141" fmla="*/ 6686634 w 6837827"/>
              <a:gd name="connsiteY1141" fmla="*/ 357467 h 1153348"/>
              <a:gd name="connsiteX1142" fmla="*/ 6679074 w 6837827"/>
              <a:gd name="connsiteY1142" fmla="*/ 349488 h 1153348"/>
              <a:gd name="connsiteX1143" fmla="*/ 6672775 w 6837827"/>
              <a:gd name="connsiteY1143" fmla="*/ 342348 h 1153348"/>
              <a:gd name="connsiteX1144" fmla="*/ 6654716 w 6837827"/>
              <a:gd name="connsiteY1144" fmla="*/ 332688 h 1153348"/>
              <a:gd name="connsiteX1145" fmla="*/ 6638756 w 6837827"/>
              <a:gd name="connsiteY1145" fmla="*/ 339408 h 1153348"/>
              <a:gd name="connsiteX1146" fmla="*/ 6627837 w 6837827"/>
              <a:gd name="connsiteY1146" fmla="*/ 356627 h 1153348"/>
              <a:gd name="connsiteX1147" fmla="*/ 6624897 w 6837827"/>
              <a:gd name="connsiteY1147" fmla="*/ 377626 h 1153348"/>
              <a:gd name="connsiteX1148" fmla="*/ 6631197 w 6837827"/>
              <a:gd name="connsiteY1148" fmla="*/ 401145 h 1153348"/>
              <a:gd name="connsiteX1149" fmla="*/ 6644636 w 6837827"/>
              <a:gd name="connsiteY1149" fmla="*/ 423404 h 1153348"/>
              <a:gd name="connsiteX1150" fmla="*/ 6664375 w 6837827"/>
              <a:gd name="connsiteY1150" fmla="*/ 439784 h 1153348"/>
              <a:gd name="connsiteX1151" fmla="*/ 6689154 w 6837827"/>
              <a:gd name="connsiteY1151" fmla="*/ 445663 h 1153348"/>
              <a:gd name="connsiteX1152" fmla="*/ 6744592 w 6837827"/>
              <a:gd name="connsiteY1152" fmla="*/ 429284 h 1153348"/>
              <a:gd name="connsiteX1153" fmla="*/ 6776510 w 6837827"/>
              <a:gd name="connsiteY1153" fmla="*/ 391906 h 1153348"/>
              <a:gd name="connsiteX1154" fmla="*/ 6788270 w 6837827"/>
              <a:gd name="connsiteY1154" fmla="*/ 344028 h 1153348"/>
              <a:gd name="connsiteX1155" fmla="*/ 6783230 w 6837827"/>
              <a:gd name="connsiteY1155" fmla="*/ 295310 h 1153348"/>
              <a:gd name="connsiteX1156" fmla="*/ 6770631 w 6837827"/>
              <a:gd name="connsiteY1156" fmla="*/ 260031 h 1153348"/>
              <a:gd name="connsiteX1157" fmla="*/ 6754671 w 6837827"/>
              <a:gd name="connsiteY1157" fmla="*/ 224333 h 1153348"/>
              <a:gd name="connsiteX1158" fmla="*/ 6740812 w 6837827"/>
              <a:gd name="connsiteY1158" fmla="*/ 188214 h 1153348"/>
              <a:gd name="connsiteX1159" fmla="*/ 6734092 w 6837827"/>
              <a:gd name="connsiteY1159" fmla="*/ 152096 h 1153348"/>
              <a:gd name="connsiteX1160" fmla="*/ 6737872 w 6837827"/>
              <a:gd name="connsiteY1160" fmla="*/ 113878 h 1153348"/>
              <a:gd name="connsiteX1161" fmla="*/ 6752571 w 6837827"/>
              <a:gd name="connsiteY1161" fmla="*/ 95818 h 1153348"/>
              <a:gd name="connsiteX1162" fmla="*/ 6777770 w 6837827"/>
              <a:gd name="connsiteY1162" fmla="*/ 86999 h 1153348"/>
              <a:gd name="connsiteX1163" fmla="*/ 6813049 w 6837827"/>
              <a:gd name="connsiteY1163" fmla="*/ 76499 h 1153348"/>
              <a:gd name="connsiteX1164" fmla="*/ 6828588 w 6837827"/>
              <a:gd name="connsiteY1164" fmla="*/ 68520 h 1153348"/>
              <a:gd name="connsiteX1165" fmla="*/ 6837828 w 6837827"/>
              <a:gd name="connsiteY1165" fmla="*/ 53400 h 1153348"/>
              <a:gd name="connsiteX1166" fmla="*/ 6832788 w 6837827"/>
              <a:gd name="connsiteY1166" fmla="*/ 36181 h 1153348"/>
              <a:gd name="connsiteX1167" fmla="*/ 6824808 w 6837827"/>
              <a:gd name="connsiteY1167" fmla="*/ 23162 h 1153348"/>
              <a:gd name="connsiteX1168" fmla="*/ 6811369 w 6837827"/>
              <a:gd name="connsiteY1168" fmla="*/ 15602 h 1153348"/>
              <a:gd name="connsiteX1169" fmla="*/ 6790790 w 6837827"/>
              <a:gd name="connsiteY1169" fmla="*/ 14342 h 1153348"/>
              <a:gd name="connsiteX1170" fmla="*/ 6767271 w 6837827"/>
              <a:gd name="connsiteY1170" fmla="*/ 18122 h 1153348"/>
              <a:gd name="connsiteX1171" fmla="*/ 6742492 w 6837827"/>
              <a:gd name="connsiteY1171" fmla="*/ 24421 h 1153348"/>
              <a:gd name="connsiteX1172" fmla="*/ 6718973 w 6837827"/>
              <a:gd name="connsiteY1172" fmla="*/ 34081 h 1153348"/>
              <a:gd name="connsiteX1173" fmla="*/ 6700073 w 6837827"/>
              <a:gd name="connsiteY1173" fmla="*/ 47941 h 1153348"/>
              <a:gd name="connsiteX1174" fmla="*/ 6664795 w 6837827"/>
              <a:gd name="connsiteY1174" fmla="*/ 97498 h 115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</a:cxnLst>
            <a:rect l="l" t="t" r="r" b="b"/>
            <a:pathLst>
              <a:path w="6837827" h="1153348">
                <a:moveTo>
                  <a:pt x="432263" y="777449"/>
                </a:moveTo>
                <a:cubicBezTo>
                  <a:pt x="425963" y="774089"/>
                  <a:pt x="419243" y="772409"/>
                  <a:pt x="411264" y="771569"/>
                </a:cubicBezTo>
                <a:cubicBezTo>
                  <a:pt x="403284" y="770729"/>
                  <a:pt x="394884" y="770729"/>
                  <a:pt x="386065" y="771569"/>
                </a:cubicBezTo>
                <a:cubicBezTo>
                  <a:pt x="377245" y="772409"/>
                  <a:pt x="368426" y="773669"/>
                  <a:pt x="360026" y="774929"/>
                </a:cubicBezTo>
                <a:cubicBezTo>
                  <a:pt x="351626" y="776189"/>
                  <a:pt x="343647" y="777869"/>
                  <a:pt x="336507" y="779129"/>
                </a:cubicBezTo>
                <a:cubicBezTo>
                  <a:pt x="329367" y="780809"/>
                  <a:pt x="323068" y="781649"/>
                  <a:pt x="318028" y="782069"/>
                </a:cubicBezTo>
                <a:cubicBezTo>
                  <a:pt x="317608" y="776609"/>
                  <a:pt x="318868" y="769470"/>
                  <a:pt x="320548" y="761070"/>
                </a:cubicBezTo>
                <a:cubicBezTo>
                  <a:pt x="322648" y="753090"/>
                  <a:pt x="325167" y="744271"/>
                  <a:pt x="327687" y="734611"/>
                </a:cubicBezTo>
                <a:cubicBezTo>
                  <a:pt x="330207" y="725371"/>
                  <a:pt x="333147" y="715712"/>
                  <a:pt x="335667" y="706472"/>
                </a:cubicBezTo>
                <a:cubicBezTo>
                  <a:pt x="338187" y="697233"/>
                  <a:pt x="340287" y="687993"/>
                  <a:pt x="341127" y="679593"/>
                </a:cubicBezTo>
                <a:cubicBezTo>
                  <a:pt x="342387" y="671194"/>
                  <a:pt x="342387" y="663214"/>
                  <a:pt x="341547" y="656494"/>
                </a:cubicBezTo>
                <a:cubicBezTo>
                  <a:pt x="340707" y="649775"/>
                  <a:pt x="338187" y="644315"/>
                  <a:pt x="333987" y="640955"/>
                </a:cubicBezTo>
                <a:cubicBezTo>
                  <a:pt x="328527" y="636335"/>
                  <a:pt x="321388" y="633815"/>
                  <a:pt x="312988" y="632555"/>
                </a:cubicBezTo>
                <a:cubicBezTo>
                  <a:pt x="304588" y="631295"/>
                  <a:pt x="297029" y="631716"/>
                  <a:pt x="290729" y="633395"/>
                </a:cubicBezTo>
                <a:cubicBezTo>
                  <a:pt x="285269" y="635075"/>
                  <a:pt x="281489" y="638435"/>
                  <a:pt x="278549" y="643055"/>
                </a:cubicBezTo>
                <a:cubicBezTo>
                  <a:pt x="275610" y="647675"/>
                  <a:pt x="273930" y="653135"/>
                  <a:pt x="272250" y="659014"/>
                </a:cubicBezTo>
                <a:cubicBezTo>
                  <a:pt x="270990" y="664894"/>
                  <a:pt x="269730" y="670774"/>
                  <a:pt x="268890" y="676653"/>
                </a:cubicBezTo>
                <a:cubicBezTo>
                  <a:pt x="268050" y="682533"/>
                  <a:pt x="267210" y="687573"/>
                  <a:pt x="265950" y="691773"/>
                </a:cubicBezTo>
                <a:cubicBezTo>
                  <a:pt x="259650" y="711092"/>
                  <a:pt x="254610" y="728731"/>
                  <a:pt x="251251" y="745531"/>
                </a:cubicBezTo>
                <a:cubicBezTo>
                  <a:pt x="247891" y="762330"/>
                  <a:pt x="245371" y="780389"/>
                  <a:pt x="244111" y="800128"/>
                </a:cubicBezTo>
                <a:cubicBezTo>
                  <a:pt x="230251" y="802228"/>
                  <a:pt x="217232" y="805168"/>
                  <a:pt x="205053" y="808948"/>
                </a:cubicBezTo>
                <a:cubicBezTo>
                  <a:pt x="192453" y="812728"/>
                  <a:pt x="179434" y="815668"/>
                  <a:pt x="165994" y="818187"/>
                </a:cubicBezTo>
                <a:cubicBezTo>
                  <a:pt x="165154" y="806848"/>
                  <a:pt x="165994" y="796348"/>
                  <a:pt x="168514" y="786269"/>
                </a:cubicBezTo>
                <a:cubicBezTo>
                  <a:pt x="171034" y="776189"/>
                  <a:pt x="173554" y="766110"/>
                  <a:pt x="176494" y="756030"/>
                </a:cubicBezTo>
                <a:cubicBezTo>
                  <a:pt x="179434" y="745950"/>
                  <a:pt x="181954" y="735871"/>
                  <a:pt x="184053" y="725371"/>
                </a:cubicBezTo>
                <a:cubicBezTo>
                  <a:pt x="186153" y="714872"/>
                  <a:pt x="186573" y="703532"/>
                  <a:pt x="185313" y="691773"/>
                </a:cubicBezTo>
                <a:cubicBezTo>
                  <a:pt x="184473" y="685473"/>
                  <a:pt x="182374" y="679593"/>
                  <a:pt x="179014" y="675394"/>
                </a:cubicBezTo>
                <a:cubicBezTo>
                  <a:pt x="175234" y="670774"/>
                  <a:pt x="171454" y="667834"/>
                  <a:pt x="166414" y="666154"/>
                </a:cubicBezTo>
                <a:cubicBezTo>
                  <a:pt x="161794" y="664474"/>
                  <a:pt x="156755" y="664054"/>
                  <a:pt x="151295" y="664894"/>
                </a:cubicBezTo>
                <a:cubicBezTo>
                  <a:pt x="146255" y="666154"/>
                  <a:pt x="141215" y="669094"/>
                  <a:pt x="137016" y="674134"/>
                </a:cubicBezTo>
                <a:cubicBezTo>
                  <a:pt x="133236" y="678753"/>
                  <a:pt x="130716" y="684213"/>
                  <a:pt x="129036" y="690933"/>
                </a:cubicBezTo>
                <a:cubicBezTo>
                  <a:pt x="127776" y="697652"/>
                  <a:pt x="125676" y="703532"/>
                  <a:pt x="123156" y="708992"/>
                </a:cubicBezTo>
                <a:cubicBezTo>
                  <a:pt x="118116" y="717812"/>
                  <a:pt x="114336" y="727891"/>
                  <a:pt x="112237" y="738391"/>
                </a:cubicBezTo>
                <a:cubicBezTo>
                  <a:pt x="110137" y="749310"/>
                  <a:pt x="108457" y="760230"/>
                  <a:pt x="107197" y="770729"/>
                </a:cubicBezTo>
                <a:cubicBezTo>
                  <a:pt x="105937" y="781649"/>
                  <a:pt x="104677" y="792569"/>
                  <a:pt x="103417" y="803068"/>
                </a:cubicBezTo>
                <a:cubicBezTo>
                  <a:pt x="102157" y="813988"/>
                  <a:pt x="99217" y="823647"/>
                  <a:pt x="95437" y="832467"/>
                </a:cubicBezTo>
                <a:cubicBezTo>
                  <a:pt x="88718" y="833307"/>
                  <a:pt x="81998" y="834567"/>
                  <a:pt x="74858" y="835407"/>
                </a:cubicBezTo>
                <a:cubicBezTo>
                  <a:pt x="68138" y="836247"/>
                  <a:pt x="60999" y="837507"/>
                  <a:pt x="53859" y="838767"/>
                </a:cubicBezTo>
                <a:cubicBezTo>
                  <a:pt x="44619" y="840026"/>
                  <a:pt x="37060" y="842546"/>
                  <a:pt x="32020" y="845906"/>
                </a:cubicBezTo>
                <a:cubicBezTo>
                  <a:pt x="26560" y="849266"/>
                  <a:pt x="23200" y="853466"/>
                  <a:pt x="21100" y="858506"/>
                </a:cubicBezTo>
                <a:cubicBezTo>
                  <a:pt x="19421" y="863545"/>
                  <a:pt x="19001" y="868585"/>
                  <a:pt x="19841" y="874465"/>
                </a:cubicBezTo>
                <a:cubicBezTo>
                  <a:pt x="21100" y="879925"/>
                  <a:pt x="23200" y="885805"/>
                  <a:pt x="26980" y="891684"/>
                </a:cubicBezTo>
                <a:cubicBezTo>
                  <a:pt x="29500" y="896724"/>
                  <a:pt x="33280" y="900084"/>
                  <a:pt x="38320" y="901764"/>
                </a:cubicBezTo>
                <a:cubicBezTo>
                  <a:pt x="43360" y="903864"/>
                  <a:pt x="48399" y="905124"/>
                  <a:pt x="54279" y="905544"/>
                </a:cubicBezTo>
                <a:cubicBezTo>
                  <a:pt x="59739" y="905964"/>
                  <a:pt x="65619" y="905964"/>
                  <a:pt x="71078" y="905544"/>
                </a:cubicBezTo>
                <a:cubicBezTo>
                  <a:pt x="76538" y="905124"/>
                  <a:pt x="81578" y="904284"/>
                  <a:pt x="85358" y="903864"/>
                </a:cubicBezTo>
                <a:cubicBezTo>
                  <a:pt x="81998" y="918983"/>
                  <a:pt x="79058" y="933263"/>
                  <a:pt x="76538" y="947542"/>
                </a:cubicBezTo>
                <a:cubicBezTo>
                  <a:pt x="74018" y="961821"/>
                  <a:pt x="71498" y="976101"/>
                  <a:pt x="69398" y="989960"/>
                </a:cubicBezTo>
                <a:cubicBezTo>
                  <a:pt x="62259" y="992060"/>
                  <a:pt x="55539" y="994160"/>
                  <a:pt x="49659" y="995420"/>
                </a:cubicBezTo>
                <a:cubicBezTo>
                  <a:pt x="43360" y="997100"/>
                  <a:pt x="36640" y="998780"/>
                  <a:pt x="29920" y="1000880"/>
                </a:cubicBezTo>
                <a:cubicBezTo>
                  <a:pt x="24880" y="1002560"/>
                  <a:pt x="20261" y="1004659"/>
                  <a:pt x="16061" y="1007179"/>
                </a:cubicBezTo>
                <a:cubicBezTo>
                  <a:pt x="11861" y="1009699"/>
                  <a:pt x="8081" y="1012639"/>
                  <a:pt x="5141" y="1016419"/>
                </a:cubicBezTo>
                <a:cubicBezTo>
                  <a:pt x="2201" y="1020199"/>
                  <a:pt x="521" y="1023979"/>
                  <a:pt x="101" y="1028598"/>
                </a:cubicBezTo>
                <a:cubicBezTo>
                  <a:pt x="-319" y="1033218"/>
                  <a:pt x="521" y="1038258"/>
                  <a:pt x="3461" y="1043718"/>
                </a:cubicBezTo>
                <a:cubicBezTo>
                  <a:pt x="9761" y="1055057"/>
                  <a:pt x="17741" y="1062197"/>
                  <a:pt x="27820" y="1064717"/>
                </a:cubicBezTo>
                <a:cubicBezTo>
                  <a:pt x="37900" y="1067237"/>
                  <a:pt x="48819" y="1068077"/>
                  <a:pt x="60999" y="1066397"/>
                </a:cubicBezTo>
                <a:cubicBezTo>
                  <a:pt x="59319" y="1076056"/>
                  <a:pt x="57639" y="1086976"/>
                  <a:pt x="56379" y="1099155"/>
                </a:cubicBezTo>
                <a:cubicBezTo>
                  <a:pt x="55119" y="1111335"/>
                  <a:pt x="55959" y="1121834"/>
                  <a:pt x="58479" y="1131074"/>
                </a:cubicBezTo>
                <a:cubicBezTo>
                  <a:pt x="63939" y="1141574"/>
                  <a:pt x="71078" y="1148293"/>
                  <a:pt x="79898" y="1151653"/>
                </a:cubicBezTo>
                <a:cubicBezTo>
                  <a:pt x="88718" y="1155013"/>
                  <a:pt x="97957" y="1153333"/>
                  <a:pt x="107617" y="1147033"/>
                </a:cubicBezTo>
                <a:cubicBezTo>
                  <a:pt x="113497" y="1143253"/>
                  <a:pt x="117696" y="1137374"/>
                  <a:pt x="119796" y="1130234"/>
                </a:cubicBezTo>
                <a:cubicBezTo>
                  <a:pt x="122316" y="1122675"/>
                  <a:pt x="123996" y="1115115"/>
                  <a:pt x="124836" y="1106715"/>
                </a:cubicBezTo>
                <a:cubicBezTo>
                  <a:pt x="125676" y="1098315"/>
                  <a:pt x="126096" y="1089916"/>
                  <a:pt x="126096" y="1081516"/>
                </a:cubicBezTo>
                <a:cubicBezTo>
                  <a:pt x="126096" y="1073116"/>
                  <a:pt x="126096" y="1065977"/>
                  <a:pt x="126096" y="1060097"/>
                </a:cubicBezTo>
                <a:cubicBezTo>
                  <a:pt x="139535" y="1056737"/>
                  <a:pt x="152975" y="1053377"/>
                  <a:pt x="166414" y="1049598"/>
                </a:cubicBezTo>
                <a:cubicBezTo>
                  <a:pt x="179854" y="1045818"/>
                  <a:pt x="193293" y="1042878"/>
                  <a:pt x="207152" y="1041198"/>
                </a:cubicBezTo>
                <a:cubicBezTo>
                  <a:pt x="205893" y="1045818"/>
                  <a:pt x="205473" y="1051277"/>
                  <a:pt x="205473" y="1057157"/>
                </a:cubicBezTo>
                <a:cubicBezTo>
                  <a:pt x="205473" y="1063457"/>
                  <a:pt x="205893" y="1069757"/>
                  <a:pt x="206733" y="1076056"/>
                </a:cubicBezTo>
                <a:cubicBezTo>
                  <a:pt x="207572" y="1082356"/>
                  <a:pt x="208412" y="1089076"/>
                  <a:pt x="209672" y="1095375"/>
                </a:cubicBezTo>
                <a:cubicBezTo>
                  <a:pt x="210512" y="1101675"/>
                  <a:pt x="211352" y="1107135"/>
                  <a:pt x="212612" y="1111755"/>
                </a:cubicBezTo>
                <a:cubicBezTo>
                  <a:pt x="213872" y="1122254"/>
                  <a:pt x="218072" y="1129394"/>
                  <a:pt x="224792" y="1132754"/>
                </a:cubicBezTo>
                <a:cubicBezTo>
                  <a:pt x="231511" y="1136534"/>
                  <a:pt x="238651" y="1137794"/>
                  <a:pt x="246211" y="1136954"/>
                </a:cubicBezTo>
                <a:cubicBezTo>
                  <a:pt x="253771" y="1136114"/>
                  <a:pt x="261330" y="1133594"/>
                  <a:pt x="268050" y="1129814"/>
                </a:cubicBezTo>
                <a:cubicBezTo>
                  <a:pt x="274770" y="1125614"/>
                  <a:pt x="279389" y="1121414"/>
                  <a:pt x="281489" y="1116375"/>
                </a:cubicBezTo>
                <a:cubicBezTo>
                  <a:pt x="284009" y="1109655"/>
                  <a:pt x="284849" y="1102095"/>
                  <a:pt x="284429" y="1094116"/>
                </a:cubicBezTo>
                <a:cubicBezTo>
                  <a:pt x="283589" y="1086136"/>
                  <a:pt x="282749" y="1078156"/>
                  <a:pt x="281069" y="1069757"/>
                </a:cubicBezTo>
                <a:cubicBezTo>
                  <a:pt x="279389" y="1061357"/>
                  <a:pt x="278129" y="1052957"/>
                  <a:pt x="276450" y="1045398"/>
                </a:cubicBezTo>
                <a:cubicBezTo>
                  <a:pt x="275190" y="1037418"/>
                  <a:pt x="274770" y="1030278"/>
                  <a:pt x="274770" y="1023979"/>
                </a:cubicBezTo>
                <a:cubicBezTo>
                  <a:pt x="281069" y="1020199"/>
                  <a:pt x="288209" y="1017679"/>
                  <a:pt x="297029" y="1015999"/>
                </a:cubicBezTo>
                <a:cubicBezTo>
                  <a:pt x="305848" y="1013899"/>
                  <a:pt x="314248" y="1012219"/>
                  <a:pt x="323068" y="1010539"/>
                </a:cubicBezTo>
                <a:cubicBezTo>
                  <a:pt x="331887" y="1008859"/>
                  <a:pt x="340287" y="1006759"/>
                  <a:pt x="348266" y="1004659"/>
                </a:cubicBezTo>
                <a:cubicBezTo>
                  <a:pt x="356246" y="1002560"/>
                  <a:pt x="362546" y="999200"/>
                  <a:pt x="367586" y="994580"/>
                </a:cubicBezTo>
                <a:cubicBezTo>
                  <a:pt x="370526" y="992060"/>
                  <a:pt x="373045" y="988700"/>
                  <a:pt x="375145" y="984080"/>
                </a:cubicBezTo>
                <a:cubicBezTo>
                  <a:pt x="376825" y="979461"/>
                  <a:pt x="378085" y="974841"/>
                  <a:pt x="378085" y="969801"/>
                </a:cubicBezTo>
                <a:cubicBezTo>
                  <a:pt x="378085" y="964761"/>
                  <a:pt x="377665" y="960141"/>
                  <a:pt x="376405" y="955522"/>
                </a:cubicBezTo>
                <a:cubicBezTo>
                  <a:pt x="375145" y="950902"/>
                  <a:pt x="372625" y="947122"/>
                  <a:pt x="369266" y="944182"/>
                </a:cubicBezTo>
                <a:cubicBezTo>
                  <a:pt x="364646" y="939982"/>
                  <a:pt x="358346" y="937042"/>
                  <a:pt x="350786" y="935362"/>
                </a:cubicBezTo>
                <a:cubicBezTo>
                  <a:pt x="343227" y="933682"/>
                  <a:pt x="335667" y="932842"/>
                  <a:pt x="327687" y="932842"/>
                </a:cubicBezTo>
                <a:cubicBezTo>
                  <a:pt x="319708" y="932842"/>
                  <a:pt x="311728" y="933263"/>
                  <a:pt x="304168" y="934522"/>
                </a:cubicBezTo>
                <a:cubicBezTo>
                  <a:pt x="296609" y="935782"/>
                  <a:pt x="290309" y="936622"/>
                  <a:pt x="285269" y="937462"/>
                </a:cubicBezTo>
                <a:cubicBezTo>
                  <a:pt x="286109" y="921503"/>
                  <a:pt x="287789" y="907224"/>
                  <a:pt x="290309" y="895464"/>
                </a:cubicBezTo>
                <a:cubicBezTo>
                  <a:pt x="292829" y="883705"/>
                  <a:pt x="295349" y="871945"/>
                  <a:pt x="298289" y="860186"/>
                </a:cubicBezTo>
                <a:cubicBezTo>
                  <a:pt x="318448" y="855146"/>
                  <a:pt x="338187" y="850526"/>
                  <a:pt x="357506" y="845906"/>
                </a:cubicBezTo>
                <a:cubicBezTo>
                  <a:pt x="376825" y="841286"/>
                  <a:pt x="396984" y="837927"/>
                  <a:pt x="417143" y="835827"/>
                </a:cubicBezTo>
                <a:cubicBezTo>
                  <a:pt x="421763" y="835407"/>
                  <a:pt x="426383" y="833307"/>
                  <a:pt x="430583" y="829947"/>
                </a:cubicBezTo>
                <a:cubicBezTo>
                  <a:pt x="434783" y="826587"/>
                  <a:pt x="438143" y="822807"/>
                  <a:pt x="441082" y="818187"/>
                </a:cubicBezTo>
                <a:cubicBezTo>
                  <a:pt x="444022" y="813568"/>
                  <a:pt x="445702" y="808948"/>
                  <a:pt x="446962" y="804328"/>
                </a:cubicBezTo>
                <a:cubicBezTo>
                  <a:pt x="448222" y="799288"/>
                  <a:pt x="447802" y="795088"/>
                  <a:pt x="445702" y="791309"/>
                </a:cubicBezTo>
                <a:cubicBezTo>
                  <a:pt x="443182" y="785849"/>
                  <a:pt x="438563" y="780809"/>
                  <a:pt x="432263" y="777449"/>
                </a:cubicBezTo>
                <a:moveTo>
                  <a:pt x="142055" y="963081"/>
                </a:moveTo>
                <a:cubicBezTo>
                  <a:pt x="143735" y="951322"/>
                  <a:pt x="145415" y="939142"/>
                  <a:pt x="146675" y="926963"/>
                </a:cubicBezTo>
                <a:cubicBezTo>
                  <a:pt x="147935" y="914783"/>
                  <a:pt x="149615" y="903444"/>
                  <a:pt x="151295" y="893364"/>
                </a:cubicBezTo>
                <a:cubicBezTo>
                  <a:pt x="164314" y="891684"/>
                  <a:pt x="176914" y="889584"/>
                  <a:pt x="189093" y="887905"/>
                </a:cubicBezTo>
                <a:cubicBezTo>
                  <a:pt x="201273" y="885805"/>
                  <a:pt x="213872" y="882865"/>
                  <a:pt x="226052" y="879505"/>
                </a:cubicBezTo>
                <a:cubicBezTo>
                  <a:pt x="223112" y="887905"/>
                  <a:pt x="220592" y="894624"/>
                  <a:pt x="218912" y="900504"/>
                </a:cubicBezTo>
                <a:cubicBezTo>
                  <a:pt x="217232" y="905964"/>
                  <a:pt x="215972" y="911423"/>
                  <a:pt x="215552" y="916043"/>
                </a:cubicBezTo>
                <a:cubicBezTo>
                  <a:pt x="214712" y="920663"/>
                  <a:pt x="214292" y="925703"/>
                  <a:pt x="213872" y="931163"/>
                </a:cubicBezTo>
                <a:cubicBezTo>
                  <a:pt x="213452" y="936202"/>
                  <a:pt x="213032" y="942502"/>
                  <a:pt x="212192" y="949222"/>
                </a:cubicBezTo>
                <a:cubicBezTo>
                  <a:pt x="199173" y="952162"/>
                  <a:pt x="187413" y="955102"/>
                  <a:pt x="175654" y="957202"/>
                </a:cubicBezTo>
                <a:cubicBezTo>
                  <a:pt x="164314" y="959721"/>
                  <a:pt x="152975" y="962241"/>
                  <a:pt x="141635" y="965181"/>
                </a:cubicBezTo>
                <a:cubicBezTo>
                  <a:pt x="142055" y="964761"/>
                  <a:pt x="142055" y="963921"/>
                  <a:pt x="142055" y="963081"/>
                </a:cubicBezTo>
                <a:moveTo>
                  <a:pt x="674172" y="656914"/>
                </a:moveTo>
                <a:cubicBezTo>
                  <a:pt x="673332" y="648515"/>
                  <a:pt x="671233" y="640955"/>
                  <a:pt x="667873" y="634235"/>
                </a:cubicBezTo>
                <a:cubicBezTo>
                  <a:pt x="664513" y="627516"/>
                  <a:pt x="659473" y="621636"/>
                  <a:pt x="653173" y="617016"/>
                </a:cubicBezTo>
                <a:cubicBezTo>
                  <a:pt x="646874" y="612396"/>
                  <a:pt x="639314" y="610716"/>
                  <a:pt x="630914" y="612396"/>
                </a:cubicBezTo>
                <a:cubicBezTo>
                  <a:pt x="619155" y="612816"/>
                  <a:pt x="609915" y="617856"/>
                  <a:pt x="604455" y="626676"/>
                </a:cubicBezTo>
                <a:cubicBezTo>
                  <a:pt x="598576" y="635495"/>
                  <a:pt x="594376" y="646415"/>
                  <a:pt x="591856" y="658594"/>
                </a:cubicBezTo>
                <a:cubicBezTo>
                  <a:pt x="589336" y="670774"/>
                  <a:pt x="587656" y="683373"/>
                  <a:pt x="586396" y="696813"/>
                </a:cubicBezTo>
                <a:cubicBezTo>
                  <a:pt x="585556" y="710252"/>
                  <a:pt x="583456" y="721172"/>
                  <a:pt x="580936" y="730831"/>
                </a:cubicBezTo>
                <a:cubicBezTo>
                  <a:pt x="577157" y="743431"/>
                  <a:pt x="574637" y="758130"/>
                  <a:pt x="572537" y="774509"/>
                </a:cubicBezTo>
                <a:cubicBezTo>
                  <a:pt x="570857" y="790889"/>
                  <a:pt x="569177" y="807688"/>
                  <a:pt x="567077" y="824907"/>
                </a:cubicBezTo>
                <a:cubicBezTo>
                  <a:pt x="565397" y="842126"/>
                  <a:pt x="562877" y="858506"/>
                  <a:pt x="559937" y="874465"/>
                </a:cubicBezTo>
                <a:cubicBezTo>
                  <a:pt x="556997" y="890424"/>
                  <a:pt x="552378" y="904284"/>
                  <a:pt x="546498" y="915623"/>
                </a:cubicBezTo>
                <a:cubicBezTo>
                  <a:pt x="544818" y="918143"/>
                  <a:pt x="543558" y="923183"/>
                  <a:pt x="542298" y="929903"/>
                </a:cubicBezTo>
                <a:cubicBezTo>
                  <a:pt x="541038" y="936622"/>
                  <a:pt x="539778" y="944602"/>
                  <a:pt x="538098" y="953422"/>
                </a:cubicBezTo>
                <a:cubicBezTo>
                  <a:pt x="536838" y="962241"/>
                  <a:pt x="535578" y="971481"/>
                  <a:pt x="534318" y="980720"/>
                </a:cubicBezTo>
                <a:cubicBezTo>
                  <a:pt x="533478" y="990380"/>
                  <a:pt x="532219" y="999200"/>
                  <a:pt x="531379" y="1007179"/>
                </a:cubicBezTo>
                <a:cubicBezTo>
                  <a:pt x="530539" y="1015159"/>
                  <a:pt x="529699" y="1022299"/>
                  <a:pt x="529279" y="1028178"/>
                </a:cubicBezTo>
                <a:cubicBezTo>
                  <a:pt x="528859" y="1034058"/>
                  <a:pt x="528439" y="1037838"/>
                  <a:pt x="528439" y="1039098"/>
                </a:cubicBezTo>
                <a:cubicBezTo>
                  <a:pt x="528019" y="1045818"/>
                  <a:pt x="528859" y="1054217"/>
                  <a:pt x="530959" y="1064297"/>
                </a:cubicBezTo>
                <a:cubicBezTo>
                  <a:pt x="533059" y="1074376"/>
                  <a:pt x="535998" y="1084456"/>
                  <a:pt x="540198" y="1094116"/>
                </a:cubicBezTo>
                <a:cubicBezTo>
                  <a:pt x="544398" y="1103775"/>
                  <a:pt x="549858" y="1111755"/>
                  <a:pt x="556577" y="1118054"/>
                </a:cubicBezTo>
                <a:cubicBezTo>
                  <a:pt x="562877" y="1124354"/>
                  <a:pt x="570437" y="1127294"/>
                  <a:pt x="578837" y="1126454"/>
                </a:cubicBezTo>
                <a:cubicBezTo>
                  <a:pt x="587656" y="1125614"/>
                  <a:pt x="594796" y="1122254"/>
                  <a:pt x="600256" y="1116375"/>
                </a:cubicBezTo>
                <a:cubicBezTo>
                  <a:pt x="605295" y="1110495"/>
                  <a:pt x="609495" y="1103775"/>
                  <a:pt x="612015" y="1094956"/>
                </a:cubicBezTo>
                <a:cubicBezTo>
                  <a:pt x="614535" y="1086556"/>
                  <a:pt x="616215" y="1077316"/>
                  <a:pt x="616635" y="1066817"/>
                </a:cubicBezTo>
                <a:cubicBezTo>
                  <a:pt x="617055" y="1056737"/>
                  <a:pt x="617475" y="1046658"/>
                  <a:pt x="617895" y="1036578"/>
                </a:cubicBezTo>
                <a:cubicBezTo>
                  <a:pt x="617895" y="1026918"/>
                  <a:pt x="618315" y="1017259"/>
                  <a:pt x="618315" y="1008859"/>
                </a:cubicBezTo>
                <a:cubicBezTo>
                  <a:pt x="618315" y="1000039"/>
                  <a:pt x="619155" y="992900"/>
                  <a:pt x="620835" y="987440"/>
                </a:cubicBezTo>
                <a:cubicBezTo>
                  <a:pt x="625455" y="969381"/>
                  <a:pt x="628814" y="950902"/>
                  <a:pt x="630494" y="932423"/>
                </a:cubicBezTo>
                <a:cubicBezTo>
                  <a:pt x="632174" y="913523"/>
                  <a:pt x="635114" y="894624"/>
                  <a:pt x="639734" y="875725"/>
                </a:cubicBezTo>
                <a:cubicBezTo>
                  <a:pt x="642254" y="866905"/>
                  <a:pt x="643934" y="856826"/>
                  <a:pt x="646034" y="845906"/>
                </a:cubicBezTo>
                <a:cubicBezTo>
                  <a:pt x="647714" y="834987"/>
                  <a:pt x="649814" y="824067"/>
                  <a:pt x="652753" y="813148"/>
                </a:cubicBezTo>
                <a:cubicBezTo>
                  <a:pt x="655273" y="802228"/>
                  <a:pt x="659053" y="792148"/>
                  <a:pt x="663253" y="782489"/>
                </a:cubicBezTo>
                <a:cubicBezTo>
                  <a:pt x="667453" y="772829"/>
                  <a:pt x="672913" y="765270"/>
                  <a:pt x="679632" y="759390"/>
                </a:cubicBezTo>
                <a:cubicBezTo>
                  <a:pt x="683832" y="756030"/>
                  <a:pt x="689292" y="751410"/>
                  <a:pt x="696012" y="745111"/>
                </a:cubicBezTo>
                <a:cubicBezTo>
                  <a:pt x="703151" y="738811"/>
                  <a:pt x="710711" y="732931"/>
                  <a:pt x="718271" y="727051"/>
                </a:cubicBezTo>
                <a:cubicBezTo>
                  <a:pt x="726250" y="721172"/>
                  <a:pt x="734230" y="716552"/>
                  <a:pt x="742210" y="712352"/>
                </a:cubicBezTo>
                <a:cubicBezTo>
                  <a:pt x="750189" y="708572"/>
                  <a:pt x="756909" y="706892"/>
                  <a:pt x="762369" y="708152"/>
                </a:cubicBezTo>
                <a:cubicBezTo>
                  <a:pt x="768248" y="709412"/>
                  <a:pt x="771188" y="712772"/>
                  <a:pt x="771608" y="718232"/>
                </a:cubicBezTo>
                <a:cubicBezTo>
                  <a:pt x="772028" y="723691"/>
                  <a:pt x="770348" y="730411"/>
                  <a:pt x="766988" y="737551"/>
                </a:cubicBezTo>
                <a:cubicBezTo>
                  <a:pt x="763629" y="745111"/>
                  <a:pt x="759009" y="753090"/>
                  <a:pt x="753129" y="761490"/>
                </a:cubicBezTo>
                <a:cubicBezTo>
                  <a:pt x="747669" y="769889"/>
                  <a:pt x="741790" y="777869"/>
                  <a:pt x="735910" y="785429"/>
                </a:cubicBezTo>
                <a:cubicBezTo>
                  <a:pt x="730030" y="792988"/>
                  <a:pt x="724990" y="799708"/>
                  <a:pt x="720370" y="805168"/>
                </a:cubicBezTo>
                <a:cubicBezTo>
                  <a:pt x="715751" y="810628"/>
                  <a:pt x="712391" y="813988"/>
                  <a:pt x="710711" y="815247"/>
                </a:cubicBezTo>
                <a:cubicBezTo>
                  <a:pt x="703571" y="821547"/>
                  <a:pt x="696851" y="828267"/>
                  <a:pt x="690552" y="834987"/>
                </a:cubicBezTo>
                <a:cubicBezTo>
                  <a:pt x="683832" y="842126"/>
                  <a:pt x="679212" y="849686"/>
                  <a:pt x="675852" y="857246"/>
                </a:cubicBezTo>
                <a:cubicBezTo>
                  <a:pt x="672493" y="865225"/>
                  <a:pt x="672073" y="873205"/>
                  <a:pt x="673752" y="882025"/>
                </a:cubicBezTo>
                <a:cubicBezTo>
                  <a:pt x="675432" y="890844"/>
                  <a:pt x="680892" y="900084"/>
                  <a:pt x="690972" y="910164"/>
                </a:cubicBezTo>
                <a:cubicBezTo>
                  <a:pt x="698531" y="915623"/>
                  <a:pt x="709031" y="922343"/>
                  <a:pt x="722050" y="930742"/>
                </a:cubicBezTo>
                <a:cubicBezTo>
                  <a:pt x="735070" y="939142"/>
                  <a:pt x="748929" y="947122"/>
                  <a:pt x="763209" y="954681"/>
                </a:cubicBezTo>
                <a:cubicBezTo>
                  <a:pt x="777488" y="962241"/>
                  <a:pt x="790927" y="968541"/>
                  <a:pt x="803527" y="974001"/>
                </a:cubicBezTo>
                <a:cubicBezTo>
                  <a:pt x="815706" y="979461"/>
                  <a:pt x="824946" y="981140"/>
                  <a:pt x="831246" y="979880"/>
                </a:cubicBezTo>
                <a:cubicBezTo>
                  <a:pt x="847625" y="991640"/>
                  <a:pt x="864424" y="996680"/>
                  <a:pt x="882483" y="995000"/>
                </a:cubicBezTo>
                <a:cubicBezTo>
                  <a:pt x="900543" y="993320"/>
                  <a:pt x="918602" y="988280"/>
                  <a:pt x="936661" y="979880"/>
                </a:cubicBezTo>
                <a:cubicBezTo>
                  <a:pt x="942961" y="972741"/>
                  <a:pt x="945901" y="966021"/>
                  <a:pt x="945901" y="960141"/>
                </a:cubicBezTo>
                <a:cubicBezTo>
                  <a:pt x="945901" y="954262"/>
                  <a:pt x="944221" y="948802"/>
                  <a:pt x="940441" y="944182"/>
                </a:cubicBezTo>
                <a:cubicBezTo>
                  <a:pt x="936661" y="939562"/>
                  <a:pt x="931621" y="935362"/>
                  <a:pt x="924902" y="932003"/>
                </a:cubicBezTo>
                <a:cubicBezTo>
                  <a:pt x="918182" y="928643"/>
                  <a:pt x="911462" y="926123"/>
                  <a:pt x="904323" y="924863"/>
                </a:cubicBezTo>
                <a:cubicBezTo>
                  <a:pt x="900543" y="924023"/>
                  <a:pt x="895083" y="922763"/>
                  <a:pt x="887103" y="920663"/>
                </a:cubicBezTo>
                <a:cubicBezTo>
                  <a:pt x="879544" y="918983"/>
                  <a:pt x="870724" y="916463"/>
                  <a:pt x="861064" y="913523"/>
                </a:cubicBezTo>
                <a:cubicBezTo>
                  <a:pt x="851405" y="910583"/>
                  <a:pt x="841745" y="907643"/>
                  <a:pt x="831246" y="903864"/>
                </a:cubicBezTo>
                <a:cubicBezTo>
                  <a:pt x="821166" y="900504"/>
                  <a:pt x="811927" y="896724"/>
                  <a:pt x="803527" y="892944"/>
                </a:cubicBezTo>
                <a:cubicBezTo>
                  <a:pt x="795127" y="889164"/>
                  <a:pt x="787988" y="884965"/>
                  <a:pt x="782108" y="880345"/>
                </a:cubicBezTo>
                <a:cubicBezTo>
                  <a:pt x="776648" y="875725"/>
                  <a:pt x="773288" y="871105"/>
                  <a:pt x="772868" y="866485"/>
                </a:cubicBezTo>
                <a:cubicBezTo>
                  <a:pt x="771608" y="855146"/>
                  <a:pt x="774968" y="844226"/>
                  <a:pt x="783368" y="833307"/>
                </a:cubicBezTo>
                <a:cubicBezTo>
                  <a:pt x="791347" y="822387"/>
                  <a:pt x="800587" y="811468"/>
                  <a:pt x="810667" y="799708"/>
                </a:cubicBezTo>
                <a:cubicBezTo>
                  <a:pt x="820326" y="787949"/>
                  <a:pt x="829566" y="775769"/>
                  <a:pt x="837545" y="762750"/>
                </a:cubicBezTo>
                <a:cubicBezTo>
                  <a:pt x="845525" y="749730"/>
                  <a:pt x="848465" y="735451"/>
                  <a:pt x="847205" y="720332"/>
                </a:cubicBezTo>
                <a:cubicBezTo>
                  <a:pt x="845945" y="708992"/>
                  <a:pt x="843005" y="698073"/>
                  <a:pt x="838385" y="686313"/>
                </a:cubicBezTo>
                <a:cubicBezTo>
                  <a:pt x="833766" y="674974"/>
                  <a:pt x="827886" y="664474"/>
                  <a:pt x="820746" y="655234"/>
                </a:cubicBezTo>
                <a:cubicBezTo>
                  <a:pt x="813606" y="645995"/>
                  <a:pt x="805627" y="638435"/>
                  <a:pt x="796807" y="632975"/>
                </a:cubicBezTo>
                <a:cubicBezTo>
                  <a:pt x="787988" y="627516"/>
                  <a:pt x="778748" y="624996"/>
                  <a:pt x="769508" y="625416"/>
                </a:cubicBezTo>
                <a:cubicBezTo>
                  <a:pt x="753129" y="626676"/>
                  <a:pt x="740530" y="629616"/>
                  <a:pt x="731290" y="634655"/>
                </a:cubicBezTo>
                <a:cubicBezTo>
                  <a:pt x="722050" y="639275"/>
                  <a:pt x="714491" y="644735"/>
                  <a:pt x="708191" y="650615"/>
                </a:cubicBezTo>
                <a:cubicBezTo>
                  <a:pt x="702311" y="656494"/>
                  <a:pt x="696432" y="661954"/>
                  <a:pt x="691392" y="667414"/>
                </a:cubicBezTo>
                <a:cubicBezTo>
                  <a:pt x="686352" y="672874"/>
                  <a:pt x="680052" y="676234"/>
                  <a:pt x="672493" y="678333"/>
                </a:cubicBezTo>
                <a:cubicBezTo>
                  <a:pt x="674172" y="672454"/>
                  <a:pt x="675012" y="665314"/>
                  <a:pt x="674172" y="656914"/>
                </a:cubicBezTo>
                <a:moveTo>
                  <a:pt x="1219729" y="678753"/>
                </a:moveTo>
                <a:cubicBezTo>
                  <a:pt x="1224769" y="676234"/>
                  <a:pt x="1229389" y="673294"/>
                  <a:pt x="1233168" y="669934"/>
                </a:cubicBezTo>
                <a:cubicBezTo>
                  <a:pt x="1236948" y="666154"/>
                  <a:pt x="1240308" y="661954"/>
                  <a:pt x="1242408" y="657334"/>
                </a:cubicBezTo>
                <a:cubicBezTo>
                  <a:pt x="1244508" y="652715"/>
                  <a:pt x="1245348" y="647255"/>
                  <a:pt x="1244928" y="641375"/>
                </a:cubicBezTo>
                <a:cubicBezTo>
                  <a:pt x="1244088" y="632975"/>
                  <a:pt x="1241988" y="626676"/>
                  <a:pt x="1238628" y="622896"/>
                </a:cubicBezTo>
                <a:cubicBezTo>
                  <a:pt x="1235268" y="619116"/>
                  <a:pt x="1231489" y="617016"/>
                  <a:pt x="1226449" y="616176"/>
                </a:cubicBezTo>
                <a:cubicBezTo>
                  <a:pt x="1221829" y="615336"/>
                  <a:pt x="1216369" y="615756"/>
                  <a:pt x="1210489" y="617016"/>
                </a:cubicBezTo>
                <a:cubicBezTo>
                  <a:pt x="1204610" y="618276"/>
                  <a:pt x="1198730" y="619956"/>
                  <a:pt x="1192430" y="621216"/>
                </a:cubicBezTo>
                <a:cubicBezTo>
                  <a:pt x="1178151" y="625836"/>
                  <a:pt x="1163451" y="628776"/>
                  <a:pt x="1147912" y="630876"/>
                </a:cubicBezTo>
                <a:cubicBezTo>
                  <a:pt x="1132373" y="632975"/>
                  <a:pt x="1116833" y="636335"/>
                  <a:pt x="1101714" y="640535"/>
                </a:cubicBezTo>
                <a:cubicBezTo>
                  <a:pt x="1094994" y="642635"/>
                  <a:pt x="1089115" y="643475"/>
                  <a:pt x="1083655" y="642635"/>
                </a:cubicBezTo>
                <a:cubicBezTo>
                  <a:pt x="1078195" y="641795"/>
                  <a:pt x="1073155" y="640955"/>
                  <a:pt x="1068116" y="639695"/>
                </a:cubicBezTo>
                <a:cubicBezTo>
                  <a:pt x="1063076" y="638435"/>
                  <a:pt x="1058036" y="638015"/>
                  <a:pt x="1052996" y="638015"/>
                </a:cubicBezTo>
                <a:cubicBezTo>
                  <a:pt x="1047956" y="638015"/>
                  <a:pt x="1042497" y="639695"/>
                  <a:pt x="1036617" y="642635"/>
                </a:cubicBezTo>
                <a:cubicBezTo>
                  <a:pt x="1031157" y="648515"/>
                  <a:pt x="1027377" y="655654"/>
                  <a:pt x="1024857" y="663214"/>
                </a:cubicBezTo>
                <a:cubicBezTo>
                  <a:pt x="1022757" y="670774"/>
                  <a:pt x="1021078" y="678753"/>
                  <a:pt x="1019818" y="687153"/>
                </a:cubicBezTo>
                <a:cubicBezTo>
                  <a:pt x="1018558" y="695553"/>
                  <a:pt x="1017298" y="703952"/>
                  <a:pt x="1016458" y="711932"/>
                </a:cubicBezTo>
                <a:cubicBezTo>
                  <a:pt x="1015198" y="720332"/>
                  <a:pt x="1013098" y="728311"/>
                  <a:pt x="1010158" y="736291"/>
                </a:cubicBezTo>
                <a:cubicBezTo>
                  <a:pt x="1007638" y="741751"/>
                  <a:pt x="1005538" y="750150"/>
                  <a:pt x="1004278" y="761910"/>
                </a:cubicBezTo>
                <a:cubicBezTo>
                  <a:pt x="1002598" y="773249"/>
                  <a:pt x="1001338" y="786269"/>
                  <a:pt x="1000078" y="800968"/>
                </a:cubicBezTo>
                <a:cubicBezTo>
                  <a:pt x="998819" y="815247"/>
                  <a:pt x="998399" y="830367"/>
                  <a:pt x="997979" y="845906"/>
                </a:cubicBezTo>
                <a:cubicBezTo>
                  <a:pt x="997559" y="861445"/>
                  <a:pt x="997559" y="876145"/>
                  <a:pt x="997559" y="890004"/>
                </a:cubicBezTo>
                <a:cubicBezTo>
                  <a:pt x="997559" y="903864"/>
                  <a:pt x="997979" y="915623"/>
                  <a:pt x="998399" y="926123"/>
                </a:cubicBezTo>
                <a:cubicBezTo>
                  <a:pt x="998819" y="936622"/>
                  <a:pt x="999658" y="943342"/>
                  <a:pt x="1000918" y="946282"/>
                </a:cubicBezTo>
                <a:cubicBezTo>
                  <a:pt x="1005958" y="964761"/>
                  <a:pt x="1013938" y="978201"/>
                  <a:pt x="1024857" y="987020"/>
                </a:cubicBezTo>
                <a:cubicBezTo>
                  <a:pt x="1035777" y="995840"/>
                  <a:pt x="1048376" y="1000880"/>
                  <a:pt x="1062656" y="1002560"/>
                </a:cubicBezTo>
                <a:cubicBezTo>
                  <a:pt x="1076935" y="1004239"/>
                  <a:pt x="1092054" y="1002979"/>
                  <a:pt x="1107594" y="998780"/>
                </a:cubicBezTo>
                <a:cubicBezTo>
                  <a:pt x="1123133" y="994580"/>
                  <a:pt x="1138673" y="988700"/>
                  <a:pt x="1152952" y="981140"/>
                </a:cubicBezTo>
                <a:cubicBezTo>
                  <a:pt x="1167651" y="973581"/>
                  <a:pt x="1180671" y="965181"/>
                  <a:pt x="1192430" y="955941"/>
                </a:cubicBezTo>
                <a:cubicBezTo>
                  <a:pt x="1204190" y="946702"/>
                  <a:pt x="1213429" y="937882"/>
                  <a:pt x="1219729" y="929063"/>
                </a:cubicBezTo>
                <a:cubicBezTo>
                  <a:pt x="1222669" y="925283"/>
                  <a:pt x="1225609" y="922343"/>
                  <a:pt x="1228969" y="918983"/>
                </a:cubicBezTo>
                <a:cubicBezTo>
                  <a:pt x="1231909" y="916043"/>
                  <a:pt x="1234848" y="912683"/>
                  <a:pt x="1236948" y="909324"/>
                </a:cubicBezTo>
                <a:cubicBezTo>
                  <a:pt x="1239048" y="905964"/>
                  <a:pt x="1240308" y="901764"/>
                  <a:pt x="1240728" y="897144"/>
                </a:cubicBezTo>
                <a:cubicBezTo>
                  <a:pt x="1241148" y="892524"/>
                  <a:pt x="1240308" y="886644"/>
                  <a:pt x="1238208" y="879505"/>
                </a:cubicBezTo>
                <a:cubicBezTo>
                  <a:pt x="1233168" y="864385"/>
                  <a:pt x="1222249" y="858086"/>
                  <a:pt x="1206710" y="859766"/>
                </a:cubicBezTo>
                <a:cubicBezTo>
                  <a:pt x="1198730" y="865645"/>
                  <a:pt x="1189490" y="873625"/>
                  <a:pt x="1179831" y="883285"/>
                </a:cubicBezTo>
                <a:cubicBezTo>
                  <a:pt x="1170171" y="892944"/>
                  <a:pt x="1159672" y="901764"/>
                  <a:pt x="1149172" y="909743"/>
                </a:cubicBezTo>
                <a:cubicBezTo>
                  <a:pt x="1138252" y="917723"/>
                  <a:pt x="1126913" y="923603"/>
                  <a:pt x="1115153" y="927383"/>
                </a:cubicBezTo>
                <a:cubicBezTo>
                  <a:pt x="1103394" y="931163"/>
                  <a:pt x="1090795" y="929903"/>
                  <a:pt x="1077775" y="924023"/>
                </a:cubicBezTo>
                <a:cubicBezTo>
                  <a:pt x="1073575" y="922343"/>
                  <a:pt x="1070635" y="918143"/>
                  <a:pt x="1068535" y="912263"/>
                </a:cubicBezTo>
                <a:cubicBezTo>
                  <a:pt x="1066436" y="906384"/>
                  <a:pt x="1065176" y="899244"/>
                  <a:pt x="1064756" y="891684"/>
                </a:cubicBezTo>
                <a:cubicBezTo>
                  <a:pt x="1064336" y="884125"/>
                  <a:pt x="1064336" y="876565"/>
                  <a:pt x="1064756" y="869845"/>
                </a:cubicBezTo>
                <a:cubicBezTo>
                  <a:pt x="1065596" y="862706"/>
                  <a:pt x="1066436" y="857246"/>
                  <a:pt x="1068116" y="853886"/>
                </a:cubicBezTo>
                <a:cubicBezTo>
                  <a:pt x="1069795" y="850106"/>
                  <a:pt x="1073995" y="847166"/>
                  <a:pt x="1080295" y="844646"/>
                </a:cubicBezTo>
                <a:cubicBezTo>
                  <a:pt x="1086175" y="842126"/>
                  <a:pt x="1093315" y="840446"/>
                  <a:pt x="1101294" y="839186"/>
                </a:cubicBezTo>
                <a:cubicBezTo>
                  <a:pt x="1109274" y="837927"/>
                  <a:pt x="1116833" y="836667"/>
                  <a:pt x="1123973" y="835827"/>
                </a:cubicBezTo>
                <a:cubicBezTo>
                  <a:pt x="1131533" y="834987"/>
                  <a:pt x="1136993" y="834147"/>
                  <a:pt x="1141612" y="833307"/>
                </a:cubicBezTo>
                <a:cubicBezTo>
                  <a:pt x="1147072" y="832467"/>
                  <a:pt x="1152532" y="831207"/>
                  <a:pt x="1157152" y="829947"/>
                </a:cubicBezTo>
                <a:cubicBezTo>
                  <a:pt x="1161772" y="828267"/>
                  <a:pt x="1165971" y="826167"/>
                  <a:pt x="1169751" y="823647"/>
                </a:cubicBezTo>
                <a:cubicBezTo>
                  <a:pt x="1173531" y="820707"/>
                  <a:pt x="1176051" y="817347"/>
                  <a:pt x="1177731" y="812728"/>
                </a:cubicBezTo>
                <a:cubicBezTo>
                  <a:pt x="1179411" y="808108"/>
                  <a:pt x="1179831" y="802228"/>
                  <a:pt x="1178991" y="795088"/>
                </a:cubicBezTo>
                <a:cubicBezTo>
                  <a:pt x="1178571" y="789629"/>
                  <a:pt x="1176891" y="784589"/>
                  <a:pt x="1174791" y="779969"/>
                </a:cubicBezTo>
                <a:cubicBezTo>
                  <a:pt x="1172271" y="775349"/>
                  <a:pt x="1169331" y="771989"/>
                  <a:pt x="1165131" y="769889"/>
                </a:cubicBezTo>
                <a:cubicBezTo>
                  <a:pt x="1156732" y="765690"/>
                  <a:pt x="1147912" y="764430"/>
                  <a:pt x="1139513" y="766530"/>
                </a:cubicBezTo>
                <a:cubicBezTo>
                  <a:pt x="1130693" y="768210"/>
                  <a:pt x="1121453" y="769889"/>
                  <a:pt x="1111374" y="770729"/>
                </a:cubicBezTo>
                <a:cubicBezTo>
                  <a:pt x="1108434" y="771149"/>
                  <a:pt x="1104234" y="771569"/>
                  <a:pt x="1099194" y="772829"/>
                </a:cubicBezTo>
                <a:cubicBezTo>
                  <a:pt x="1094154" y="773669"/>
                  <a:pt x="1089535" y="773669"/>
                  <a:pt x="1085335" y="771989"/>
                </a:cubicBezTo>
                <a:cubicBezTo>
                  <a:pt x="1081135" y="770310"/>
                  <a:pt x="1078615" y="766950"/>
                  <a:pt x="1077775" y="761490"/>
                </a:cubicBezTo>
                <a:cubicBezTo>
                  <a:pt x="1076515" y="756030"/>
                  <a:pt x="1078615" y="746790"/>
                  <a:pt x="1083655" y="733351"/>
                </a:cubicBezTo>
                <a:cubicBezTo>
                  <a:pt x="1089115" y="719912"/>
                  <a:pt x="1096674" y="711092"/>
                  <a:pt x="1106334" y="706892"/>
                </a:cubicBezTo>
                <a:cubicBezTo>
                  <a:pt x="1115994" y="703112"/>
                  <a:pt x="1126493" y="700592"/>
                  <a:pt x="1137832" y="700173"/>
                </a:cubicBezTo>
                <a:cubicBezTo>
                  <a:pt x="1149172" y="699333"/>
                  <a:pt x="1160931" y="698493"/>
                  <a:pt x="1172691" y="697652"/>
                </a:cubicBezTo>
                <a:cubicBezTo>
                  <a:pt x="1184451" y="696813"/>
                  <a:pt x="1195370" y="692613"/>
                  <a:pt x="1205030" y="685053"/>
                </a:cubicBezTo>
                <a:cubicBezTo>
                  <a:pt x="1209649" y="682533"/>
                  <a:pt x="1214689" y="680853"/>
                  <a:pt x="1219729" y="678753"/>
                </a:cubicBezTo>
                <a:moveTo>
                  <a:pt x="1370083" y="654394"/>
                </a:moveTo>
                <a:cubicBezTo>
                  <a:pt x="1365463" y="669934"/>
                  <a:pt x="1364623" y="685893"/>
                  <a:pt x="1367563" y="702272"/>
                </a:cubicBezTo>
                <a:cubicBezTo>
                  <a:pt x="1370503" y="718232"/>
                  <a:pt x="1375962" y="735451"/>
                  <a:pt x="1383522" y="753090"/>
                </a:cubicBezTo>
                <a:cubicBezTo>
                  <a:pt x="1391082" y="770729"/>
                  <a:pt x="1397801" y="790469"/>
                  <a:pt x="1403681" y="812308"/>
                </a:cubicBezTo>
                <a:cubicBezTo>
                  <a:pt x="1404101" y="815247"/>
                  <a:pt x="1405781" y="819447"/>
                  <a:pt x="1407881" y="825327"/>
                </a:cubicBezTo>
                <a:cubicBezTo>
                  <a:pt x="1409981" y="831207"/>
                  <a:pt x="1412081" y="837507"/>
                  <a:pt x="1414181" y="845066"/>
                </a:cubicBezTo>
                <a:cubicBezTo>
                  <a:pt x="1416281" y="852626"/>
                  <a:pt x="1418381" y="860186"/>
                  <a:pt x="1420060" y="868585"/>
                </a:cubicBezTo>
                <a:cubicBezTo>
                  <a:pt x="1421740" y="876985"/>
                  <a:pt x="1423000" y="884544"/>
                  <a:pt x="1423000" y="891264"/>
                </a:cubicBezTo>
                <a:cubicBezTo>
                  <a:pt x="1423000" y="898404"/>
                  <a:pt x="1422580" y="904704"/>
                  <a:pt x="1420480" y="909743"/>
                </a:cubicBezTo>
                <a:cubicBezTo>
                  <a:pt x="1418801" y="915203"/>
                  <a:pt x="1415021" y="918563"/>
                  <a:pt x="1409981" y="920243"/>
                </a:cubicBezTo>
                <a:cubicBezTo>
                  <a:pt x="1406621" y="921503"/>
                  <a:pt x="1403261" y="921503"/>
                  <a:pt x="1400321" y="920243"/>
                </a:cubicBezTo>
                <a:cubicBezTo>
                  <a:pt x="1397381" y="918983"/>
                  <a:pt x="1394861" y="917303"/>
                  <a:pt x="1391922" y="914783"/>
                </a:cubicBezTo>
                <a:cubicBezTo>
                  <a:pt x="1389402" y="912263"/>
                  <a:pt x="1386882" y="909743"/>
                  <a:pt x="1384362" y="906804"/>
                </a:cubicBezTo>
                <a:cubicBezTo>
                  <a:pt x="1382262" y="903864"/>
                  <a:pt x="1380162" y="901344"/>
                  <a:pt x="1378062" y="899664"/>
                </a:cubicBezTo>
                <a:cubicBezTo>
                  <a:pt x="1372182" y="892944"/>
                  <a:pt x="1365883" y="890004"/>
                  <a:pt x="1360003" y="890004"/>
                </a:cubicBezTo>
                <a:cubicBezTo>
                  <a:pt x="1354123" y="890424"/>
                  <a:pt x="1348663" y="892524"/>
                  <a:pt x="1344044" y="896724"/>
                </a:cubicBezTo>
                <a:cubicBezTo>
                  <a:pt x="1339424" y="901344"/>
                  <a:pt x="1335644" y="906804"/>
                  <a:pt x="1333124" y="913943"/>
                </a:cubicBezTo>
                <a:cubicBezTo>
                  <a:pt x="1330184" y="921083"/>
                  <a:pt x="1329344" y="927803"/>
                  <a:pt x="1330184" y="934522"/>
                </a:cubicBezTo>
                <a:cubicBezTo>
                  <a:pt x="1331024" y="942082"/>
                  <a:pt x="1333124" y="950062"/>
                  <a:pt x="1336484" y="958041"/>
                </a:cubicBezTo>
                <a:cubicBezTo>
                  <a:pt x="1339844" y="966021"/>
                  <a:pt x="1344464" y="973581"/>
                  <a:pt x="1349923" y="980301"/>
                </a:cubicBezTo>
                <a:cubicBezTo>
                  <a:pt x="1355383" y="987020"/>
                  <a:pt x="1362103" y="992480"/>
                  <a:pt x="1369663" y="996680"/>
                </a:cubicBezTo>
                <a:cubicBezTo>
                  <a:pt x="1377222" y="1000880"/>
                  <a:pt x="1385622" y="1002560"/>
                  <a:pt x="1394441" y="1002560"/>
                </a:cubicBezTo>
                <a:cubicBezTo>
                  <a:pt x="1417540" y="1002139"/>
                  <a:pt x="1435600" y="996680"/>
                  <a:pt x="1449879" y="986600"/>
                </a:cubicBezTo>
                <a:cubicBezTo>
                  <a:pt x="1463739" y="976521"/>
                  <a:pt x="1474658" y="963921"/>
                  <a:pt x="1481798" y="949222"/>
                </a:cubicBezTo>
                <a:cubicBezTo>
                  <a:pt x="1488937" y="934522"/>
                  <a:pt x="1493137" y="918563"/>
                  <a:pt x="1493557" y="901344"/>
                </a:cubicBezTo>
                <a:cubicBezTo>
                  <a:pt x="1494397" y="884125"/>
                  <a:pt x="1492717" y="867745"/>
                  <a:pt x="1488517" y="852626"/>
                </a:cubicBezTo>
                <a:cubicBezTo>
                  <a:pt x="1485578" y="840866"/>
                  <a:pt x="1481378" y="829107"/>
                  <a:pt x="1475918" y="817347"/>
                </a:cubicBezTo>
                <a:cubicBezTo>
                  <a:pt x="1470458" y="805588"/>
                  <a:pt x="1464999" y="793828"/>
                  <a:pt x="1459959" y="781649"/>
                </a:cubicBezTo>
                <a:cubicBezTo>
                  <a:pt x="1454919" y="769470"/>
                  <a:pt x="1449879" y="757710"/>
                  <a:pt x="1446099" y="745531"/>
                </a:cubicBezTo>
                <a:cubicBezTo>
                  <a:pt x="1441900" y="733351"/>
                  <a:pt x="1439800" y="721172"/>
                  <a:pt x="1439380" y="709412"/>
                </a:cubicBezTo>
                <a:cubicBezTo>
                  <a:pt x="1438540" y="692193"/>
                  <a:pt x="1439800" y="679173"/>
                  <a:pt x="1443159" y="671194"/>
                </a:cubicBezTo>
                <a:cubicBezTo>
                  <a:pt x="1446099" y="663214"/>
                  <a:pt x="1451139" y="656914"/>
                  <a:pt x="1457859" y="653135"/>
                </a:cubicBezTo>
                <a:cubicBezTo>
                  <a:pt x="1464579" y="649355"/>
                  <a:pt x="1472978" y="646415"/>
                  <a:pt x="1483058" y="644315"/>
                </a:cubicBezTo>
                <a:cubicBezTo>
                  <a:pt x="1493137" y="642215"/>
                  <a:pt x="1504897" y="638855"/>
                  <a:pt x="1518336" y="633815"/>
                </a:cubicBezTo>
                <a:cubicBezTo>
                  <a:pt x="1523376" y="632135"/>
                  <a:pt x="1528836" y="629616"/>
                  <a:pt x="1533876" y="625836"/>
                </a:cubicBezTo>
                <a:cubicBezTo>
                  <a:pt x="1538915" y="622056"/>
                  <a:pt x="1542275" y="617436"/>
                  <a:pt x="1543115" y="610716"/>
                </a:cubicBezTo>
                <a:cubicBezTo>
                  <a:pt x="1541855" y="604417"/>
                  <a:pt x="1540175" y="598537"/>
                  <a:pt x="1538075" y="593497"/>
                </a:cubicBezTo>
                <a:cubicBezTo>
                  <a:pt x="1535975" y="588457"/>
                  <a:pt x="1533456" y="584257"/>
                  <a:pt x="1530096" y="580478"/>
                </a:cubicBezTo>
                <a:cubicBezTo>
                  <a:pt x="1526736" y="577118"/>
                  <a:pt x="1522116" y="574598"/>
                  <a:pt x="1516656" y="572918"/>
                </a:cubicBezTo>
                <a:cubicBezTo>
                  <a:pt x="1511197" y="571238"/>
                  <a:pt x="1504477" y="570818"/>
                  <a:pt x="1496077" y="571658"/>
                </a:cubicBezTo>
                <a:cubicBezTo>
                  <a:pt x="1488937" y="572498"/>
                  <a:pt x="1480958" y="573758"/>
                  <a:pt x="1472558" y="575018"/>
                </a:cubicBezTo>
                <a:cubicBezTo>
                  <a:pt x="1464159" y="576698"/>
                  <a:pt x="1455759" y="578798"/>
                  <a:pt x="1447359" y="581318"/>
                </a:cubicBezTo>
                <a:cubicBezTo>
                  <a:pt x="1438960" y="583837"/>
                  <a:pt x="1431400" y="587197"/>
                  <a:pt x="1423840" y="590977"/>
                </a:cubicBezTo>
                <a:cubicBezTo>
                  <a:pt x="1416281" y="594757"/>
                  <a:pt x="1409981" y="599377"/>
                  <a:pt x="1404941" y="604837"/>
                </a:cubicBezTo>
                <a:cubicBezTo>
                  <a:pt x="1386462" y="621636"/>
                  <a:pt x="1374702" y="638435"/>
                  <a:pt x="1370083" y="654394"/>
                </a:cubicBezTo>
                <a:moveTo>
                  <a:pt x="1784185" y="569138"/>
                </a:moveTo>
                <a:cubicBezTo>
                  <a:pt x="1781665" y="569558"/>
                  <a:pt x="1778725" y="569558"/>
                  <a:pt x="1776205" y="569978"/>
                </a:cubicBezTo>
                <a:cubicBezTo>
                  <a:pt x="1765286" y="571238"/>
                  <a:pt x="1756466" y="572918"/>
                  <a:pt x="1748906" y="575858"/>
                </a:cubicBezTo>
                <a:cubicBezTo>
                  <a:pt x="1741767" y="578378"/>
                  <a:pt x="1734627" y="581318"/>
                  <a:pt x="1727907" y="585097"/>
                </a:cubicBezTo>
                <a:cubicBezTo>
                  <a:pt x="1721188" y="588877"/>
                  <a:pt x="1714468" y="592657"/>
                  <a:pt x="1707328" y="596857"/>
                </a:cubicBezTo>
                <a:cubicBezTo>
                  <a:pt x="1700188" y="601057"/>
                  <a:pt x="1691369" y="605256"/>
                  <a:pt x="1680869" y="609876"/>
                </a:cubicBezTo>
                <a:cubicBezTo>
                  <a:pt x="1677929" y="611136"/>
                  <a:pt x="1674989" y="611976"/>
                  <a:pt x="1672050" y="611976"/>
                </a:cubicBezTo>
                <a:cubicBezTo>
                  <a:pt x="1668690" y="611976"/>
                  <a:pt x="1665330" y="611976"/>
                  <a:pt x="1662390" y="612396"/>
                </a:cubicBezTo>
                <a:cubicBezTo>
                  <a:pt x="1659030" y="612816"/>
                  <a:pt x="1656090" y="613236"/>
                  <a:pt x="1652730" y="614496"/>
                </a:cubicBezTo>
                <a:cubicBezTo>
                  <a:pt x="1649791" y="615756"/>
                  <a:pt x="1646851" y="617856"/>
                  <a:pt x="1644751" y="620796"/>
                </a:cubicBezTo>
                <a:cubicBezTo>
                  <a:pt x="1634671" y="655234"/>
                  <a:pt x="1626692" y="688833"/>
                  <a:pt x="1621652" y="722851"/>
                </a:cubicBezTo>
                <a:cubicBezTo>
                  <a:pt x="1616612" y="756450"/>
                  <a:pt x="1615772" y="790889"/>
                  <a:pt x="1619552" y="825747"/>
                </a:cubicBezTo>
                <a:cubicBezTo>
                  <a:pt x="1620392" y="835407"/>
                  <a:pt x="1622072" y="844646"/>
                  <a:pt x="1623752" y="853886"/>
                </a:cubicBezTo>
                <a:cubicBezTo>
                  <a:pt x="1625432" y="863125"/>
                  <a:pt x="1627531" y="872365"/>
                  <a:pt x="1630051" y="881605"/>
                </a:cubicBezTo>
                <a:cubicBezTo>
                  <a:pt x="1634671" y="896724"/>
                  <a:pt x="1640971" y="910583"/>
                  <a:pt x="1649791" y="922343"/>
                </a:cubicBezTo>
                <a:cubicBezTo>
                  <a:pt x="1658610" y="934103"/>
                  <a:pt x="1670370" y="943762"/>
                  <a:pt x="1684649" y="950482"/>
                </a:cubicBezTo>
                <a:cubicBezTo>
                  <a:pt x="1701028" y="958461"/>
                  <a:pt x="1718248" y="961821"/>
                  <a:pt x="1736307" y="959721"/>
                </a:cubicBezTo>
                <a:cubicBezTo>
                  <a:pt x="1746386" y="958881"/>
                  <a:pt x="1756466" y="955941"/>
                  <a:pt x="1766546" y="951742"/>
                </a:cubicBezTo>
                <a:cubicBezTo>
                  <a:pt x="1776625" y="947962"/>
                  <a:pt x="1785865" y="942922"/>
                  <a:pt x="1793844" y="936622"/>
                </a:cubicBezTo>
                <a:cubicBezTo>
                  <a:pt x="1801824" y="930323"/>
                  <a:pt x="1807704" y="921923"/>
                  <a:pt x="1811484" y="911004"/>
                </a:cubicBezTo>
                <a:cubicBezTo>
                  <a:pt x="1814003" y="905544"/>
                  <a:pt x="1816523" y="899664"/>
                  <a:pt x="1819883" y="892524"/>
                </a:cubicBezTo>
                <a:cubicBezTo>
                  <a:pt x="1822823" y="885384"/>
                  <a:pt x="1824083" y="878245"/>
                  <a:pt x="1823243" y="871525"/>
                </a:cubicBezTo>
                <a:cubicBezTo>
                  <a:pt x="1822403" y="863545"/>
                  <a:pt x="1819043" y="856826"/>
                  <a:pt x="1812324" y="851786"/>
                </a:cubicBezTo>
                <a:cubicBezTo>
                  <a:pt x="1806024" y="846326"/>
                  <a:pt x="1798044" y="843806"/>
                  <a:pt x="1789225" y="843806"/>
                </a:cubicBezTo>
                <a:cubicBezTo>
                  <a:pt x="1785025" y="843806"/>
                  <a:pt x="1781245" y="844226"/>
                  <a:pt x="1778725" y="845066"/>
                </a:cubicBezTo>
                <a:cubicBezTo>
                  <a:pt x="1776205" y="845906"/>
                  <a:pt x="1774105" y="847166"/>
                  <a:pt x="1772425" y="848846"/>
                </a:cubicBezTo>
                <a:cubicBezTo>
                  <a:pt x="1770745" y="850526"/>
                  <a:pt x="1769485" y="853046"/>
                  <a:pt x="1768225" y="855146"/>
                </a:cubicBezTo>
                <a:cubicBezTo>
                  <a:pt x="1766966" y="857666"/>
                  <a:pt x="1765286" y="860606"/>
                  <a:pt x="1763186" y="863545"/>
                </a:cubicBezTo>
                <a:cubicBezTo>
                  <a:pt x="1759826" y="867745"/>
                  <a:pt x="1756466" y="871105"/>
                  <a:pt x="1752266" y="873625"/>
                </a:cubicBezTo>
                <a:cubicBezTo>
                  <a:pt x="1748066" y="875725"/>
                  <a:pt x="1743867" y="877405"/>
                  <a:pt x="1739247" y="877825"/>
                </a:cubicBezTo>
                <a:cubicBezTo>
                  <a:pt x="1728747" y="878665"/>
                  <a:pt x="1719088" y="876145"/>
                  <a:pt x="1710268" y="869425"/>
                </a:cubicBezTo>
                <a:cubicBezTo>
                  <a:pt x="1701448" y="862706"/>
                  <a:pt x="1697248" y="853046"/>
                  <a:pt x="1697668" y="840026"/>
                </a:cubicBezTo>
                <a:cubicBezTo>
                  <a:pt x="1702708" y="835407"/>
                  <a:pt x="1708168" y="830787"/>
                  <a:pt x="1714888" y="827427"/>
                </a:cubicBezTo>
                <a:cubicBezTo>
                  <a:pt x="1721607" y="823647"/>
                  <a:pt x="1728327" y="820287"/>
                  <a:pt x="1735047" y="816508"/>
                </a:cubicBezTo>
                <a:cubicBezTo>
                  <a:pt x="1741767" y="812728"/>
                  <a:pt x="1748486" y="808948"/>
                  <a:pt x="1754786" y="804328"/>
                </a:cubicBezTo>
                <a:cubicBezTo>
                  <a:pt x="1761086" y="800128"/>
                  <a:pt x="1766546" y="794668"/>
                  <a:pt x="1770745" y="788369"/>
                </a:cubicBezTo>
                <a:cubicBezTo>
                  <a:pt x="1774525" y="783749"/>
                  <a:pt x="1777045" y="778289"/>
                  <a:pt x="1779145" y="771989"/>
                </a:cubicBezTo>
                <a:cubicBezTo>
                  <a:pt x="1781245" y="765690"/>
                  <a:pt x="1782085" y="759390"/>
                  <a:pt x="1781245" y="753510"/>
                </a:cubicBezTo>
                <a:cubicBezTo>
                  <a:pt x="1780405" y="746371"/>
                  <a:pt x="1777465" y="740071"/>
                  <a:pt x="1771585" y="735451"/>
                </a:cubicBezTo>
                <a:cubicBezTo>
                  <a:pt x="1766126" y="730411"/>
                  <a:pt x="1758986" y="728731"/>
                  <a:pt x="1751006" y="729571"/>
                </a:cubicBezTo>
                <a:cubicBezTo>
                  <a:pt x="1744287" y="730411"/>
                  <a:pt x="1737147" y="732091"/>
                  <a:pt x="1730007" y="734611"/>
                </a:cubicBezTo>
                <a:cubicBezTo>
                  <a:pt x="1722867" y="737131"/>
                  <a:pt x="1716988" y="740071"/>
                  <a:pt x="1712368" y="742591"/>
                </a:cubicBezTo>
                <a:cubicBezTo>
                  <a:pt x="1707748" y="745111"/>
                  <a:pt x="1704388" y="746790"/>
                  <a:pt x="1702288" y="746790"/>
                </a:cubicBezTo>
                <a:cubicBezTo>
                  <a:pt x="1699768" y="747211"/>
                  <a:pt x="1698089" y="746790"/>
                  <a:pt x="1697248" y="745531"/>
                </a:cubicBezTo>
                <a:cubicBezTo>
                  <a:pt x="1696408" y="744271"/>
                  <a:pt x="1695569" y="742591"/>
                  <a:pt x="1695569" y="740491"/>
                </a:cubicBezTo>
                <a:cubicBezTo>
                  <a:pt x="1695569" y="738391"/>
                  <a:pt x="1695149" y="736291"/>
                  <a:pt x="1694729" y="734191"/>
                </a:cubicBezTo>
                <a:cubicBezTo>
                  <a:pt x="1694309" y="730411"/>
                  <a:pt x="1694729" y="726211"/>
                  <a:pt x="1695569" y="721172"/>
                </a:cubicBezTo>
                <a:cubicBezTo>
                  <a:pt x="1696408" y="716132"/>
                  <a:pt x="1697668" y="711092"/>
                  <a:pt x="1698928" y="706472"/>
                </a:cubicBezTo>
                <a:cubicBezTo>
                  <a:pt x="1700188" y="701852"/>
                  <a:pt x="1701448" y="697652"/>
                  <a:pt x="1702708" y="693453"/>
                </a:cubicBezTo>
                <a:cubicBezTo>
                  <a:pt x="1703968" y="689673"/>
                  <a:pt x="1704808" y="686733"/>
                  <a:pt x="1705228" y="684633"/>
                </a:cubicBezTo>
                <a:cubicBezTo>
                  <a:pt x="1706488" y="680013"/>
                  <a:pt x="1710268" y="675814"/>
                  <a:pt x="1716568" y="671194"/>
                </a:cubicBezTo>
                <a:cubicBezTo>
                  <a:pt x="1722867" y="666994"/>
                  <a:pt x="1730007" y="662794"/>
                  <a:pt x="1737567" y="659014"/>
                </a:cubicBezTo>
                <a:cubicBezTo>
                  <a:pt x="1745546" y="655234"/>
                  <a:pt x="1753106" y="651875"/>
                  <a:pt x="1761086" y="648935"/>
                </a:cubicBezTo>
                <a:cubicBezTo>
                  <a:pt x="1768645" y="645995"/>
                  <a:pt x="1774525" y="643895"/>
                  <a:pt x="1779145" y="642635"/>
                </a:cubicBezTo>
                <a:cubicBezTo>
                  <a:pt x="1791325" y="638855"/>
                  <a:pt x="1802244" y="633815"/>
                  <a:pt x="1811484" y="627516"/>
                </a:cubicBezTo>
                <a:cubicBezTo>
                  <a:pt x="1820723" y="621216"/>
                  <a:pt x="1825763" y="610716"/>
                  <a:pt x="1826603" y="595597"/>
                </a:cubicBezTo>
                <a:cubicBezTo>
                  <a:pt x="1827023" y="591817"/>
                  <a:pt x="1826183" y="588457"/>
                  <a:pt x="1823663" y="585518"/>
                </a:cubicBezTo>
                <a:cubicBezTo>
                  <a:pt x="1821143" y="582578"/>
                  <a:pt x="1818623" y="579638"/>
                  <a:pt x="1815263" y="577538"/>
                </a:cubicBezTo>
                <a:cubicBezTo>
                  <a:pt x="1811904" y="575018"/>
                  <a:pt x="1808124" y="573338"/>
                  <a:pt x="1804344" y="572078"/>
                </a:cubicBezTo>
                <a:cubicBezTo>
                  <a:pt x="1800564" y="570818"/>
                  <a:pt x="1796784" y="570398"/>
                  <a:pt x="1793844" y="569978"/>
                </a:cubicBezTo>
                <a:cubicBezTo>
                  <a:pt x="1789645" y="568718"/>
                  <a:pt x="1786705" y="568718"/>
                  <a:pt x="1784185" y="569138"/>
                </a:cubicBezTo>
                <a:moveTo>
                  <a:pt x="1963097" y="933263"/>
                </a:moveTo>
                <a:cubicBezTo>
                  <a:pt x="1968977" y="931582"/>
                  <a:pt x="1974017" y="928223"/>
                  <a:pt x="1977796" y="923183"/>
                </a:cubicBezTo>
                <a:cubicBezTo>
                  <a:pt x="1981996" y="917723"/>
                  <a:pt x="1984936" y="911004"/>
                  <a:pt x="1987456" y="902604"/>
                </a:cubicBezTo>
                <a:cubicBezTo>
                  <a:pt x="1989556" y="894204"/>
                  <a:pt x="1992076" y="885384"/>
                  <a:pt x="1993756" y="876985"/>
                </a:cubicBezTo>
                <a:cubicBezTo>
                  <a:pt x="1995436" y="868165"/>
                  <a:pt x="1997116" y="859766"/>
                  <a:pt x="1998376" y="851786"/>
                </a:cubicBezTo>
                <a:cubicBezTo>
                  <a:pt x="1999635" y="843806"/>
                  <a:pt x="2001316" y="837087"/>
                  <a:pt x="2003415" y="832047"/>
                </a:cubicBezTo>
                <a:cubicBezTo>
                  <a:pt x="2005515" y="823227"/>
                  <a:pt x="2008035" y="817767"/>
                  <a:pt x="2011815" y="816087"/>
                </a:cubicBezTo>
                <a:cubicBezTo>
                  <a:pt x="2015595" y="814408"/>
                  <a:pt x="2021475" y="813568"/>
                  <a:pt x="2029874" y="813568"/>
                </a:cubicBezTo>
                <a:cubicBezTo>
                  <a:pt x="2040374" y="813148"/>
                  <a:pt x="2049193" y="812728"/>
                  <a:pt x="2057173" y="811888"/>
                </a:cubicBezTo>
                <a:cubicBezTo>
                  <a:pt x="2064733" y="811468"/>
                  <a:pt x="2071872" y="810208"/>
                  <a:pt x="2078172" y="808528"/>
                </a:cubicBezTo>
                <a:cubicBezTo>
                  <a:pt x="2084472" y="806848"/>
                  <a:pt x="2091192" y="804328"/>
                  <a:pt x="2097491" y="801388"/>
                </a:cubicBezTo>
                <a:cubicBezTo>
                  <a:pt x="2103791" y="798448"/>
                  <a:pt x="2111351" y="793828"/>
                  <a:pt x="2119330" y="788789"/>
                </a:cubicBezTo>
                <a:cubicBezTo>
                  <a:pt x="2124790" y="796348"/>
                  <a:pt x="2128150" y="806008"/>
                  <a:pt x="2129830" y="818187"/>
                </a:cubicBezTo>
                <a:cubicBezTo>
                  <a:pt x="2131090" y="830367"/>
                  <a:pt x="2133190" y="842546"/>
                  <a:pt x="2135290" y="854306"/>
                </a:cubicBezTo>
                <a:cubicBezTo>
                  <a:pt x="2137390" y="866065"/>
                  <a:pt x="2141170" y="876565"/>
                  <a:pt x="2146209" y="885384"/>
                </a:cubicBezTo>
                <a:cubicBezTo>
                  <a:pt x="2151249" y="894204"/>
                  <a:pt x="2160069" y="899244"/>
                  <a:pt x="2173088" y="900084"/>
                </a:cubicBezTo>
                <a:cubicBezTo>
                  <a:pt x="2182328" y="900924"/>
                  <a:pt x="2190727" y="899664"/>
                  <a:pt x="2197867" y="895884"/>
                </a:cubicBezTo>
                <a:cubicBezTo>
                  <a:pt x="2205007" y="892104"/>
                  <a:pt x="2211307" y="887065"/>
                  <a:pt x="2215926" y="880765"/>
                </a:cubicBezTo>
                <a:cubicBezTo>
                  <a:pt x="2220546" y="874465"/>
                  <a:pt x="2223906" y="866905"/>
                  <a:pt x="2226006" y="858926"/>
                </a:cubicBezTo>
                <a:cubicBezTo>
                  <a:pt x="2227686" y="850526"/>
                  <a:pt x="2228106" y="842126"/>
                  <a:pt x="2226846" y="833727"/>
                </a:cubicBezTo>
                <a:cubicBezTo>
                  <a:pt x="2226426" y="829527"/>
                  <a:pt x="2224746" y="825327"/>
                  <a:pt x="2221386" y="819867"/>
                </a:cubicBezTo>
                <a:cubicBezTo>
                  <a:pt x="2218446" y="814828"/>
                  <a:pt x="2214666" y="808948"/>
                  <a:pt x="2210886" y="803068"/>
                </a:cubicBezTo>
                <a:cubicBezTo>
                  <a:pt x="2206687" y="797188"/>
                  <a:pt x="2203327" y="790469"/>
                  <a:pt x="2199547" y="783749"/>
                </a:cubicBezTo>
                <a:cubicBezTo>
                  <a:pt x="2196187" y="777029"/>
                  <a:pt x="2193667" y="769889"/>
                  <a:pt x="2191987" y="762330"/>
                </a:cubicBezTo>
                <a:cubicBezTo>
                  <a:pt x="2191147" y="756870"/>
                  <a:pt x="2189467" y="749730"/>
                  <a:pt x="2187787" y="742171"/>
                </a:cubicBezTo>
                <a:cubicBezTo>
                  <a:pt x="2185688" y="734191"/>
                  <a:pt x="2184008" y="726211"/>
                  <a:pt x="2181908" y="718652"/>
                </a:cubicBezTo>
                <a:cubicBezTo>
                  <a:pt x="2179808" y="710672"/>
                  <a:pt x="2177708" y="702692"/>
                  <a:pt x="2175608" y="695133"/>
                </a:cubicBezTo>
                <a:cubicBezTo>
                  <a:pt x="2173508" y="687573"/>
                  <a:pt x="2171828" y="680853"/>
                  <a:pt x="2170568" y="674553"/>
                </a:cubicBezTo>
                <a:cubicBezTo>
                  <a:pt x="2168048" y="663634"/>
                  <a:pt x="2165948" y="653135"/>
                  <a:pt x="2163848" y="643475"/>
                </a:cubicBezTo>
                <a:cubicBezTo>
                  <a:pt x="2161748" y="633815"/>
                  <a:pt x="2159229" y="624156"/>
                  <a:pt x="2156289" y="614916"/>
                </a:cubicBezTo>
                <a:cubicBezTo>
                  <a:pt x="2153349" y="605677"/>
                  <a:pt x="2149989" y="596017"/>
                  <a:pt x="2146209" y="586777"/>
                </a:cubicBezTo>
                <a:cubicBezTo>
                  <a:pt x="2142429" y="577538"/>
                  <a:pt x="2137390" y="567458"/>
                  <a:pt x="2131930" y="556539"/>
                </a:cubicBezTo>
                <a:cubicBezTo>
                  <a:pt x="2129410" y="551079"/>
                  <a:pt x="2125210" y="545199"/>
                  <a:pt x="2120590" y="538479"/>
                </a:cubicBezTo>
                <a:cubicBezTo>
                  <a:pt x="2115971" y="531760"/>
                  <a:pt x="2110091" y="525460"/>
                  <a:pt x="2103791" y="520420"/>
                </a:cubicBezTo>
                <a:cubicBezTo>
                  <a:pt x="2097491" y="514960"/>
                  <a:pt x="2090772" y="511601"/>
                  <a:pt x="2083632" y="509501"/>
                </a:cubicBezTo>
                <a:cubicBezTo>
                  <a:pt x="2076492" y="507821"/>
                  <a:pt x="2069352" y="509501"/>
                  <a:pt x="2062213" y="514540"/>
                </a:cubicBezTo>
                <a:cubicBezTo>
                  <a:pt x="2058853" y="517060"/>
                  <a:pt x="2055493" y="522100"/>
                  <a:pt x="2051713" y="529240"/>
                </a:cubicBezTo>
                <a:cubicBezTo>
                  <a:pt x="2047933" y="536380"/>
                  <a:pt x="2044574" y="544359"/>
                  <a:pt x="2041634" y="553179"/>
                </a:cubicBezTo>
                <a:cubicBezTo>
                  <a:pt x="2038274" y="561579"/>
                  <a:pt x="2035334" y="569978"/>
                  <a:pt x="2032394" y="577958"/>
                </a:cubicBezTo>
                <a:cubicBezTo>
                  <a:pt x="2029454" y="585937"/>
                  <a:pt x="2027354" y="591817"/>
                  <a:pt x="2025674" y="596017"/>
                </a:cubicBezTo>
                <a:cubicBezTo>
                  <a:pt x="2023154" y="601897"/>
                  <a:pt x="2019375" y="609876"/>
                  <a:pt x="2014755" y="619116"/>
                </a:cubicBezTo>
                <a:cubicBezTo>
                  <a:pt x="2010135" y="628776"/>
                  <a:pt x="2005515" y="638435"/>
                  <a:pt x="2001316" y="648515"/>
                </a:cubicBezTo>
                <a:cubicBezTo>
                  <a:pt x="1997116" y="658594"/>
                  <a:pt x="1993336" y="668674"/>
                  <a:pt x="1990396" y="678333"/>
                </a:cubicBezTo>
                <a:cubicBezTo>
                  <a:pt x="1987456" y="687993"/>
                  <a:pt x="1986196" y="695553"/>
                  <a:pt x="1986196" y="701432"/>
                </a:cubicBezTo>
                <a:cubicBezTo>
                  <a:pt x="1980736" y="714452"/>
                  <a:pt x="1974437" y="727891"/>
                  <a:pt x="1966457" y="742171"/>
                </a:cubicBezTo>
                <a:cubicBezTo>
                  <a:pt x="1958477" y="756450"/>
                  <a:pt x="1950918" y="771149"/>
                  <a:pt x="1943778" y="786269"/>
                </a:cubicBezTo>
                <a:cubicBezTo>
                  <a:pt x="1936638" y="801388"/>
                  <a:pt x="1930758" y="816927"/>
                  <a:pt x="1926139" y="832887"/>
                </a:cubicBezTo>
                <a:cubicBezTo>
                  <a:pt x="1921519" y="848846"/>
                  <a:pt x="1919839" y="865225"/>
                  <a:pt x="1921519" y="881605"/>
                </a:cubicBezTo>
                <a:cubicBezTo>
                  <a:pt x="1922359" y="890424"/>
                  <a:pt x="1924459" y="898824"/>
                  <a:pt x="1927819" y="906804"/>
                </a:cubicBezTo>
                <a:cubicBezTo>
                  <a:pt x="1931178" y="914783"/>
                  <a:pt x="1935798" y="921923"/>
                  <a:pt x="1941678" y="927803"/>
                </a:cubicBezTo>
                <a:cubicBezTo>
                  <a:pt x="1950078" y="933263"/>
                  <a:pt x="1957217" y="934942"/>
                  <a:pt x="1963097" y="933263"/>
                </a:cubicBezTo>
                <a:moveTo>
                  <a:pt x="2089512" y="624576"/>
                </a:moveTo>
                <a:cubicBezTo>
                  <a:pt x="2089092" y="630036"/>
                  <a:pt x="2089932" y="638015"/>
                  <a:pt x="2092451" y="648095"/>
                </a:cubicBezTo>
                <a:cubicBezTo>
                  <a:pt x="2094971" y="658174"/>
                  <a:pt x="2097491" y="668674"/>
                  <a:pt x="2100011" y="679173"/>
                </a:cubicBezTo>
                <a:cubicBezTo>
                  <a:pt x="2102531" y="689673"/>
                  <a:pt x="2104631" y="699752"/>
                  <a:pt x="2106311" y="709412"/>
                </a:cubicBezTo>
                <a:cubicBezTo>
                  <a:pt x="2107571" y="719072"/>
                  <a:pt x="2107571" y="725791"/>
                  <a:pt x="2105891" y="730411"/>
                </a:cubicBezTo>
                <a:cubicBezTo>
                  <a:pt x="2103791" y="731671"/>
                  <a:pt x="2099171" y="732931"/>
                  <a:pt x="2091192" y="734191"/>
                </a:cubicBezTo>
                <a:cubicBezTo>
                  <a:pt x="2083632" y="735451"/>
                  <a:pt x="2075652" y="736711"/>
                  <a:pt x="2067673" y="737551"/>
                </a:cubicBezTo>
                <a:cubicBezTo>
                  <a:pt x="2059693" y="738391"/>
                  <a:pt x="2052133" y="738811"/>
                  <a:pt x="2045834" y="738811"/>
                </a:cubicBezTo>
                <a:cubicBezTo>
                  <a:pt x="2039534" y="738811"/>
                  <a:pt x="2036594" y="737971"/>
                  <a:pt x="2037014" y="735871"/>
                </a:cubicBezTo>
                <a:cubicBezTo>
                  <a:pt x="2042474" y="718652"/>
                  <a:pt x="2049193" y="700173"/>
                  <a:pt x="2056333" y="679593"/>
                </a:cubicBezTo>
                <a:cubicBezTo>
                  <a:pt x="2063893" y="659014"/>
                  <a:pt x="2072292" y="640955"/>
                  <a:pt x="2081532" y="624996"/>
                </a:cubicBezTo>
                <a:lnTo>
                  <a:pt x="2089512" y="624576"/>
                </a:lnTo>
                <a:close/>
                <a:moveTo>
                  <a:pt x="2428437" y="757710"/>
                </a:moveTo>
                <a:cubicBezTo>
                  <a:pt x="2432637" y="758550"/>
                  <a:pt x="2436417" y="759390"/>
                  <a:pt x="2439777" y="760650"/>
                </a:cubicBezTo>
                <a:cubicBezTo>
                  <a:pt x="2449016" y="763590"/>
                  <a:pt x="2459096" y="767370"/>
                  <a:pt x="2470435" y="771989"/>
                </a:cubicBezTo>
                <a:cubicBezTo>
                  <a:pt x="2481775" y="776609"/>
                  <a:pt x="2491014" y="782489"/>
                  <a:pt x="2498574" y="790049"/>
                </a:cubicBezTo>
                <a:cubicBezTo>
                  <a:pt x="2505294" y="796348"/>
                  <a:pt x="2512854" y="803068"/>
                  <a:pt x="2521253" y="809368"/>
                </a:cubicBezTo>
                <a:cubicBezTo>
                  <a:pt x="2529653" y="815668"/>
                  <a:pt x="2538472" y="821547"/>
                  <a:pt x="2548132" y="826167"/>
                </a:cubicBezTo>
                <a:cubicBezTo>
                  <a:pt x="2557372" y="830787"/>
                  <a:pt x="2567451" y="834567"/>
                  <a:pt x="2577531" y="837087"/>
                </a:cubicBezTo>
                <a:cubicBezTo>
                  <a:pt x="2587610" y="839607"/>
                  <a:pt x="2598110" y="840446"/>
                  <a:pt x="2608609" y="839186"/>
                </a:cubicBezTo>
                <a:cubicBezTo>
                  <a:pt x="2617849" y="838346"/>
                  <a:pt x="2626669" y="835407"/>
                  <a:pt x="2634648" y="830787"/>
                </a:cubicBezTo>
                <a:cubicBezTo>
                  <a:pt x="2642208" y="826587"/>
                  <a:pt x="2647668" y="821967"/>
                  <a:pt x="2651027" y="816087"/>
                </a:cubicBezTo>
                <a:cubicBezTo>
                  <a:pt x="2654388" y="810208"/>
                  <a:pt x="2655227" y="804328"/>
                  <a:pt x="2654388" y="798868"/>
                </a:cubicBezTo>
                <a:cubicBezTo>
                  <a:pt x="2653547" y="792988"/>
                  <a:pt x="2650608" y="787529"/>
                  <a:pt x="2645988" y="782489"/>
                </a:cubicBezTo>
                <a:cubicBezTo>
                  <a:pt x="2641368" y="777449"/>
                  <a:pt x="2635488" y="773249"/>
                  <a:pt x="2627509" y="769889"/>
                </a:cubicBezTo>
                <a:cubicBezTo>
                  <a:pt x="2624149" y="768630"/>
                  <a:pt x="2620789" y="768630"/>
                  <a:pt x="2616589" y="769049"/>
                </a:cubicBezTo>
                <a:cubicBezTo>
                  <a:pt x="2612809" y="769889"/>
                  <a:pt x="2609449" y="768630"/>
                  <a:pt x="2606509" y="766110"/>
                </a:cubicBezTo>
                <a:cubicBezTo>
                  <a:pt x="2597270" y="758970"/>
                  <a:pt x="2588030" y="752670"/>
                  <a:pt x="2577951" y="746790"/>
                </a:cubicBezTo>
                <a:cubicBezTo>
                  <a:pt x="2567871" y="740911"/>
                  <a:pt x="2557792" y="735451"/>
                  <a:pt x="2547712" y="729991"/>
                </a:cubicBezTo>
                <a:cubicBezTo>
                  <a:pt x="2537212" y="724531"/>
                  <a:pt x="2527133" y="719492"/>
                  <a:pt x="2516633" y="714032"/>
                </a:cubicBezTo>
                <a:cubicBezTo>
                  <a:pt x="2506554" y="708572"/>
                  <a:pt x="2496474" y="702692"/>
                  <a:pt x="2487234" y="695973"/>
                </a:cubicBezTo>
                <a:cubicBezTo>
                  <a:pt x="2498994" y="695553"/>
                  <a:pt x="2509914" y="690933"/>
                  <a:pt x="2519573" y="682953"/>
                </a:cubicBezTo>
                <a:cubicBezTo>
                  <a:pt x="2529233" y="674553"/>
                  <a:pt x="2537212" y="664054"/>
                  <a:pt x="2543932" y="650615"/>
                </a:cubicBezTo>
                <a:cubicBezTo>
                  <a:pt x="2550652" y="637175"/>
                  <a:pt x="2555692" y="622476"/>
                  <a:pt x="2559471" y="606517"/>
                </a:cubicBezTo>
                <a:cubicBezTo>
                  <a:pt x="2563251" y="590557"/>
                  <a:pt x="2564931" y="574598"/>
                  <a:pt x="2565351" y="558639"/>
                </a:cubicBezTo>
                <a:cubicBezTo>
                  <a:pt x="2565771" y="542679"/>
                  <a:pt x="2564091" y="527980"/>
                  <a:pt x="2560731" y="514121"/>
                </a:cubicBezTo>
                <a:cubicBezTo>
                  <a:pt x="2557372" y="500261"/>
                  <a:pt x="2551912" y="489342"/>
                  <a:pt x="2543932" y="480522"/>
                </a:cubicBezTo>
                <a:cubicBezTo>
                  <a:pt x="2536372" y="472122"/>
                  <a:pt x="2526713" y="467083"/>
                  <a:pt x="2514533" y="465403"/>
                </a:cubicBezTo>
                <a:cubicBezTo>
                  <a:pt x="2502354" y="463723"/>
                  <a:pt x="2488075" y="467502"/>
                  <a:pt x="2471695" y="476742"/>
                </a:cubicBezTo>
                <a:cubicBezTo>
                  <a:pt x="2468335" y="476322"/>
                  <a:pt x="2464556" y="477582"/>
                  <a:pt x="2460776" y="480522"/>
                </a:cubicBezTo>
                <a:cubicBezTo>
                  <a:pt x="2456996" y="483462"/>
                  <a:pt x="2453216" y="487242"/>
                  <a:pt x="2449856" y="491441"/>
                </a:cubicBezTo>
                <a:cubicBezTo>
                  <a:pt x="2446076" y="495641"/>
                  <a:pt x="2442717" y="500261"/>
                  <a:pt x="2439357" y="504881"/>
                </a:cubicBezTo>
                <a:cubicBezTo>
                  <a:pt x="2435997" y="509501"/>
                  <a:pt x="2432637" y="513281"/>
                  <a:pt x="2430117" y="515800"/>
                </a:cubicBezTo>
                <a:cubicBezTo>
                  <a:pt x="2427177" y="518740"/>
                  <a:pt x="2423817" y="520840"/>
                  <a:pt x="2420037" y="522100"/>
                </a:cubicBezTo>
                <a:cubicBezTo>
                  <a:pt x="2416258" y="523780"/>
                  <a:pt x="2412898" y="525040"/>
                  <a:pt x="2409958" y="526720"/>
                </a:cubicBezTo>
                <a:cubicBezTo>
                  <a:pt x="2407018" y="528400"/>
                  <a:pt x="2404078" y="530080"/>
                  <a:pt x="2401558" y="532600"/>
                </a:cubicBezTo>
                <a:cubicBezTo>
                  <a:pt x="2399038" y="534700"/>
                  <a:pt x="2397359" y="538479"/>
                  <a:pt x="2396938" y="543099"/>
                </a:cubicBezTo>
                <a:cubicBezTo>
                  <a:pt x="2394838" y="554859"/>
                  <a:pt x="2392319" y="566198"/>
                  <a:pt x="2388959" y="576698"/>
                </a:cubicBezTo>
                <a:cubicBezTo>
                  <a:pt x="2385599" y="587197"/>
                  <a:pt x="2382239" y="597697"/>
                  <a:pt x="2378459" y="608196"/>
                </a:cubicBezTo>
                <a:cubicBezTo>
                  <a:pt x="2374679" y="618696"/>
                  <a:pt x="2370900" y="629195"/>
                  <a:pt x="2367120" y="639695"/>
                </a:cubicBezTo>
                <a:cubicBezTo>
                  <a:pt x="2363340" y="650195"/>
                  <a:pt x="2359980" y="661114"/>
                  <a:pt x="2356620" y="672454"/>
                </a:cubicBezTo>
                <a:cubicBezTo>
                  <a:pt x="2352420" y="685893"/>
                  <a:pt x="2349061" y="700173"/>
                  <a:pt x="2346961" y="714452"/>
                </a:cubicBezTo>
                <a:cubicBezTo>
                  <a:pt x="2344861" y="728731"/>
                  <a:pt x="2342341" y="742591"/>
                  <a:pt x="2338561" y="755610"/>
                </a:cubicBezTo>
                <a:cubicBezTo>
                  <a:pt x="2337301" y="760230"/>
                  <a:pt x="2335201" y="767790"/>
                  <a:pt x="2332261" y="779129"/>
                </a:cubicBezTo>
                <a:cubicBezTo>
                  <a:pt x="2329321" y="790469"/>
                  <a:pt x="2325962" y="803068"/>
                  <a:pt x="2323022" y="817347"/>
                </a:cubicBezTo>
                <a:cubicBezTo>
                  <a:pt x="2319662" y="831627"/>
                  <a:pt x="2317142" y="846326"/>
                  <a:pt x="2315042" y="861445"/>
                </a:cubicBezTo>
                <a:cubicBezTo>
                  <a:pt x="2312942" y="876565"/>
                  <a:pt x="2312522" y="890424"/>
                  <a:pt x="2313782" y="902604"/>
                </a:cubicBezTo>
                <a:cubicBezTo>
                  <a:pt x="2315042" y="914783"/>
                  <a:pt x="2317982" y="924863"/>
                  <a:pt x="2323022" y="932003"/>
                </a:cubicBezTo>
                <a:cubicBezTo>
                  <a:pt x="2328061" y="939562"/>
                  <a:pt x="2336461" y="942502"/>
                  <a:pt x="2347381" y="941662"/>
                </a:cubicBezTo>
                <a:cubicBezTo>
                  <a:pt x="2355780" y="940822"/>
                  <a:pt x="2362080" y="937882"/>
                  <a:pt x="2367120" y="932842"/>
                </a:cubicBezTo>
                <a:cubicBezTo>
                  <a:pt x="2372160" y="927803"/>
                  <a:pt x="2375939" y="921923"/>
                  <a:pt x="2378459" y="914783"/>
                </a:cubicBezTo>
                <a:cubicBezTo>
                  <a:pt x="2381399" y="907643"/>
                  <a:pt x="2382659" y="899664"/>
                  <a:pt x="2383499" y="891264"/>
                </a:cubicBezTo>
                <a:cubicBezTo>
                  <a:pt x="2384339" y="882865"/>
                  <a:pt x="2384759" y="874465"/>
                  <a:pt x="2384339" y="866485"/>
                </a:cubicBezTo>
                <a:cubicBezTo>
                  <a:pt x="2384339" y="859766"/>
                  <a:pt x="2385599" y="850946"/>
                  <a:pt x="2388119" y="840446"/>
                </a:cubicBezTo>
                <a:cubicBezTo>
                  <a:pt x="2390639" y="829947"/>
                  <a:pt x="2393579" y="819027"/>
                  <a:pt x="2396938" y="808108"/>
                </a:cubicBezTo>
                <a:cubicBezTo>
                  <a:pt x="2400718" y="796768"/>
                  <a:pt x="2404498" y="786269"/>
                  <a:pt x="2408698" y="775349"/>
                </a:cubicBezTo>
                <a:cubicBezTo>
                  <a:pt x="2412898" y="764850"/>
                  <a:pt x="2416678" y="755610"/>
                  <a:pt x="2420458" y="748470"/>
                </a:cubicBezTo>
                <a:cubicBezTo>
                  <a:pt x="2421717" y="754350"/>
                  <a:pt x="2424237" y="756870"/>
                  <a:pt x="2428437" y="757710"/>
                </a:cubicBezTo>
                <a:moveTo>
                  <a:pt x="2460776" y="649355"/>
                </a:moveTo>
                <a:cubicBezTo>
                  <a:pt x="2458256" y="653135"/>
                  <a:pt x="2455316" y="656494"/>
                  <a:pt x="2452376" y="659434"/>
                </a:cubicBezTo>
                <a:cubicBezTo>
                  <a:pt x="2449436" y="661954"/>
                  <a:pt x="2446496" y="664054"/>
                  <a:pt x="2443976" y="664894"/>
                </a:cubicBezTo>
                <a:cubicBezTo>
                  <a:pt x="2441036" y="665734"/>
                  <a:pt x="2438937" y="665314"/>
                  <a:pt x="2437257" y="663214"/>
                </a:cubicBezTo>
                <a:cubicBezTo>
                  <a:pt x="2433477" y="659434"/>
                  <a:pt x="2432637" y="653554"/>
                  <a:pt x="2434317" y="645995"/>
                </a:cubicBezTo>
                <a:cubicBezTo>
                  <a:pt x="2435997" y="638435"/>
                  <a:pt x="2438937" y="630876"/>
                  <a:pt x="2443557" y="622476"/>
                </a:cubicBezTo>
                <a:cubicBezTo>
                  <a:pt x="2447756" y="614076"/>
                  <a:pt x="2452796" y="606937"/>
                  <a:pt x="2458256" y="600217"/>
                </a:cubicBezTo>
                <a:cubicBezTo>
                  <a:pt x="2463716" y="593497"/>
                  <a:pt x="2468335" y="588877"/>
                  <a:pt x="2472115" y="586357"/>
                </a:cubicBezTo>
                <a:cubicBezTo>
                  <a:pt x="2472115" y="595177"/>
                  <a:pt x="2472535" y="603997"/>
                  <a:pt x="2472955" y="612396"/>
                </a:cubicBezTo>
                <a:cubicBezTo>
                  <a:pt x="2473375" y="620796"/>
                  <a:pt x="2471275" y="629195"/>
                  <a:pt x="2467075" y="638015"/>
                </a:cubicBezTo>
                <a:cubicBezTo>
                  <a:pt x="2465396" y="641375"/>
                  <a:pt x="2463296" y="645575"/>
                  <a:pt x="2460776" y="649355"/>
                </a:cubicBezTo>
                <a:moveTo>
                  <a:pt x="2831200" y="496901"/>
                </a:moveTo>
                <a:cubicBezTo>
                  <a:pt x="2816500" y="506141"/>
                  <a:pt x="2803061" y="517480"/>
                  <a:pt x="2790882" y="531340"/>
                </a:cubicBezTo>
                <a:cubicBezTo>
                  <a:pt x="2778702" y="545199"/>
                  <a:pt x="2767783" y="560738"/>
                  <a:pt x="2758543" y="578378"/>
                </a:cubicBezTo>
                <a:cubicBezTo>
                  <a:pt x="2748883" y="595597"/>
                  <a:pt x="2741324" y="613656"/>
                  <a:pt x="2735444" y="631716"/>
                </a:cubicBezTo>
                <a:cubicBezTo>
                  <a:pt x="2729564" y="650195"/>
                  <a:pt x="2725784" y="668254"/>
                  <a:pt x="2723685" y="685893"/>
                </a:cubicBezTo>
                <a:cubicBezTo>
                  <a:pt x="2722004" y="703532"/>
                  <a:pt x="2722424" y="719492"/>
                  <a:pt x="2725364" y="734191"/>
                </a:cubicBezTo>
                <a:cubicBezTo>
                  <a:pt x="2728304" y="752250"/>
                  <a:pt x="2735864" y="769049"/>
                  <a:pt x="2748043" y="784169"/>
                </a:cubicBezTo>
                <a:cubicBezTo>
                  <a:pt x="2760223" y="799288"/>
                  <a:pt x="2774082" y="810208"/>
                  <a:pt x="2790882" y="817767"/>
                </a:cubicBezTo>
                <a:cubicBezTo>
                  <a:pt x="2807261" y="825327"/>
                  <a:pt x="2824900" y="828267"/>
                  <a:pt x="2843799" y="826587"/>
                </a:cubicBezTo>
                <a:cubicBezTo>
                  <a:pt x="2862698" y="824907"/>
                  <a:pt x="2880338" y="816927"/>
                  <a:pt x="2896297" y="802648"/>
                </a:cubicBezTo>
                <a:cubicBezTo>
                  <a:pt x="2901757" y="798028"/>
                  <a:pt x="2908056" y="793409"/>
                  <a:pt x="2915616" y="788789"/>
                </a:cubicBezTo>
                <a:cubicBezTo>
                  <a:pt x="2923176" y="784169"/>
                  <a:pt x="2930315" y="779129"/>
                  <a:pt x="2937455" y="773669"/>
                </a:cubicBezTo>
                <a:cubicBezTo>
                  <a:pt x="2944175" y="768210"/>
                  <a:pt x="2950055" y="761910"/>
                  <a:pt x="2954254" y="755190"/>
                </a:cubicBezTo>
                <a:cubicBezTo>
                  <a:pt x="2958454" y="748470"/>
                  <a:pt x="2960134" y="740071"/>
                  <a:pt x="2959294" y="730831"/>
                </a:cubicBezTo>
                <a:cubicBezTo>
                  <a:pt x="2958454" y="724112"/>
                  <a:pt x="2955514" y="719492"/>
                  <a:pt x="2949635" y="717392"/>
                </a:cubicBezTo>
                <a:cubicBezTo>
                  <a:pt x="2943755" y="715292"/>
                  <a:pt x="2937035" y="714872"/>
                  <a:pt x="2929056" y="715712"/>
                </a:cubicBezTo>
                <a:cubicBezTo>
                  <a:pt x="2921076" y="716552"/>
                  <a:pt x="2912256" y="718652"/>
                  <a:pt x="2903017" y="721592"/>
                </a:cubicBezTo>
                <a:cubicBezTo>
                  <a:pt x="2893777" y="724531"/>
                  <a:pt x="2884538" y="727471"/>
                  <a:pt x="2876138" y="731251"/>
                </a:cubicBezTo>
                <a:cubicBezTo>
                  <a:pt x="2867738" y="734611"/>
                  <a:pt x="2860599" y="737971"/>
                  <a:pt x="2854299" y="740911"/>
                </a:cubicBezTo>
                <a:cubicBezTo>
                  <a:pt x="2847999" y="743851"/>
                  <a:pt x="2844219" y="745111"/>
                  <a:pt x="2842539" y="745531"/>
                </a:cubicBezTo>
                <a:cubicBezTo>
                  <a:pt x="2831200" y="748050"/>
                  <a:pt x="2822380" y="746790"/>
                  <a:pt x="2816081" y="743011"/>
                </a:cubicBezTo>
                <a:cubicBezTo>
                  <a:pt x="2809781" y="739231"/>
                  <a:pt x="2805161" y="733351"/>
                  <a:pt x="2802641" y="726211"/>
                </a:cubicBezTo>
                <a:cubicBezTo>
                  <a:pt x="2800121" y="718652"/>
                  <a:pt x="2798861" y="710252"/>
                  <a:pt x="2798861" y="700173"/>
                </a:cubicBezTo>
                <a:cubicBezTo>
                  <a:pt x="2799281" y="690093"/>
                  <a:pt x="2800541" y="680013"/>
                  <a:pt x="2802641" y="670354"/>
                </a:cubicBezTo>
                <a:cubicBezTo>
                  <a:pt x="2804741" y="660694"/>
                  <a:pt x="2807681" y="651035"/>
                  <a:pt x="2810621" y="642635"/>
                </a:cubicBezTo>
                <a:cubicBezTo>
                  <a:pt x="2813561" y="633815"/>
                  <a:pt x="2816920" y="627096"/>
                  <a:pt x="2819860" y="622056"/>
                </a:cubicBezTo>
                <a:cubicBezTo>
                  <a:pt x="2826160" y="610716"/>
                  <a:pt x="2832880" y="600217"/>
                  <a:pt x="2838759" y="590137"/>
                </a:cubicBezTo>
                <a:cubicBezTo>
                  <a:pt x="2844639" y="580058"/>
                  <a:pt x="2851779" y="572078"/>
                  <a:pt x="2860179" y="566198"/>
                </a:cubicBezTo>
                <a:cubicBezTo>
                  <a:pt x="2868158" y="559898"/>
                  <a:pt x="2877818" y="556539"/>
                  <a:pt x="2889157" y="555279"/>
                </a:cubicBezTo>
                <a:cubicBezTo>
                  <a:pt x="2900497" y="554439"/>
                  <a:pt x="2914356" y="556959"/>
                  <a:pt x="2931576" y="563258"/>
                </a:cubicBezTo>
                <a:cubicBezTo>
                  <a:pt x="2938295" y="561998"/>
                  <a:pt x="2943335" y="559058"/>
                  <a:pt x="2946275" y="554859"/>
                </a:cubicBezTo>
                <a:cubicBezTo>
                  <a:pt x="2949215" y="550659"/>
                  <a:pt x="2950895" y="546039"/>
                  <a:pt x="2951735" y="540579"/>
                </a:cubicBezTo>
                <a:cubicBezTo>
                  <a:pt x="2952155" y="535120"/>
                  <a:pt x="2951735" y="529240"/>
                  <a:pt x="2950475" y="523360"/>
                </a:cubicBezTo>
                <a:cubicBezTo>
                  <a:pt x="2949215" y="517480"/>
                  <a:pt x="2947115" y="511601"/>
                  <a:pt x="2945015" y="506561"/>
                </a:cubicBezTo>
                <a:cubicBezTo>
                  <a:pt x="2942495" y="501101"/>
                  <a:pt x="2939135" y="496481"/>
                  <a:pt x="2933676" y="493121"/>
                </a:cubicBezTo>
                <a:cubicBezTo>
                  <a:pt x="2928636" y="489761"/>
                  <a:pt x="2922756" y="486822"/>
                  <a:pt x="2916456" y="485142"/>
                </a:cubicBezTo>
                <a:cubicBezTo>
                  <a:pt x="2910156" y="483462"/>
                  <a:pt x="2903437" y="482202"/>
                  <a:pt x="2896717" y="481362"/>
                </a:cubicBezTo>
                <a:cubicBezTo>
                  <a:pt x="2889997" y="480942"/>
                  <a:pt x="2883698" y="480942"/>
                  <a:pt x="2878238" y="481362"/>
                </a:cubicBezTo>
                <a:cubicBezTo>
                  <a:pt x="2861018" y="482202"/>
                  <a:pt x="2845899" y="487662"/>
                  <a:pt x="2831200" y="496901"/>
                </a:cubicBezTo>
                <a:moveTo>
                  <a:pt x="3248662" y="421725"/>
                </a:moveTo>
                <a:cubicBezTo>
                  <a:pt x="3238582" y="427604"/>
                  <a:pt x="3232283" y="437264"/>
                  <a:pt x="3229763" y="451543"/>
                </a:cubicBezTo>
                <a:cubicBezTo>
                  <a:pt x="3227663" y="461623"/>
                  <a:pt x="3226403" y="471702"/>
                  <a:pt x="3225983" y="481362"/>
                </a:cubicBezTo>
                <a:cubicBezTo>
                  <a:pt x="3225563" y="491022"/>
                  <a:pt x="3225143" y="500681"/>
                  <a:pt x="3224723" y="510341"/>
                </a:cubicBezTo>
                <a:cubicBezTo>
                  <a:pt x="3224303" y="520000"/>
                  <a:pt x="3223883" y="529660"/>
                  <a:pt x="3223043" y="539739"/>
                </a:cubicBezTo>
                <a:cubicBezTo>
                  <a:pt x="3222203" y="549399"/>
                  <a:pt x="3220103" y="559058"/>
                  <a:pt x="3217163" y="568298"/>
                </a:cubicBezTo>
                <a:cubicBezTo>
                  <a:pt x="3213383" y="569138"/>
                  <a:pt x="3207924" y="569978"/>
                  <a:pt x="3201204" y="571238"/>
                </a:cubicBezTo>
                <a:cubicBezTo>
                  <a:pt x="3194484" y="572078"/>
                  <a:pt x="3187344" y="573338"/>
                  <a:pt x="3180625" y="574178"/>
                </a:cubicBezTo>
                <a:cubicBezTo>
                  <a:pt x="3173485" y="575018"/>
                  <a:pt x="3167185" y="575858"/>
                  <a:pt x="3160466" y="576278"/>
                </a:cubicBezTo>
                <a:cubicBezTo>
                  <a:pt x="3154166" y="576698"/>
                  <a:pt x="3149546" y="576698"/>
                  <a:pt x="3146186" y="576278"/>
                </a:cubicBezTo>
                <a:cubicBezTo>
                  <a:pt x="3143246" y="566198"/>
                  <a:pt x="3141567" y="556539"/>
                  <a:pt x="3141567" y="547719"/>
                </a:cubicBezTo>
                <a:cubicBezTo>
                  <a:pt x="3141146" y="538899"/>
                  <a:pt x="3141567" y="530500"/>
                  <a:pt x="3142406" y="522520"/>
                </a:cubicBezTo>
                <a:cubicBezTo>
                  <a:pt x="3143246" y="514540"/>
                  <a:pt x="3144086" y="506141"/>
                  <a:pt x="3144926" y="497741"/>
                </a:cubicBezTo>
                <a:cubicBezTo>
                  <a:pt x="3145766" y="489342"/>
                  <a:pt x="3146186" y="480102"/>
                  <a:pt x="3145766" y="470442"/>
                </a:cubicBezTo>
                <a:cubicBezTo>
                  <a:pt x="3145766" y="466243"/>
                  <a:pt x="3143666" y="462043"/>
                  <a:pt x="3139887" y="458683"/>
                </a:cubicBezTo>
                <a:cubicBezTo>
                  <a:pt x="3136107" y="454903"/>
                  <a:pt x="3131907" y="451963"/>
                  <a:pt x="3126867" y="449863"/>
                </a:cubicBezTo>
                <a:cubicBezTo>
                  <a:pt x="3121827" y="447763"/>
                  <a:pt x="3116788" y="446083"/>
                  <a:pt x="3111328" y="445663"/>
                </a:cubicBezTo>
                <a:cubicBezTo>
                  <a:pt x="3105868" y="444824"/>
                  <a:pt x="3101668" y="445243"/>
                  <a:pt x="3098728" y="446923"/>
                </a:cubicBezTo>
                <a:cubicBezTo>
                  <a:pt x="3092849" y="449443"/>
                  <a:pt x="3088229" y="454483"/>
                  <a:pt x="3085289" y="462043"/>
                </a:cubicBezTo>
                <a:cubicBezTo>
                  <a:pt x="3082349" y="469602"/>
                  <a:pt x="3080249" y="478002"/>
                  <a:pt x="3078989" y="487242"/>
                </a:cubicBezTo>
                <a:cubicBezTo>
                  <a:pt x="3077729" y="496481"/>
                  <a:pt x="3077309" y="505301"/>
                  <a:pt x="3077729" y="514121"/>
                </a:cubicBezTo>
                <a:cubicBezTo>
                  <a:pt x="3078149" y="522940"/>
                  <a:pt x="3078569" y="529660"/>
                  <a:pt x="3078989" y="534280"/>
                </a:cubicBezTo>
                <a:cubicBezTo>
                  <a:pt x="3080249" y="544359"/>
                  <a:pt x="3080669" y="554439"/>
                  <a:pt x="3079829" y="564098"/>
                </a:cubicBezTo>
                <a:cubicBezTo>
                  <a:pt x="3078989" y="574178"/>
                  <a:pt x="3077729" y="583837"/>
                  <a:pt x="3076049" y="593917"/>
                </a:cubicBezTo>
                <a:cubicBezTo>
                  <a:pt x="3074789" y="603997"/>
                  <a:pt x="3073109" y="614076"/>
                  <a:pt x="3072270" y="624576"/>
                </a:cubicBezTo>
                <a:cubicBezTo>
                  <a:pt x="3071009" y="634655"/>
                  <a:pt x="3071009" y="645155"/>
                  <a:pt x="3071430" y="655234"/>
                </a:cubicBezTo>
                <a:cubicBezTo>
                  <a:pt x="3071849" y="659854"/>
                  <a:pt x="3072270" y="665734"/>
                  <a:pt x="3072689" y="672034"/>
                </a:cubicBezTo>
                <a:cubicBezTo>
                  <a:pt x="3073109" y="678333"/>
                  <a:pt x="3073109" y="685053"/>
                  <a:pt x="3073529" y="691353"/>
                </a:cubicBezTo>
                <a:cubicBezTo>
                  <a:pt x="3073529" y="698073"/>
                  <a:pt x="3073529" y="703952"/>
                  <a:pt x="3073949" y="709412"/>
                </a:cubicBezTo>
                <a:cubicBezTo>
                  <a:pt x="3073949" y="714872"/>
                  <a:pt x="3073529" y="719072"/>
                  <a:pt x="3072689" y="722012"/>
                </a:cubicBezTo>
                <a:cubicBezTo>
                  <a:pt x="3071849" y="724951"/>
                  <a:pt x="3071430" y="729151"/>
                  <a:pt x="3071849" y="734611"/>
                </a:cubicBezTo>
                <a:cubicBezTo>
                  <a:pt x="3071849" y="740071"/>
                  <a:pt x="3072689" y="745950"/>
                  <a:pt x="3073529" y="752250"/>
                </a:cubicBezTo>
                <a:cubicBezTo>
                  <a:pt x="3074369" y="758550"/>
                  <a:pt x="3075209" y="764430"/>
                  <a:pt x="3076469" y="769889"/>
                </a:cubicBezTo>
                <a:cubicBezTo>
                  <a:pt x="3077729" y="775349"/>
                  <a:pt x="3078989" y="779549"/>
                  <a:pt x="3080249" y="781649"/>
                </a:cubicBezTo>
                <a:cubicBezTo>
                  <a:pt x="3085289" y="791729"/>
                  <a:pt x="3092008" y="798868"/>
                  <a:pt x="3100408" y="803908"/>
                </a:cubicBezTo>
                <a:cubicBezTo>
                  <a:pt x="3108808" y="808528"/>
                  <a:pt x="3116788" y="810628"/>
                  <a:pt x="3125187" y="809788"/>
                </a:cubicBezTo>
                <a:cubicBezTo>
                  <a:pt x="3133167" y="808948"/>
                  <a:pt x="3140306" y="805168"/>
                  <a:pt x="3145766" y="798868"/>
                </a:cubicBezTo>
                <a:cubicBezTo>
                  <a:pt x="3151646" y="792569"/>
                  <a:pt x="3154166" y="782489"/>
                  <a:pt x="3153746" y="769470"/>
                </a:cubicBezTo>
                <a:cubicBezTo>
                  <a:pt x="3153746" y="764850"/>
                  <a:pt x="3153326" y="761490"/>
                  <a:pt x="3152486" y="758970"/>
                </a:cubicBezTo>
                <a:cubicBezTo>
                  <a:pt x="3152066" y="756870"/>
                  <a:pt x="3150806" y="754770"/>
                  <a:pt x="3149966" y="753090"/>
                </a:cubicBezTo>
                <a:cubicBezTo>
                  <a:pt x="3148706" y="751410"/>
                  <a:pt x="3147866" y="749730"/>
                  <a:pt x="3147026" y="747630"/>
                </a:cubicBezTo>
                <a:cubicBezTo>
                  <a:pt x="3146186" y="745531"/>
                  <a:pt x="3145346" y="742591"/>
                  <a:pt x="3144926" y="738391"/>
                </a:cubicBezTo>
                <a:cubicBezTo>
                  <a:pt x="3140727" y="710252"/>
                  <a:pt x="3139887" y="683373"/>
                  <a:pt x="3141986" y="657334"/>
                </a:cubicBezTo>
                <a:cubicBezTo>
                  <a:pt x="3155006" y="649775"/>
                  <a:pt x="3168025" y="644315"/>
                  <a:pt x="3181045" y="640955"/>
                </a:cubicBezTo>
                <a:cubicBezTo>
                  <a:pt x="3194064" y="637595"/>
                  <a:pt x="3207924" y="635495"/>
                  <a:pt x="3222623" y="634655"/>
                </a:cubicBezTo>
                <a:cubicBezTo>
                  <a:pt x="3223043" y="639275"/>
                  <a:pt x="3223463" y="643475"/>
                  <a:pt x="3224303" y="646835"/>
                </a:cubicBezTo>
                <a:cubicBezTo>
                  <a:pt x="3224723" y="650195"/>
                  <a:pt x="3224723" y="652715"/>
                  <a:pt x="3224723" y="653554"/>
                </a:cubicBezTo>
                <a:cubicBezTo>
                  <a:pt x="3226403" y="659434"/>
                  <a:pt x="3227243" y="665734"/>
                  <a:pt x="3226823" y="671614"/>
                </a:cubicBezTo>
                <a:cubicBezTo>
                  <a:pt x="3226403" y="677493"/>
                  <a:pt x="3225983" y="683793"/>
                  <a:pt x="3225563" y="689673"/>
                </a:cubicBezTo>
                <a:cubicBezTo>
                  <a:pt x="3225143" y="695553"/>
                  <a:pt x="3224723" y="701852"/>
                  <a:pt x="3224303" y="708152"/>
                </a:cubicBezTo>
                <a:cubicBezTo>
                  <a:pt x="3224303" y="714452"/>
                  <a:pt x="3225563" y="720332"/>
                  <a:pt x="3228503" y="726211"/>
                </a:cubicBezTo>
                <a:cubicBezTo>
                  <a:pt x="3230603" y="730411"/>
                  <a:pt x="3232702" y="735871"/>
                  <a:pt x="3235222" y="742171"/>
                </a:cubicBezTo>
                <a:cubicBezTo>
                  <a:pt x="3237742" y="748890"/>
                  <a:pt x="3241102" y="755190"/>
                  <a:pt x="3245302" y="760650"/>
                </a:cubicBezTo>
                <a:cubicBezTo>
                  <a:pt x="3249502" y="766530"/>
                  <a:pt x="3254122" y="771149"/>
                  <a:pt x="3260001" y="774089"/>
                </a:cubicBezTo>
                <a:cubicBezTo>
                  <a:pt x="3265461" y="777449"/>
                  <a:pt x="3272181" y="777449"/>
                  <a:pt x="3280161" y="774509"/>
                </a:cubicBezTo>
                <a:cubicBezTo>
                  <a:pt x="3282261" y="774089"/>
                  <a:pt x="3284780" y="772409"/>
                  <a:pt x="3287720" y="769889"/>
                </a:cubicBezTo>
                <a:cubicBezTo>
                  <a:pt x="3290660" y="767370"/>
                  <a:pt x="3293600" y="764010"/>
                  <a:pt x="3295700" y="759810"/>
                </a:cubicBezTo>
                <a:cubicBezTo>
                  <a:pt x="3298220" y="755610"/>
                  <a:pt x="3299900" y="750570"/>
                  <a:pt x="3301160" y="744271"/>
                </a:cubicBezTo>
                <a:cubicBezTo>
                  <a:pt x="3302420" y="738391"/>
                  <a:pt x="3302420" y="731251"/>
                  <a:pt x="3301160" y="723691"/>
                </a:cubicBezTo>
                <a:cubicBezTo>
                  <a:pt x="3299900" y="714872"/>
                  <a:pt x="3298640" y="707312"/>
                  <a:pt x="3298220" y="701432"/>
                </a:cubicBezTo>
                <a:cubicBezTo>
                  <a:pt x="3297380" y="695553"/>
                  <a:pt x="3296960" y="690093"/>
                  <a:pt x="3296540" y="685053"/>
                </a:cubicBezTo>
                <a:cubicBezTo>
                  <a:pt x="3296120" y="680013"/>
                  <a:pt x="3296120" y="674974"/>
                  <a:pt x="3295700" y="669514"/>
                </a:cubicBezTo>
                <a:cubicBezTo>
                  <a:pt x="3295700" y="664054"/>
                  <a:pt x="3295700" y="657754"/>
                  <a:pt x="3295700" y="650195"/>
                </a:cubicBezTo>
                <a:cubicBezTo>
                  <a:pt x="3295700" y="640535"/>
                  <a:pt x="3295280" y="631295"/>
                  <a:pt x="3294440" y="622056"/>
                </a:cubicBezTo>
                <a:cubicBezTo>
                  <a:pt x="3293600" y="612816"/>
                  <a:pt x="3292760" y="603157"/>
                  <a:pt x="3291920" y="593917"/>
                </a:cubicBezTo>
                <a:cubicBezTo>
                  <a:pt x="3291080" y="584678"/>
                  <a:pt x="3290660" y="575438"/>
                  <a:pt x="3290240" y="565778"/>
                </a:cubicBezTo>
                <a:cubicBezTo>
                  <a:pt x="3289820" y="556539"/>
                  <a:pt x="3289820" y="547299"/>
                  <a:pt x="3290660" y="537639"/>
                </a:cubicBezTo>
                <a:cubicBezTo>
                  <a:pt x="3290660" y="535120"/>
                  <a:pt x="3290660" y="530080"/>
                  <a:pt x="3290660" y="522940"/>
                </a:cubicBezTo>
                <a:cubicBezTo>
                  <a:pt x="3290660" y="515800"/>
                  <a:pt x="3290660" y="508241"/>
                  <a:pt x="3290240" y="500261"/>
                </a:cubicBezTo>
                <a:cubicBezTo>
                  <a:pt x="3290240" y="492281"/>
                  <a:pt x="3290240" y="484722"/>
                  <a:pt x="3290660" y="478422"/>
                </a:cubicBezTo>
                <a:cubicBezTo>
                  <a:pt x="3291080" y="471702"/>
                  <a:pt x="3291920" y="467923"/>
                  <a:pt x="3293180" y="466662"/>
                </a:cubicBezTo>
                <a:cubicBezTo>
                  <a:pt x="3296540" y="463303"/>
                  <a:pt x="3298640" y="459523"/>
                  <a:pt x="3299900" y="454903"/>
                </a:cubicBezTo>
                <a:cubicBezTo>
                  <a:pt x="3301160" y="450283"/>
                  <a:pt x="3301580" y="445663"/>
                  <a:pt x="3301160" y="441044"/>
                </a:cubicBezTo>
                <a:cubicBezTo>
                  <a:pt x="3300740" y="436424"/>
                  <a:pt x="3299060" y="432224"/>
                  <a:pt x="3296540" y="428864"/>
                </a:cubicBezTo>
                <a:cubicBezTo>
                  <a:pt x="3294020" y="425084"/>
                  <a:pt x="3290660" y="422564"/>
                  <a:pt x="3286040" y="420464"/>
                </a:cubicBezTo>
                <a:cubicBezTo>
                  <a:pt x="3271341" y="415425"/>
                  <a:pt x="3258741" y="415845"/>
                  <a:pt x="3248662" y="421725"/>
                </a:cubicBezTo>
                <a:moveTo>
                  <a:pt x="3685023" y="666994"/>
                </a:moveTo>
                <a:cubicBezTo>
                  <a:pt x="3686703" y="660694"/>
                  <a:pt x="3688383" y="653975"/>
                  <a:pt x="3689643" y="647675"/>
                </a:cubicBezTo>
                <a:cubicBezTo>
                  <a:pt x="3690903" y="641375"/>
                  <a:pt x="3691743" y="634235"/>
                  <a:pt x="3692163" y="626676"/>
                </a:cubicBezTo>
                <a:cubicBezTo>
                  <a:pt x="3693003" y="619116"/>
                  <a:pt x="3693423" y="609876"/>
                  <a:pt x="3693843" y="598957"/>
                </a:cubicBezTo>
                <a:cubicBezTo>
                  <a:pt x="3695523" y="592237"/>
                  <a:pt x="3697203" y="585097"/>
                  <a:pt x="3698463" y="578378"/>
                </a:cubicBezTo>
                <a:cubicBezTo>
                  <a:pt x="3699722" y="571658"/>
                  <a:pt x="3700982" y="564518"/>
                  <a:pt x="3701822" y="557379"/>
                </a:cubicBezTo>
                <a:cubicBezTo>
                  <a:pt x="3702662" y="553179"/>
                  <a:pt x="3702662" y="547719"/>
                  <a:pt x="3703082" y="541419"/>
                </a:cubicBezTo>
                <a:cubicBezTo>
                  <a:pt x="3703082" y="535120"/>
                  <a:pt x="3703502" y="528820"/>
                  <a:pt x="3703502" y="522520"/>
                </a:cubicBezTo>
                <a:cubicBezTo>
                  <a:pt x="3703502" y="516220"/>
                  <a:pt x="3704342" y="509921"/>
                  <a:pt x="3705602" y="504041"/>
                </a:cubicBezTo>
                <a:cubicBezTo>
                  <a:pt x="3706442" y="498161"/>
                  <a:pt x="3708122" y="493121"/>
                  <a:pt x="3710642" y="488922"/>
                </a:cubicBezTo>
                <a:cubicBezTo>
                  <a:pt x="3716522" y="477582"/>
                  <a:pt x="3719462" y="467083"/>
                  <a:pt x="3719042" y="456583"/>
                </a:cubicBezTo>
                <a:cubicBezTo>
                  <a:pt x="3718622" y="446503"/>
                  <a:pt x="3715682" y="437264"/>
                  <a:pt x="3711062" y="429284"/>
                </a:cubicBezTo>
                <a:cubicBezTo>
                  <a:pt x="3706022" y="421304"/>
                  <a:pt x="3699722" y="415425"/>
                  <a:pt x="3692163" y="410385"/>
                </a:cubicBezTo>
                <a:cubicBezTo>
                  <a:pt x="3684603" y="405765"/>
                  <a:pt x="3676623" y="403665"/>
                  <a:pt x="3668644" y="403665"/>
                </a:cubicBezTo>
                <a:cubicBezTo>
                  <a:pt x="3660664" y="404085"/>
                  <a:pt x="3653524" y="407025"/>
                  <a:pt x="3646805" y="412905"/>
                </a:cubicBezTo>
                <a:cubicBezTo>
                  <a:pt x="3640085" y="418785"/>
                  <a:pt x="3635045" y="428024"/>
                  <a:pt x="3632525" y="441044"/>
                </a:cubicBezTo>
                <a:cubicBezTo>
                  <a:pt x="3631685" y="457843"/>
                  <a:pt x="3630006" y="474642"/>
                  <a:pt x="3627485" y="491022"/>
                </a:cubicBezTo>
                <a:cubicBezTo>
                  <a:pt x="3624966" y="507401"/>
                  <a:pt x="3622866" y="524200"/>
                  <a:pt x="3622026" y="540999"/>
                </a:cubicBezTo>
                <a:cubicBezTo>
                  <a:pt x="3621606" y="546039"/>
                  <a:pt x="3621606" y="551079"/>
                  <a:pt x="3621186" y="556539"/>
                </a:cubicBezTo>
                <a:cubicBezTo>
                  <a:pt x="3621186" y="561998"/>
                  <a:pt x="3619926" y="566618"/>
                  <a:pt x="3617826" y="571238"/>
                </a:cubicBezTo>
                <a:cubicBezTo>
                  <a:pt x="3616566" y="574178"/>
                  <a:pt x="3614886" y="577118"/>
                  <a:pt x="3613626" y="579218"/>
                </a:cubicBezTo>
                <a:cubicBezTo>
                  <a:pt x="3612366" y="581738"/>
                  <a:pt x="3611526" y="584257"/>
                  <a:pt x="3611526" y="587617"/>
                </a:cubicBezTo>
                <a:cubicBezTo>
                  <a:pt x="3605226" y="579218"/>
                  <a:pt x="3599767" y="571658"/>
                  <a:pt x="3595147" y="565358"/>
                </a:cubicBezTo>
                <a:cubicBezTo>
                  <a:pt x="3590527" y="559058"/>
                  <a:pt x="3586747" y="553179"/>
                  <a:pt x="3583387" y="548139"/>
                </a:cubicBezTo>
                <a:cubicBezTo>
                  <a:pt x="3580028" y="542679"/>
                  <a:pt x="3576668" y="537220"/>
                  <a:pt x="3574148" y="532180"/>
                </a:cubicBezTo>
                <a:cubicBezTo>
                  <a:pt x="3571208" y="526720"/>
                  <a:pt x="3568688" y="520840"/>
                  <a:pt x="3565748" y="513700"/>
                </a:cubicBezTo>
                <a:cubicBezTo>
                  <a:pt x="3561549" y="504881"/>
                  <a:pt x="3557769" y="495221"/>
                  <a:pt x="3554409" y="485562"/>
                </a:cubicBezTo>
                <a:cubicBezTo>
                  <a:pt x="3551049" y="475902"/>
                  <a:pt x="3546009" y="467083"/>
                  <a:pt x="3539709" y="459103"/>
                </a:cubicBezTo>
                <a:cubicBezTo>
                  <a:pt x="3526690" y="441884"/>
                  <a:pt x="3514090" y="433064"/>
                  <a:pt x="3502331" y="432224"/>
                </a:cubicBezTo>
                <a:cubicBezTo>
                  <a:pt x="3490571" y="431804"/>
                  <a:pt x="3480492" y="436004"/>
                  <a:pt x="3472092" y="445663"/>
                </a:cubicBezTo>
                <a:cubicBezTo>
                  <a:pt x="3463693" y="455323"/>
                  <a:pt x="3457393" y="467923"/>
                  <a:pt x="3452773" y="483462"/>
                </a:cubicBezTo>
                <a:cubicBezTo>
                  <a:pt x="3448573" y="499001"/>
                  <a:pt x="3446893" y="514121"/>
                  <a:pt x="3448573" y="529660"/>
                </a:cubicBezTo>
                <a:cubicBezTo>
                  <a:pt x="3448573" y="533020"/>
                  <a:pt x="3448993" y="536380"/>
                  <a:pt x="3449833" y="539739"/>
                </a:cubicBezTo>
                <a:cubicBezTo>
                  <a:pt x="3450673" y="543099"/>
                  <a:pt x="3451513" y="546879"/>
                  <a:pt x="3451933" y="550239"/>
                </a:cubicBezTo>
                <a:cubicBezTo>
                  <a:pt x="3452353" y="553599"/>
                  <a:pt x="3452353" y="556959"/>
                  <a:pt x="3451513" y="560319"/>
                </a:cubicBezTo>
                <a:cubicBezTo>
                  <a:pt x="3450673" y="563678"/>
                  <a:pt x="3448993" y="566618"/>
                  <a:pt x="3446053" y="569558"/>
                </a:cubicBezTo>
                <a:cubicBezTo>
                  <a:pt x="3442693" y="575018"/>
                  <a:pt x="3441434" y="581318"/>
                  <a:pt x="3441854" y="588037"/>
                </a:cubicBezTo>
                <a:cubicBezTo>
                  <a:pt x="3442693" y="594757"/>
                  <a:pt x="3442274" y="601057"/>
                  <a:pt x="3441854" y="607356"/>
                </a:cubicBezTo>
                <a:cubicBezTo>
                  <a:pt x="3441434" y="610296"/>
                  <a:pt x="3440594" y="616596"/>
                  <a:pt x="3439334" y="626256"/>
                </a:cubicBezTo>
                <a:cubicBezTo>
                  <a:pt x="3438074" y="635915"/>
                  <a:pt x="3436814" y="645995"/>
                  <a:pt x="3435134" y="656494"/>
                </a:cubicBezTo>
                <a:cubicBezTo>
                  <a:pt x="3433454" y="666994"/>
                  <a:pt x="3431774" y="676653"/>
                  <a:pt x="3429674" y="685893"/>
                </a:cubicBezTo>
                <a:cubicBezTo>
                  <a:pt x="3427574" y="694713"/>
                  <a:pt x="3425894" y="700592"/>
                  <a:pt x="3424214" y="702272"/>
                </a:cubicBezTo>
                <a:cubicBezTo>
                  <a:pt x="3421694" y="705212"/>
                  <a:pt x="3420434" y="709412"/>
                  <a:pt x="3419175" y="714872"/>
                </a:cubicBezTo>
                <a:cubicBezTo>
                  <a:pt x="3418335" y="720752"/>
                  <a:pt x="3417494" y="726631"/>
                  <a:pt x="3417494" y="732931"/>
                </a:cubicBezTo>
                <a:cubicBezTo>
                  <a:pt x="3417494" y="739231"/>
                  <a:pt x="3417494" y="745531"/>
                  <a:pt x="3417915" y="751830"/>
                </a:cubicBezTo>
                <a:cubicBezTo>
                  <a:pt x="3418335" y="758130"/>
                  <a:pt x="3418335" y="762750"/>
                  <a:pt x="3418755" y="766530"/>
                </a:cubicBezTo>
                <a:cubicBezTo>
                  <a:pt x="3419175" y="771569"/>
                  <a:pt x="3419594" y="777029"/>
                  <a:pt x="3420855" y="782909"/>
                </a:cubicBezTo>
                <a:cubicBezTo>
                  <a:pt x="3422114" y="788789"/>
                  <a:pt x="3423794" y="794248"/>
                  <a:pt x="3426314" y="798868"/>
                </a:cubicBezTo>
                <a:cubicBezTo>
                  <a:pt x="3428834" y="803488"/>
                  <a:pt x="3432194" y="807268"/>
                  <a:pt x="3436814" y="810208"/>
                </a:cubicBezTo>
                <a:cubicBezTo>
                  <a:pt x="3441434" y="813148"/>
                  <a:pt x="3447313" y="814408"/>
                  <a:pt x="3454033" y="814408"/>
                </a:cubicBezTo>
                <a:cubicBezTo>
                  <a:pt x="3463273" y="813988"/>
                  <a:pt x="3471252" y="811048"/>
                  <a:pt x="3477132" y="805588"/>
                </a:cubicBezTo>
                <a:cubicBezTo>
                  <a:pt x="3483012" y="800128"/>
                  <a:pt x="3486372" y="792569"/>
                  <a:pt x="3486792" y="782909"/>
                </a:cubicBezTo>
                <a:cubicBezTo>
                  <a:pt x="3486792" y="773249"/>
                  <a:pt x="3487632" y="764010"/>
                  <a:pt x="3488891" y="754350"/>
                </a:cubicBezTo>
                <a:cubicBezTo>
                  <a:pt x="3490152" y="745111"/>
                  <a:pt x="3491411" y="735451"/>
                  <a:pt x="3492251" y="725791"/>
                </a:cubicBezTo>
                <a:cubicBezTo>
                  <a:pt x="3493931" y="710252"/>
                  <a:pt x="3497291" y="693873"/>
                  <a:pt x="3501491" y="677074"/>
                </a:cubicBezTo>
                <a:cubicBezTo>
                  <a:pt x="3506111" y="659854"/>
                  <a:pt x="3508631" y="643895"/>
                  <a:pt x="3509471" y="628355"/>
                </a:cubicBezTo>
                <a:cubicBezTo>
                  <a:pt x="3509891" y="621636"/>
                  <a:pt x="3510311" y="614916"/>
                  <a:pt x="3511151" y="608196"/>
                </a:cubicBezTo>
                <a:cubicBezTo>
                  <a:pt x="3511990" y="601057"/>
                  <a:pt x="3512830" y="594337"/>
                  <a:pt x="3514510" y="587617"/>
                </a:cubicBezTo>
                <a:cubicBezTo>
                  <a:pt x="3514090" y="589297"/>
                  <a:pt x="3514510" y="591397"/>
                  <a:pt x="3515770" y="593497"/>
                </a:cubicBezTo>
                <a:cubicBezTo>
                  <a:pt x="3517030" y="595597"/>
                  <a:pt x="3518710" y="598117"/>
                  <a:pt x="3520810" y="600217"/>
                </a:cubicBezTo>
                <a:cubicBezTo>
                  <a:pt x="3522910" y="602317"/>
                  <a:pt x="3525010" y="604417"/>
                  <a:pt x="3527110" y="606517"/>
                </a:cubicBezTo>
                <a:cubicBezTo>
                  <a:pt x="3529210" y="608617"/>
                  <a:pt x="3530890" y="610296"/>
                  <a:pt x="3531730" y="611556"/>
                </a:cubicBezTo>
                <a:cubicBezTo>
                  <a:pt x="3539289" y="621636"/>
                  <a:pt x="3546849" y="633395"/>
                  <a:pt x="3553989" y="647255"/>
                </a:cubicBezTo>
                <a:cubicBezTo>
                  <a:pt x="3561128" y="661114"/>
                  <a:pt x="3569108" y="673714"/>
                  <a:pt x="3578348" y="685893"/>
                </a:cubicBezTo>
                <a:cubicBezTo>
                  <a:pt x="3587167" y="698073"/>
                  <a:pt x="3597247" y="707732"/>
                  <a:pt x="3609006" y="715712"/>
                </a:cubicBezTo>
                <a:cubicBezTo>
                  <a:pt x="3620766" y="723691"/>
                  <a:pt x="3634625" y="726631"/>
                  <a:pt x="3651424" y="724951"/>
                </a:cubicBezTo>
                <a:cubicBezTo>
                  <a:pt x="3656044" y="724531"/>
                  <a:pt x="3659824" y="722851"/>
                  <a:pt x="3662764" y="720332"/>
                </a:cubicBezTo>
                <a:cubicBezTo>
                  <a:pt x="3665704" y="717812"/>
                  <a:pt x="3667804" y="714872"/>
                  <a:pt x="3669904" y="711512"/>
                </a:cubicBezTo>
                <a:cubicBezTo>
                  <a:pt x="3671584" y="708152"/>
                  <a:pt x="3673264" y="704372"/>
                  <a:pt x="3674523" y="700592"/>
                </a:cubicBezTo>
                <a:cubicBezTo>
                  <a:pt x="3675783" y="696813"/>
                  <a:pt x="3677044" y="693033"/>
                  <a:pt x="3678303" y="689673"/>
                </a:cubicBezTo>
                <a:cubicBezTo>
                  <a:pt x="3680823" y="680853"/>
                  <a:pt x="3682923" y="673294"/>
                  <a:pt x="3685023" y="666994"/>
                </a:cubicBezTo>
                <a:moveTo>
                  <a:pt x="3998330" y="336468"/>
                </a:moveTo>
                <a:cubicBezTo>
                  <a:pt x="3995390" y="336888"/>
                  <a:pt x="3992870" y="336888"/>
                  <a:pt x="3990350" y="337308"/>
                </a:cubicBezTo>
                <a:cubicBezTo>
                  <a:pt x="3979431" y="338568"/>
                  <a:pt x="3970611" y="340248"/>
                  <a:pt x="3963051" y="342768"/>
                </a:cubicBezTo>
                <a:cubicBezTo>
                  <a:pt x="3955491" y="345288"/>
                  <a:pt x="3948772" y="348648"/>
                  <a:pt x="3942052" y="352007"/>
                </a:cubicBezTo>
                <a:cubicBezTo>
                  <a:pt x="3935332" y="355787"/>
                  <a:pt x="3928613" y="359567"/>
                  <a:pt x="3921473" y="363767"/>
                </a:cubicBezTo>
                <a:cubicBezTo>
                  <a:pt x="3914333" y="367967"/>
                  <a:pt x="3905514" y="372166"/>
                  <a:pt x="3895014" y="376786"/>
                </a:cubicBezTo>
                <a:cubicBezTo>
                  <a:pt x="3892074" y="378046"/>
                  <a:pt x="3889134" y="378886"/>
                  <a:pt x="3885774" y="378886"/>
                </a:cubicBezTo>
                <a:cubicBezTo>
                  <a:pt x="3882415" y="378886"/>
                  <a:pt x="3879055" y="378886"/>
                  <a:pt x="3875695" y="379306"/>
                </a:cubicBezTo>
                <a:cubicBezTo>
                  <a:pt x="3872335" y="379726"/>
                  <a:pt x="3869395" y="380566"/>
                  <a:pt x="3866035" y="381406"/>
                </a:cubicBezTo>
                <a:cubicBezTo>
                  <a:pt x="3863095" y="382666"/>
                  <a:pt x="3860156" y="384766"/>
                  <a:pt x="3858056" y="387706"/>
                </a:cubicBezTo>
                <a:cubicBezTo>
                  <a:pt x="3847976" y="421725"/>
                  <a:pt x="3839996" y="455743"/>
                  <a:pt x="3834957" y="489342"/>
                </a:cubicBezTo>
                <a:cubicBezTo>
                  <a:pt x="3829917" y="522940"/>
                  <a:pt x="3829077" y="557379"/>
                  <a:pt x="3832437" y="592237"/>
                </a:cubicBezTo>
                <a:cubicBezTo>
                  <a:pt x="3833277" y="601477"/>
                  <a:pt x="3834957" y="610716"/>
                  <a:pt x="3836637" y="619956"/>
                </a:cubicBezTo>
                <a:cubicBezTo>
                  <a:pt x="3838316" y="629195"/>
                  <a:pt x="3840416" y="638435"/>
                  <a:pt x="3842936" y="647675"/>
                </a:cubicBezTo>
                <a:cubicBezTo>
                  <a:pt x="3847556" y="662794"/>
                  <a:pt x="3854276" y="676653"/>
                  <a:pt x="3862675" y="688413"/>
                </a:cubicBezTo>
                <a:cubicBezTo>
                  <a:pt x="3871495" y="700592"/>
                  <a:pt x="3882835" y="709832"/>
                  <a:pt x="3897534" y="716972"/>
                </a:cubicBezTo>
                <a:cubicBezTo>
                  <a:pt x="3913913" y="724951"/>
                  <a:pt x="3931133" y="728311"/>
                  <a:pt x="3949192" y="726211"/>
                </a:cubicBezTo>
                <a:cubicBezTo>
                  <a:pt x="3959271" y="724951"/>
                  <a:pt x="3969351" y="722432"/>
                  <a:pt x="3979431" y="718232"/>
                </a:cubicBezTo>
                <a:cubicBezTo>
                  <a:pt x="3989510" y="714032"/>
                  <a:pt x="3998750" y="709412"/>
                  <a:pt x="4006729" y="703112"/>
                </a:cubicBezTo>
                <a:cubicBezTo>
                  <a:pt x="4014709" y="696813"/>
                  <a:pt x="4020588" y="688413"/>
                  <a:pt x="4024368" y="677493"/>
                </a:cubicBezTo>
                <a:cubicBezTo>
                  <a:pt x="4026888" y="672034"/>
                  <a:pt x="4029408" y="665734"/>
                  <a:pt x="4032348" y="659014"/>
                </a:cubicBezTo>
                <a:cubicBezTo>
                  <a:pt x="4035288" y="651875"/>
                  <a:pt x="4036548" y="645155"/>
                  <a:pt x="4035708" y="638015"/>
                </a:cubicBezTo>
                <a:cubicBezTo>
                  <a:pt x="4034868" y="630036"/>
                  <a:pt x="4031088" y="623316"/>
                  <a:pt x="4024788" y="618276"/>
                </a:cubicBezTo>
                <a:cubicBezTo>
                  <a:pt x="4018489" y="612816"/>
                  <a:pt x="4010509" y="610296"/>
                  <a:pt x="4001689" y="609876"/>
                </a:cubicBezTo>
                <a:cubicBezTo>
                  <a:pt x="3997489" y="609876"/>
                  <a:pt x="3993710" y="610296"/>
                  <a:pt x="3991190" y="611136"/>
                </a:cubicBezTo>
                <a:cubicBezTo>
                  <a:pt x="3988670" y="611976"/>
                  <a:pt x="3986150" y="613236"/>
                  <a:pt x="3984890" y="614916"/>
                </a:cubicBezTo>
                <a:cubicBezTo>
                  <a:pt x="3983210" y="616596"/>
                  <a:pt x="3981950" y="619116"/>
                  <a:pt x="3980690" y="621216"/>
                </a:cubicBezTo>
                <a:cubicBezTo>
                  <a:pt x="3979431" y="623736"/>
                  <a:pt x="3977751" y="626676"/>
                  <a:pt x="3975651" y="629616"/>
                </a:cubicBezTo>
                <a:cubicBezTo>
                  <a:pt x="3972711" y="634235"/>
                  <a:pt x="3968931" y="637175"/>
                  <a:pt x="3964731" y="639695"/>
                </a:cubicBezTo>
                <a:cubicBezTo>
                  <a:pt x="3960531" y="641795"/>
                  <a:pt x="3956332" y="643475"/>
                  <a:pt x="3951291" y="643895"/>
                </a:cubicBezTo>
                <a:cubicBezTo>
                  <a:pt x="3940792" y="645155"/>
                  <a:pt x="3931133" y="642215"/>
                  <a:pt x="3922313" y="635495"/>
                </a:cubicBezTo>
                <a:cubicBezTo>
                  <a:pt x="3913493" y="628776"/>
                  <a:pt x="3909294" y="619116"/>
                  <a:pt x="3909713" y="606096"/>
                </a:cubicBezTo>
                <a:cubicBezTo>
                  <a:pt x="3914753" y="601057"/>
                  <a:pt x="3920213" y="596857"/>
                  <a:pt x="3926933" y="593497"/>
                </a:cubicBezTo>
                <a:cubicBezTo>
                  <a:pt x="3933652" y="589717"/>
                  <a:pt x="3939952" y="586357"/>
                  <a:pt x="3947092" y="582578"/>
                </a:cubicBezTo>
                <a:cubicBezTo>
                  <a:pt x="3953812" y="578798"/>
                  <a:pt x="3960531" y="575018"/>
                  <a:pt x="3966831" y="570398"/>
                </a:cubicBezTo>
                <a:cubicBezTo>
                  <a:pt x="3973131" y="566198"/>
                  <a:pt x="3978590" y="560738"/>
                  <a:pt x="3982790" y="554439"/>
                </a:cubicBezTo>
                <a:cubicBezTo>
                  <a:pt x="3986150" y="549819"/>
                  <a:pt x="3989090" y="544359"/>
                  <a:pt x="3991190" y="538059"/>
                </a:cubicBezTo>
                <a:cubicBezTo>
                  <a:pt x="3993290" y="531760"/>
                  <a:pt x="3994130" y="525880"/>
                  <a:pt x="3993290" y="519580"/>
                </a:cubicBezTo>
                <a:cubicBezTo>
                  <a:pt x="3992450" y="512441"/>
                  <a:pt x="3989510" y="506561"/>
                  <a:pt x="3983630" y="501521"/>
                </a:cubicBezTo>
                <a:cubicBezTo>
                  <a:pt x="3978170" y="496901"/>
                  <a:pt x="3971031" y="494801"/>
                  <a:pt x="3962631" y="495641"/>
                </a:cubicBezTo>
                <a:cubicBezTo>
                  <a:pt x="3955912" y="496481"/>
                  <a:pt x="3948772" y="498161"/>
                  <a:pt x="3942052" y="500681"/>
                </a:cubicBezTo>
                <a:cubicBezTo>
                  <a:pt x="3934913" y="503201"/>
                  <a:pt x="3929033" y="505721"/>
                  <a:pt x="3924413" y="508661"/>
                </a:cubicBezTo>
                <a:cubicBezTo>
                  <a:pt x="3920213" y="511181"/>
                  <a:pt x="3916433" y="512860"/>
                  <a:pt x="3914333" y="512860"/>
                </a:cubicBezTo>
                <a:cubicBezTo>
                  <a:pt x="3911813" y="513281"/>
                  <a:pt x="3910134" y="512860"/>
                  <a:pt x="3909294" y="511601"/>
                </a:cubicBezTo>
                <a:cubicBezTo>
                  <a:pt x="3908453" y="510341"/>
                  <a:pt x="3907613" y="508661"/>
                  <a:pt x="3907613" y="506561"/>
                </a:cubicBezTo>
                <a:cubicBezTo>
                  <a:pt x="3907194" y="504461"/>
                  <a:pt x="3907194" y="502361"/>
                  <a:pt x="3906773" y="500261"/>
                </a:cubicBezTo>
                <a:cubicBezTo>
                  <a:pt x="3906354" y="496481"/>
                  <a:pt x="3906773" y="492281"/>
                  <a:pt x="3907613" y="487242"/>
                </a:cubicBezTo>
                <a:cubicBezTo>
                  <a:pt x="3908453" y="482202"/>
                  <a:pt x="3909713" y="477162"/>
                  <a:pt x="3910973" y="472542"/>
                </a:cubicBezTo>
                <a:cubicBezTo>
                  <a:pt x="3912233" y="467923"/>
                  <a:pt x="3913493" y="463723"/>
                  <a:pt x="3914753" y="459523"/>
                </a:cubicBezTo>
                <a:cubicBezTo>
                  <a:pt x="3916013" y="455323"/>
                  <a:pt x="3916853" y="452803"/>
                  <a:pt x="3917273" y="450703"/>
                </a:cubicBezTo>
                <a:cubicBezTo>
                  <a:pt x="3918533" y="446083"/>
                  <a:pt x="3922313" y="441884"/>
                  <a:pt x="3928613" y="437684"/>
                </a:cubicBezTo>
                <a:cubicBezTo>
                  <a:pt x="3934913" y="433484"/>
                  <a:pt x="3942052" y="429284"/>
                  <a:pt x="3949612" y="425504"/>
                </a:cubicBezTo>
                <a:cubicBezTo>
                  <a:pt x="3957591" y="421725"/>
                  <a:pt x="3965151" y="418364"/>
                  <a:pt x="3973131" y="415425"/>
                </a:cubicBezTo>
                <a:cubicBezTo>
                  <a:pt x="3980690" y="412485"/>
                  <a:pt x="3986990" y="410385"/>
                  <a:pt x="3991190" y="408705"/>
                </a:cubicBezTo>
                <a:cubicBezTo>
                  <a:pt x="4003369" y="404925"/>
                  <a:pt x="4014289" y="399885"/>
                  <a:pt x="4023529" y="393586"/>
                </a:cubicBezTo>
                <a:cubicBezTo>
                  <a:pt x="4032768" y="387286"/>
                  <a:pt x="4037808" y="376786"/>
                  <a:pt x="4038648" y="361667"/>
                </a:cubicBezTo>
                <a:cubicBezTo>
                  <a:pt x="4039068" y="357887"/>
                  <a:pt x="4037808" y="354527"/>
                  <a:pt x="4035708" y="351588"/>
                </a:cubicBezTo>
                <a:cubicBezTo>
                  <a:pt x="4033188" y="348648"/>
                  <a:pt x="4030668" y="345708"/>
                  <a:pt x="4027309" y="343608"/>
                </a:cubicBezTo>
                <a:cubicBezTo>
                  <a:pt x="4023949" y="341508"/>
                  <a:pt x="4020169" y="339408"/>
                  <a:pt x="4016389" y="338148"/>
                </a:cubicBezTo>
                <a:cubicBezTo>
                  <a:pt x="4012609" y="336888"/>
                  <a:pt x="4008829" y="336468"/>
                  <a:pt x="4006309" y="336468"/>
                </a:cubicBezTo>
                <a:cubicBezTo>
                  <a:pt x="4003789" y="336048"/>
                  <a:pt x="4000850" y="336048"/>
                  <a:pt x="3998330" y="336468"/>
                </a:cubicBezTo>
                <a:moveTo>
                  <a:pt x="4295677" y="480522"/>
                </a:moveTo>
                <a:cubicBezTo>
                  <a:pt x="4291477" y="490601"/>
                  <a:pt x="4286857" y="500681"/>
                  <a:pt x="4281818" y="511601"/>
                </a:cubicBezTo>
                <a:cubicBezTo>
                  <a:pt x="4276778" y="522520"/>
                  <a:pt x="4271738" y="532180"/>
                  <a:pt x="4266278" y="540999"/>
                </a:cubicBezTo>
                <a:cubicBezTo>
                  <a:pt x="4260819" y="549819"/>
                  <a:pt x="4256619" y="555279"/>
                  <a:pt x="4252839" y="557379"/>
                </a:cubicBezTo>
                <a:cubicBezTo>
                  <a:pt x="4251159" y="546879"/>
                  <a:pt x="4249479" y="536380"/>
                  <a:pt x="4247799" y="525460"/>
                </a:cubicBezTo>
                <a:cubicBezTo>
                  <a:pt x="4246119" y="514540"/>
                  <a:pt x="4245279" y="504041"/>
                  <a:pt x="4245279" y="494381"/>
                </a:cubicBezTo>
                <a:cubicBezTo>
                  <a:pt x="4245279" y="486402"/>
                  <a:pt x="4244439" y="478002"/>
                  <a:pt x="4242759" y="469182"/>
                </a:cubicBezTo>
                <a:cubicBezTo>
                  <a:pt x="4241079" y="460363"/>
                  <a:pt x="4239819" y="451543"/>
                  <a:pt x="4238559" y="443144"/>
                </a:cubicBezTo>
                <a:cubicBezTo>
                  <a:pt x="4236879" y="434744"/>
                  <a:pt x="4236040" y="426344"/>
                  <a:pt x="4234779" y="418785"/>
                </a:cubicBezTo>
                <a:cubicBezTo>
                  <a:pt x="4233940" y="411225"/>
                  <a:pt x="4233520" y="404085"/>
                  <a:pt x="4233940" y="397786"/>
                </a:cubicBezTo>
                <a:cubicBezTo>
                  <a:pt x="4231840" y="391066"/>
                  <a:pt x="4230160" y="383086"/>
                  <a:pt x="4229320" y="373847"/>
                </a:cubicBezTo>
                <a:cubicBezTo>
                  <a:pt x="4228480" y="364607"/>
                  <a:pt x="4227640" y="355367"/>
                  <a:pt x="4226800" y="345288"/>
                </a:cubicBezTo>
                <a:cubicBezTo>
                  <a:pt x="4225960" y="335628"/>
                  <a:pt x="4224700" y="325968"/>
                  <a:pt x="4223020" y="317149"/>
                </a:cubicBezTo>
                <a:cubicBezTo>
                  <a:pt x="4221340" y="307909"/>
                  <a:pt x="4218820" y="299930"/>
                  <a:pt x="4214621" y="293210"/>
                </a:cubicBezTo>
                <a:cubicBezTo>
                  <a:pt x="4210841" y="286490"/>
                  <a:pt x="4205381" y="281450"/>
                  <a:pt x="4198661" y="278511"/>
                </a:cubicBezTo>
                <a:cubicBezTo>
                  <a:pt x="4191941" y="275571"/>
                  <a:pt x="4182702" y="274731"/>
                  <a:pt x="4171782" y="276831"/>
                </a:cubicBezTo>
                <a:cubicBezTo>
                  <a:pt x="4167582" y="278091"/>
                  <a:pt x="4163382" y="279351"/>
                  <a:pt x="4160023" y="280610"/>
                </a:cubicBezTo>
                <a:cubicBezTo>
                  <a:pt x="4156243" y="281870"/>
                  <a:pt x="4152883" y="283550"/>
                  <a:pt x="4150363" y="285650"/>
                </a:cubicBezTo>
                <a:cubicBezTo>
                  <a:pt x="4147843" y="287750"/>
                  <a:pt x="4145743" y="290270"/>
                  <a:pt x="4144483" y="293630"/>
                </a:cubicBezTo>
                <a:cubicBezTo>
                  <a:pt x="4143224" y="296990"/>
                  <a:pt x="4142804" y="301190"/>
                  <a:pt x="4143643" y="306649"/>
                </a:cubicBezTo>
                <a:cubicBezTo>
                  <a:pt x="4144904" y="317569"/>
                  <a:pt x="4147003" y="328489"/>
                  <a:pt x="4150363" y="339408"/>
                </a:cubicBezTo>
                <a:cubicBezTo>
                  <a:pt x="4153723" y="350328"/>
                  <a:pt x="4156243" y="361667"/>
                  <a:pt x="4158343" y="373847"/>
                </a:cubicBezTo>
                <a:cubicBezTo>
                  <a:pt x="4158763" y="376786"/>
                  <a:pt x="4159603" y="383926"/>
                  <a:pt x="4160863" y="394006"/>
                </a:cubicBezTo>
                <a:cubicBezTo>
                  <a:pt x="4162123" y="404085"/>
                  <a:pt x="4163382" y="416685"/>
                  <a:pt x="4165062" y="430964"/>
                </a:cubicBezTo>
                <a:cubicBezTo>
                  <a:pt x="4166742" y="445243"/>
                  <a:pt x="4168842" y="461203"/>
                  <a:pt x="4170942" y="478002"/>
                </a:cubicBezTo>
                <a:cubicBezTo>
                  <a:pt x="4173042" y="494801"/>
                  <a:pt x="4175142" y="511601"/>
                  <a:pt x="4177662" y="528820"/>
                </a:cubicBezTo>
                <a:cubicBezTo>
                  <a:pt x="4180182" y="545619"/>
                  <a:pt x="4182702" y="561579"/>
                  <a:pt x="4185222" y="577118"/>
                </a:cubicBezTo>
                <a:cubicBezTo>
                  <a:pt x="4187741" y="592237"/>
                  <a:pt x="4190681" y="605256"/>
                  <a:pt x="4193201" y="616176"/>
                </a:cubicBezTo>
                <a:cubicBezTo>
                  <a:pt x="4194881" y="626256"/>
                  <a:pt x="4196141" y="636335"/>
                  <a:pt x="4196981" y="646415"/>
                </a:cubicBezTo>
                <a:cubicBezTo>
                  <a:pt x="4197821" y="656914"/>
                  <a:pt x="4199921" y="666994"/>
                  <a:pt x="4204121" y="677074"/>
                </a:cubicBezTo>
                <a:cubicBezTo>
                  <a:pt x="4208741" y="685473"/>
                  <a:pt x="4214621" y="690513"/>
                  <a:pt x="4222180" y="691353"/>
                </a:cubicBezTo>
                <a:cubicBezTo>
                  <a:pt x="4229740" y="692193"/>
                  <a:pt x="4237300" y="691773"/>
                  <a:pt x="4245699" y="690093"/>
                </a:cubicBezTo>
                <a:cubicBezTo>
                  <a:pt x="4251999" y="688833"/>
                  <a:pt x="4258719" y="684633"/>
                  <a:pt x="4266278" y="677493"/>
                </a:cubicBezTo>
                <a:cubicBezTo>
                  <a:pt x="4273838" y="670354"/>
                  <a:pt x="4280977" y="661954"/>
                  <a:pt x="4287698" y="651875"/>
                </a:cubicBezTo>
                <a:cubicBezTo>
                  <a:pt x="4294837" y="641795"/>
                  <a:pt x="4301557" y="630455"/>
                  <a:pt x="4308276" y="618276"/>
                </a:cubicBezTo>
                <a:cubicBezTo>
                  <a:pt x="4314996" y="605677"/>
                  <a:pt x="4320876" y="593917"/>
                  <a:pt x="4326336" y="581738"/>
                </a:cubicBezTo>
                <a:cubicBezTo>
                  <a:pt x="4331375" y="569978"/>
                  <a:pt x="4335995" y="558639"/>
                  <a:pt x="4339775" y="548559"/>
                </a:cubicBezTo>
                <a:cubicBezTo>
                  <a:pt x="4343555" y="538059"/>
                  <a:pt x="4345655" y="529660"/>
                  <a:pt x="4346915" y="523780"/>
                </a:cubicBezTo>
                <a:cubicBezTo>
                  <a:pt x="4348175" y="514960"/>
                  <a:pt x="4350695" y="505301"/>
                  <a:pt x="4354895" y="495641"/>
                </a:cubicBezTo>
                <a:cubicBezTo>
                  <a:pt x="4359094" y="485982"/>
                  <a:pt x="4363294" y="476322"/>
                  <a:pt x="4367914" y="466662"/>
                </a:cubicBezTo>
                <a:cubicBezTo>
                  <a:pt x="4372534" y="457003"/>
                  <a:pt x="4377153" y="447763"/>
                  <a:pt x="4382193" y="438104"/>
                </a:cubicBezTo>
                <a:cubicBezTo>
                  <a:pt x="4386813" y="428864"/>
                  <a:pt x="4391013" y="419625"/>
                  <a:pt x="4393953" y="410805"/>
                </a:cubicBezTo>
                <a:cubicBezTo>
                  <a:pt x="4395633" y="404925"/>
                  <a:pt x="4398572" y="399885"/>
                  <a:pt x="4401932" y="394846"/>
                </a:cubicBezTo>
                <a:cubicBezTo>
                  <a:pt x="4405292" y="389806"/>
                  <a:pt x="4409072" y="384766"/>
                  <a:pt x="4412852" y="380146"/>
                </a:cubicBezTo>
                <a:cubicBezTo>
                  <a:pt x="4416632" y="375106"/>
                  <a:pt x="4419992" y="370067"/>
                  <a:pt x="4423351" y="365027"/>
                </a:cubicBezTo>
                <a:cubicBezTo>
                  <a:pt x="4426711" y="359987"/>
                  <a:pt x="4428811" y="354527"/>
                  <a:pt x="4430491" y="349067"/>
                </a:cubicBezTo>
                <a:cubicBezTo>
                  <a:pt x="4433011" y="340668"/>
                  <a:pt x="4433851" y="331428"/>
                  <a:pt x="4433431" y="322189"/>
                </a:cubicBezTo>
                <a:cubicBezTo>
                  <a:pt x="4433011" y="312949"/>
                  <a:pt x="4430911" y="304549"/>
                  <a:pt x="4427131" y="297410"/>
                </a:cubicBezTo>
                <a:cubicBezTo>
                  <a:pt x="4423351" y="289850"/>
                  <a:pt x="4417892" y="283970"/>
                  <a:pt x="4410332" y="279770"/>
                </a:cubicBezTo>
                <a:cubicBezTo>
                  <a:pt x="4403193" y="275571"/>
                  <a:pt x="4393533" y="273891"/>
                  <a:pt x="4382193" y="275151"/>
                </a:cubicBezTo>
                <a:cubicBezTo>
                  <a:pt x="4376733" y="275571"/>
                  <a:pt x="4372114" y="277671"/>
                  <a:pt x="4367914" y="280610"/>
                </a:cubicBezTo>
                <a:cubicBezTo>
                  <a:pt x="4363714" y="283550"/>
                  <a:pt x="4360354" y="287330"/>
                  <a:pt x="4357834" y="291530"/>
                </a:cubicBezTo>
                <a:cubicBezTo>
                  <a:pt x="4354895" y="295730"/>
                  <a:pt x="4352374" y="300770"/>
                  <a:pt x="4350695" y="305809"/>
                </a:cubicBezTo>
                <a:cubicBezTo>
                  <a:pt x="4348595" y="311269"/>
                  <a:pt x="4346915" y="316309"/>
                  <a:pt x="4345235" y="320929"/>
                </a:cubicBezTo>
                <a:cubicBezTo>
                  <a:pt x="4340195" y="344868"/>
                  <a:pt x="4333896" y="367967"/>
                  <a:pt x="4326756" y="390226"/>
                </a:cubicBezTo>
                <a:cubicBezTo>
                  <a:pt x="4319616" y="412905"/>
                  <a:pt x="4312056" y="436004"/>
                  <a:pt x="4304497" y="459523"/>
                </a:cubicBezTo>
                <a:cubicBezTo>
                  <a:pt x="4302817" y="463303"/>
                  <a:pt x="4300297" y="470442"/>
                  <a:pt x="4295677" y="480522"/>
                </a:cubicBezTo>
                <a:moveTo>
                  <a:pt x="4768156" y="305809"/>
                </a:moveTo>
                <a:cubicBezTo>
                  <a:pt x="4773197" y="303290"/>
                  <a:pt x="4777816" y="300350"/>
                  <a:pt x="4781596" y="296570"/>
                </a:cubicBezTo>
                <a:cubicBezTo>
                  <a:pt x="4785796" y="292790"/>
                  <a:pt x="4788736" y="288590"/>
                  <a:pt x="4790836" y="283970"/>
                </a:cubicBezTo>
                <a:cubicBezTo>
                  <a:pt x="4792935" y="279351"/>
                  <a:pt x="4793776" y="273891"/>
                  <a:pt x="4793355" y="268011"/>
                </a:cubicBezTo>
                <a:cubicBezTo>
                  <a:pt x="4792516" y="259611"/>
                  <a:pt x="4790416" y="253312"/>
                  <a:pt x="4787056" y="249532"/>
                </a:cubicBezTo>
                <a:cubicBezTo>
                  <a:pt x="4783696" y="245752"/>
                  <a:pt x="4779496" y="243652"/>
                  <a:pt x="4774877" y="242812"/>
                </a:cubicBezTo>
                <a:cubicBezTo>
                  <a:pt x="4770256" y="241972"/>
                  <a:pt x="4764797" y="242392"/>
                  <a:pt x="4758917" y="243652"/>
                </a:cubicBezTo>
                <a:cubicBezTo>
                  <a:pt x="4753037" y="244912"/>
                  <a:pt x="4747157" y="246172"/>
                  <a:pt x="4740858" y="247852"/>
                </a:cubicBezTo>
                <a:cubicBezTo>
                  <a:pt x="4726579" y="252052"/>
                  <a:pt x="4711879" y="255412"/>
                  <a:pt x="4696340" y="257511"/>
                </a:cubicBezTo>
                <a:cubicBezTo>
                  <a:pt x="4680801" y="259611"/>
                  <a:pt x="4665261" y="262971"/>
                  <a:pt x="4650142" y="267171"/>
                </a:cubicBezTo>
                <a:cubicBezTo>
                  <a:pt x="4643422" y="269271"/>
                  <a:pt x="4637542" y="270111"/>
                  <a:pt x="4632083" y="269271"/>
                </a:cubicBezTo>
                <a:cubicBezTo>
                  <a:pt x="4626623" y="268851"/>
                  <a:pt x="4621583" y="267591"/>
                  <a:pt x="4616543" y="266751"/>
                </a:cubicBezTo>
                <a:cubicBezTo>
                  <a:pt x="4611503" y="265491"/>
                  <a:pt x="4606463" y="265071"/>
                  <a:pt x="4601424" y="265071"/>
                </a:cubicBezTo>
                <a:cubicBezTo>
                  <a:pt x="4596384" y="265071"/>
                  <a:pt x="4590924" y="266751"/>
                  <a:pt x="4585044" y="269691"/>
                </a:cubicBezTo>
                <a:cubicBezTo>
                  <a:pt x="4579585" y="275571"/>
                  <a:pt x="4575805" y="282710"/>
                  <a:pt x="4573285" y="290270"/>
                </a:cubicBezTo>
                <a:cubicBezTo>
                  <a:pt x="4570765" y="297830"/>
                  <a:pt x="4569505" y="305809"/>
                  <a:pt x="4568245" y="314209"/>
                </a:cubicBezTo>
                <a:cubicBezTo>
                  <a:pt x="4566986" y="322609"/>
                  <a:pt x="4566145" y="331008"/>
                  <a:pt x="4564886" y="339408"/>
                </a:cubicBezTo>
                <a:cubicBezTo>
                  <a:pt x="4563625" y="347808"/>
                  <a:pt x="4561526" y="355787"/>
                  <a:pt x="4558586" y="363767"/>
                </a:cubicBezTo>
                <a:cubicBezTo>
                  <a:pt x="4556066" y="369227"/>
                  <a:pt x="4554386" y="377626"/>
                  <a:pt x="4552706" y="388966"/>
                </a:cubicBezTo>
                <a:cubicBezTo>
                  <a:pt x="4551026" y="400725"/>
                  <a:pt x="4549766" y="413745"/>
                  <a:pt x="4548506" y="428024"/>
                </a:cubicBezTo>
                <a:cubicBezTo>
                  <a:pt x="4547246" y="442304"/>
                  <a:pt x="4546826" y="457423"/>
                  <a:pt x="4546406" y="472962"/>
                </a:cubicBezTo>
                <a:cubicBezTo>
                  <a:pt x="4545986" y="488502"/>
                  <a:pt x="4545986" y="503201"/>
                  <a:pt x="4545986" y="517060"/>
                </a:cubicBezTo>
                <a:cubicBezTo>
                  <a:pt x="4545986" y="530920"/>
                  <a:pt x="4546406" y="542679"/>
                  <a:pt x="4546826" y="553179"/>
                </a:cubicBezTo>
                <a:cubicBezTo>
                  <a:pt x="4547246" y="563258"/>
                  <a:pt x="4548086" y="570398"/>
                  <a:pt x="4549346" y="573338"/>
                </a:cubicBezTo>
                <a:cubicBezTo>
                  <a:pt x="4553966" y="591817"/>
                  <a:pt x="4561945" y="605256"/>
                  <a:pt x="4573285" y="614076"/>
                </a:cubicBezTo>
                <a:cubicBezTo>
                  <a:pt x="4584205" y="622896"/>
                  <a:pt x="4597224" y="627936"/>
                  <a:pt x="4611084" y="629616"/>
                </a:cubicBezTo>
                <a:cubicBezTo>
                  <a:pt x="4625363" y="631295"/>
                  <a:pt x="4640482" y="630036"/>
                  <a:pt x="4656021" y="625416"/>
                </a:cubicBezTo>
                <a:cubicBezTo>
                  <a:pt x="4671981" y="621216"/>
                  <a:pt x="4687100" y="615336"/>
                  <a:pt x="4701380" y="607777"/>
                </a:cubicBezTo>
                <a:cubicBezTo>
                  <a:pt x="4716079" y="600217"/>
                  <a:pt x="4729098" y="591817"/>
                  <a:pt x="4740858" y="582578"/>
                </a:cubicBezTo>
                <a:cubicBezTo>
                  <a:pt x="4753037" y="573338"/>
                  <a:pt x="4761857" y="564518"/>
                  <a:pt x="4768156" y="555699"/>
                </a:cubicBezTo>
                <a:cubicBezTo>
                  <a:pt x="4771097" y="551919"/>
                  <a:pt x="4774036" y="548559"/>
                  <a:pt x="4777396" y="545619"/>
                </a:cubicBezTo>
                <a:cubicBezTo>
                  <a:pt x="4780336" y="542679"/>
                  <a:pt x="4783276" y="539320"/>
                  <a:pt x="4785376" y="535540"/>
                </a:cubicBezTo>
                <a:cubicBezTo>
                  <a:pt x="4787476" y="532180"/>
                  <a:pt x="4788736" y="527980"/>
                  <a:pt x="4789156" y="523360"/>
                </a:cubicBezTo>
                <a:cubicBezTo>
                  <a:pt x="4789576" y="518740"/>
                  <a:pt x="4788736" y="512860"/>
                  <a:pt x="4786636" y="505721"/>
                </a:cubicBezTo>
                <a:cubicBezTo>
                  <a:pt x="4781596" y="490601"/>
                  <a:pt x="4771097" y="484302"/>
                  <a:pt x="4755137" y="485982"/>
                </a:cubicBezTo>
                <a:cubicBezTo>
                  <a:pt x="4747157" y="491861"/>
                  <a:pt x="4737918" y="499841"/>
                  <a:pt x="4728258" y="509501"/>
                </a:cubicBezTo>
                <a:cubicBezTo>
                  <a:pt x="4718599" y="519160"/>
                  <a:pt x="4708099" y="527980"/>
                  <a:pt x="4697600" y="535959"/>
                </a:cubicBezTo>
                <a:cubicBezTo>
                  <a:pt x="4686680" y="543939"/>
                  <a:pt x="4675341" y="549819"/>
                  <a:pt x="4663581" y="553599"/>
                </a:cubicBezTo>
                <a:cubicBezTo>
                  <a:pt x="4651822" y="557379"/>
                  <a:pt x="4639222" y="556119"/>
                  <a:pt x="4626203" y="550239"/>
                </a:cubicBezTo>
                <a:cubicBezTo>
                  <a:pt x="4622003" y="548559"/>
                  <a:pt x="4619063" y="544359"/>
                  <a:pt x="4616963" y="538479"/>
                </a:cubicBezTo>
                <a:cubicBezTo>
                  <a:pt x="4615283" y="532600"/>
                  <a:pt x="4614023" y="525460"/>
                  <a:pt x="4613184" y="517900"/>
                </a:cubicBezTo>
                <a:cubicBezTo>
                  <a:pt x="4612343" y="510341"/>
                  <a:pt x="4612763" y="502781"/>
                  <a:pt x="4613184" y="495641"/>
                </a:cubicBezTo>
                <a:cubicBezTo>
                  <a:pt x="4613603" y="488502"/>
                  <a:pt x="4614863" y="483042"/>
                  <a:pt x="4616123" y="479682"/>
                </a:cubicBezTo>
                <a:cubicBezTo>
                  <a:pt x="4617803" y="475902"/>
                  <a:pt x="4622003" y="472962"/>
                  <a:pt x="4627883" y="470442"/>
                </a:cubicBezTo>
                <a:cubicBezTo>
                  <a:pt x="4634183" y="468342"/>
                  <a:pt x="4640902" y="466243"/>
                  <a:pt x="4648882" y="464983"/>
                </a:cubicBezTo>
                <a:cubicBezTo>
                  <a:pt x="4656861" y="463723"/>
                  <a:pt x="4664421" y="462463"/>
                  <a:pt x="4671561" y="461203"/>
                </a:cubicBezTo>
                <a:cubicBezTo>
                  <a:pt x="4679120" y="460363"/>
                  <a:pt x="4684580" y="459523"/>
                  <a:pt x="4689200" y="458683"/>
                </a:cubicBezTo>
                <a:cubicBezTo>
                  <a:pt x="4695080" y="457843"/>
                  <a:pt x="4700120" y="456583"/>
                  <a:pt x="4704739" y="455323"/>
                </a:cubicBezTo>
                <a:cubicBezTo>
                  <a:pt x="4709359" y="453643"/>
                  <a:pt x="4713559" y="451543"/>
                  <a:pt x="4717339" y="449023"/>
                </a:cubicBezTo>
                <a:cubicBezTo>
                  <a:pt x="4720699" y="446083"/>
                  <a:pt x="4723638" y="442724"/>
                  <a:pt x="4725318" y="438104"/>
                </a:cubicBezTo>
                <a:cubicBezTo>
                  <a:pt x="4726999" y="433484"/>
                  <a:pt x="4727418" y="427604"/>
                  <a:pt x="4726579" y="420464"/>
                </a:cubicBezTo>
                <a:cubicBezTo>
                  <a:pt x="4726158" y="415005"/>
                  <a:pt x="4724479" y="409965"/>
                  <a:pt x="4722379" y="405345"/>
                </a:cubicBezTo>
                <a:cubicBezTo>
                  <a:pt x="4719859" y="400725"/>
                  <a:pt x="4716919" y="397365"/>
                  <a:pt x="4712719" y="395265"/>
                </a:cubicBezTo>
                <a:cubicBezTo>
                  <a:pt x="4704319" y="391066"/>
                  <a:pt x="4695500" y="389806"/>
                  <a:pt x="4687100" y="391486"/>
                </a:cubicBezTo>
                <a:cubicBezTo>
                  <a:pt x="4678281" y="393166"/>
                  <a:pt x="4669041" y="394846"/>
                  <a:pt x="4658961" y="395686"/>
                </a:cubicBezTo>
                <a:cubicBezTo>
                  <a:pt x="4656021" y="396105"/>
                  <a:pt x="4652242" y="396526"/>
                  <a:pt x="4646782" y="397786"/>
                </a:cubicBezTo>
                <a:cubicBezTo>
                  <a:pt x="4641742" y="398626"/>
                  <a:pt x="4637122" y="398626"/>
                  <a:pt x="4632922" y="396946"/>
                </a:cubicBezTo>
                <a:cubicBezTo>
                  <a:pt x="4629143" y="395265"/>
                  <a:pt x="4626203" y="391906"/>
                  <a:pt x="4625363" y="386446"/>
                </a:cubicBezTo>
                <a:cubicBezTo>
                  <a:pt x="4624103" y="380986"/>
                  <a:pt x="4626203" y="371327"/>
                  <a:pt x="4631242" y="358307"/>
                </a:cubicBezTo>
                <a:cubicBezTo>
                  <a:pt x="4636702" y="344448"/>
                  <a:pt x="4644262" y="335628"/>
                  <a:pt x="4653922" y="331848"/>
                </a:cubicBezTo>
                <a:cubicBezTo>
                  <a:pt x="4663581" y="328068"/>
                  <a:pt x="4674081" y="325549"/>
                  <a:pt x="4685420" y="325129"/>
                </a:cubicBezTo>
                <a:cubicBezTo>
                  <a:pt x="4696760" y="324289"/>
                  <a:pt x="4708519" y="323869"/>
                  <a:pt x="4720279" y="323029"/>
                </a:cubicBezTo>
                <a:cubicBezTo>
                  <a:pt x="4732038" y="322189"/>
                  <a:pt x="4742958" y="317989"/>
                  <a:pt x="4752617" y="310009"/>
                </a:cubicBezTo>
                <a:cubicBezTo>
                  <a:pt x="4758077" y="309589"/>
                  <a:pt x="4763117" y="307909"/>
                  <a:pt x="4768156" y="305809"/>
                </a:cubicBezTo>
                <a:moveTo>
                  <a:pt x="4989067" y="488502"/>
                </a:moveTo>
                <a:cubicBezTo>
                  <a:pt x="4993267" y="489342"/>
                  <a:pt x="4997047" y="490182"/>
                  <a:pt x="5000407" y="491861"/>
                </a:cubicBezTo>
                <a:cubicBezTo>
                  <a:pt x="5009226" y="494801"/>
                  <a:pt x="5019726" y="498581"/>
                  <a:pt x="5031066" y="503201"/>
                </a:cubicBezTo>
                <a:cubicBezTo>
                  <a:pt x="5042405" y="507821"/>
                  <a:pt x="5052065" y="513700"/>
                  <a:pt x="5059204" y="521260"/>
                </a:cubicBezTo>
                <a:cubicBezTo>
                  <a:pt x="5065924" y="527980"/>
                  <a:pt x="5073484" y="534280"/>
                  <a:pt x="5081883" y="540579"/>
                </a:cubicBezTo>
                <a:cubicBezTo>
                  <a:pt x="5090283" y="546879"/>
                  <a:pt x="5099102" y="552759"/>
                  <a:pt x="5108342" y="557379"/>
                </a:cubicBezTo>
                <a:cubicBezTo>
                  <a:pt x="5118002" y="561998"/>
                  <a:pt x="5127661" y="565778"/>
                  <a:pt x="5137741" y="568298"/>
                </a:cubicBezTo>
                <a:cubicBezTo>
                  <a:pt x="5147820" y="570818"/>
                  <a:pt x="5158320" y="571658"/>
                  <a:pt x="5169239" y="570398"/>
                </a:cubicBezTo>
                <a:cubicBezTo>
                  <a:pt x="5178479" y="569558"/>
                  <a:pt x="5187299" y="566618"/>
                  <a:pt x="5195278" y="561998"/>
                </a:cubicBezTo>
                <a:cubicBezTo>
                  <a:pt x="5202838" y="557799"/>
                  <a:pt x="5208298" y="552759"/>
                  <a:pt x="5211658" y="547299"/>
                </a:cubicBezTo>
                <a:cubicBezTo>
                  <a:pt x="5214597" y="541419"/>
                  <a:pt x="5215858" y="535540"/>
                  <a:pt x="5215017" y="530080"/>
                </a:cubicBezTo>
                <a:cubicBezTo>
                  <a:pt x="5214178" y="524200"/>
                  <a:pt x="5211237" y="518740"/>
                  <a:pt x="5206618" y="513700"/>
                </a:cubicBezTo>
                <a:cubicBezTo>
                  <a:pt x="5201998" y="508661"/>
                  <a:pt x="5196118" y="504461"/>
                  <a:pt x="5188138" y="501101"/>
                </a:cubicBezTo>
                <a:cubicBezTo>
                  <a:pt x="5184779" y="499841"/>
                  <a:pt x="5180999" y="499841"/>
                  <a:pt x="5177639" y="500261"/>
                </a:cubicBezTo>
                <a:cubicBezTo>
                  <a:pt x="5173859" y="500681"/>
                  <a:pt x="5170499" y="499841"/>
                  <a:pt x="5167560" y="497321"/>
                </a:cubicBezTo>
                <a:cubicBezTo>
                  <a:pt x="5158320" y="490182"/>
                  <a:pt x="5149080" y="483882"/>
                  <a:pt x="5139001" y="478002"/>
                </a:cubicBezTo>
                <a:cubicBezTo>
                  <a:pt x="5128921" y="472122"/>
                  <a:pt x="5118841" y="466662"/>
                  <a:pt x="5108762" y="461203"/>
                </a:cubicBezTo>
                <a:cubicBezTo>
                  <a:pt x="5098263" y="455743"/>
                  <a:pt x="5088183" y="450703"/>
                  <a:pt x="5077683" y="445243"/>
                </a:cubicBezTo>
                <a:cubicBezTo>
                  <a:pt x="5067604" y="439784"/>
                  <a:pt x="5057944" y="433904"/>
                  <a:pt x="5048285" y="427184"/>
                </a:cubicBezTo>
                <a:cubicBezTo>
                  <a:pt x="5060464" y="426764"/>
                  <a:pt x="5070964" y="422144"/>
                  <a:pt x="5080623" y="413745"/>
                </a:cubicBezTo>
                <a:cubicBezTo>
                  <a:pt x="5090283" y="405345"/>
                  <a:pt x="5098263" y="394846"/>
                  <a:pt x="5104982" y="381406"/>
                </a:cubicBezTo>
                <a:cubicBezTo>
                  <a:pt x="5111702" y="368387"/>
                  <a:pt x="5116741" y="353687"/>
                  <a:pt x="5120102" y="337308"/>
                </a:cubicBezTo>
                <a:cubicBezTo>
                  <a:pt x="5123881" y="321349"/>
                  <a:pt x="5125561" y="305390"/>
                  <a:pt x="5125981" y="289430"/>
                </a:cubicBezTo>
                <a:cubicBezTo>
                  <a:pt x="5126401" y="273471"/>
                  <a:pt x="5124721" y="258771"/>
                  <a:pt x="5121362" y="244912"/>
                </a:cubicBezTo>
                <a:cubicBezTo>
                  <a:pt x="5118002" y="231053"/>
                  <a:pt x="5112122" y="219713"/>
                  <a:pt x="5104562" y="211313"/>
                </a:cubicBezTo>
                <a:cubicBezTo>
                  <a:pt x="5097003" y="202914"/>
                  <a:pt x="5086923" y="197874"/>
                  <a:pt x="5075164" y="196194"/>
                </a:cubicBezTo>
                <a:cubicBezTo>
                  <a:pt x="5062984" y="194934"/>
                  <a:pt x="5048705" y="198294"/>
                  <a:pt x="5032325" y="207534"/>
                </a:cubicBezTo>
                <a:cubicBezTo>
                  <a:pt x="5028966" y="207114"/>
                  <a:pt x="5025606" y="208374"/>
                  <a:pt x="5021826" y="211313"/>
                </a:cubicBezTo>
                <a:cubicBezTo>
                  <a:pt x="5018046" y="214253"/>
                  <a:pt x="5014266" y="218033"/>
                  <a:pt x="5010486" y="222233"/>
                </a:cubicBezTo>
                <a:cubicBezTo>
                  <a:pt x="5007126" y="226433"/>
                  <a:pt x="5003346" y="231053"/>
                  <a:pt x="4999987" y="235672"/>
                </a:cubicBezTo>
                <a:cubicBezTo>
                  <a:pt x="4996627" y="240292"/>
                  <a:pt x="4993267" y="244072"/>
                  <a:pt x="4990747" y="246592"/>
                </a:cubicBezTo>
                <a:cubicBezTo>
                  <a:pt x="4987807" y="249532"/>
                  <a:pt x="4984447" y="251632"/>
                  <a:pt x="4980668" y="252892"/>
                </a:cubicBezTo>
                <a:cubicBezTo>
                  <a:pt x="4976888" y="254152"/>
                  <a:pt x="4973528" y="255832"/>
                  <a:pt x="4970588" y="257511"/>
                </a:cubicBezTo>
                <a:cubicBezTo>
                  <a:pt x="4967648" y="259191"/>
                  <a:pt x="4964708" y="260871"/>
                  <a:pt x="4962188" y="263391"/>
                </a:cubicBezTo>
                <a:cubicBezTo>
                  <a:pt x="4959669" y="265491"/>
                  <a:pt x="4957989" y="269271"/>
                  <a:pt x="4957569" y="273891"/>
                </a:cubicBezTo>
                <a:cubicBezTo>
                  <a:pt x="4955469" y="285650"/>
                  <a:pt x="4952949" y="296990"/>
                  <a:pt x="4949589" y="307489"/>
                </a:cubicBezTo>
                <a:cubicBezTo>
                  <a:pt x="4946229" y="317989"/>
                  <a:pt x="4942869" y="328489"/>
                  <a:pt x="4939089" y="338988"/>
                </a:cubicBezTo>
                <a:cubicBezTo>
                  <a:pt x="4935309" y="349488"/>
                  <a:pt x="4931530" y="359987"/>
                  <a:pt x="4927750" y="370067"/>
                </a:cubicBezTo>
                <a:cubicBezTo>
                  <a:pt x="4923970" y="380566"/>
                  <a:pt x="4920610" y="391486"/>
                  <a:pt x="4917250" y="403245"/>
                </a:cubicBezTo>
                <a:cubicBezTo>
                  <a:pt x="4912630" y="416685"/>
                  <a:pt x="4909691" y="430964"/>
                  <a:pt x="4907591" y="445243"/>
                </a:cubicBezTo>
                <a:cubicBezTo>
                  <a:pt x="4905491" y="459523"/>
                  <a:pt x="4902971" y="473382"/>
                  <a:pt x="4899191" y="486402"/>
                </a:cubicBezTo>
                <a:cubicBezTo>
                  <a:pt x="4897931" y="491022"/>
                  <a:pt x="4895831" y="499001"/>
                  <a:pt x="4892891" y="509921"/>
                </a:cubicBezTo>
                <a:cubicBezTo>
                  <a:pt x="4889951" y="521260"/>
                  <a:pt x="4886592" y="533860"/>
                  <a:pt x="4883651" y="548139"/>
                </a:cubicBezTo>
                <a:cubicBezTo>
                  <a:pt x="4880292" y="562419"/>
                  <a:pt x="4877772" y="577118"/>
                  <a:pt x="4875672" y="592237"/>
                </a:cubicBezTo>
                <a:cubicBezTo>
                  <a:pt x="4873572" y="607356"/>
                  <a:pt x="4873152" y="621216"/>
                  <a:pt x="4874412" y="633395"/>
                </a:cubicBezTo>
                <a:cubicBezTo>
                  <a:pt x="4875672" y="645575"/>
                  <a:pt x="4878612" y="655654"/>
                  <a:pt x="4883651" y="662794"/>
                </a:cubicBezTo>
                <a:cubicBezTo>
                  <a:pt x="4888692" y="670354"/>
                  <a:pt x="4897091" y="673294"/>
                  <a:pt x="4908011" y="672454"/>
                </a:cubicBezTo>
                <a:cubicBezTo>
                  <a:pt x="4916410" y="671614"/>
                  <a:pt x="4923130" y="668674"/>
                  <a:pt x="4928170" y="663634"/>
                </a:cubicBezTo>
                <a:cubicBezTo>
                  <a:pt x="4933210" y="658594"/>
                  <a:pt x="4936990" y="652715"/>
                  <a:pt x="4939509" y="645575"/>
                </a:cubicBezTo>
                <a:cubicBezTo>
                  <a:pt x="4942029" y="638435"/>
                  <a:pt x="4944129" y="630455"/>
                  <a:pt x="4944549" y="622056"/>
                </a:cubicBezTo>
                <a:cubicBezTo>
                  <a:pt x="4945389" y="613656"/>
                  <a:pt x="4945809" y="605256"/>
                  <a:pt x="4945389" y="597697"/>
                </a:cubicBezTo>
                <a:cubicBezTo>
                  <a:pt x="4945389" y="590977"/>
                  <a:pt x="4946649" y="582157"/>
                  <a:pt x="4948749" y="571658"/>
                </a:cubicBezTo>
                <a:cubicBezTo>
                  <a:pt x="4951269" y="561158"/>
                  <a:pt x="4953789" y="550239"/>
                  <a:pt x="4957569" y="539320"/>
                </a:cubicBezTo>
                <a:cubicBezTo>
                  <a:pt x="4960928" y="528400"/>
                  <a:pt x="4964708" y="517480"/>
                  <a:pt x="4968908" y="506561"/>
                </a:cubicBezTo>
                <a:cubicBezTo>
                  <a:pt x="4973108" y="496061"/>
                  <a:pt x="4976888" y="486822"/>
                  <a:pt x="4980668" y="479682"/>
                </a:cubicBezTo>
                <a:cubicBezTo>
                  <a:pt x="4982347" y="485562"/>
                  <a:pt x="4984868" y="487662"/>
                  <a:pt x="4989067" y="488502"/>
                </a:cubicBezTo>
                <a:moveTo>
                  <a:pt x="5020986" y="380146"/>
                </a:moveTo>
                <a:cubicBezTo>
                  <a:pt x="5018466" y="383926"/>
                  <a:pt x="5015526" y="387286"/>
                  <a:pt x="5013006" y="390226"/>
                </a:cubicBezTo>
                <a:cubicBezTo>
                  <a:pt x="5010066" y="392746"/>
                  <a:pt x="5007126" y="394846"/>
                  <a:pt x="5004606" y="395686"/>
                </a:cubicBezTo>
                <a:cubicBezTo>
                  <a:pt x="5001667" y="396946"/>
                  <a:pt x="4999567" y="396105"/>
                  <a:pt x="4997887" y="394426"/>
                </a:cubicBezTo>
                <a:cubicBezTo>
                  <a:pt x="4994107" y="390226"/>
                  <a:pt x="4993267" y="384766"/>
                  <a:pt x="4994947" y="377206"/>
                </a:cubicBezTo>
                <a:cubicBezTo>
                  <a:pt x="4996627" y="369647"/>
                  <a:pt x="4999567" y="362087"/>
                  <a:pt x="5004187" y="353687"/>
                </a:cubicBezTo>
                <a:cubicBezTo>
                  <a:pt x="5008806" y="345708"/>
                  <a:pt x="5013426" y="338148"/>
                  <a:pt x="5018886" y="331428"/>
                </a:cubicBezTo>
                <a:cubicBezTo>
                  <a:pt x="5024345" y="324709"/>
                  <a:pt x="5028966" y="320089"/>
                  <a:pt x="5032745" y="317149"/>
                </a:cubicBezTo>
                <a:cubicBezTo>
                  <a:pt x="5033165" y="326389"/>
                  <a:pt x="5033165" y="334788"/>
                  <a:pt x="5033585" y="343188"/>
                </a:cubicBezTo>
                <a:cubicBezTo>
                  <a:pt x="5034005" y="351167"/>
                  <a:pt x="5031905" y="359567"/>
                  <a:pt x="5027705" y="368387"/>
                </a:cubicBezTo>
                <a:cubicBezTo>
                  <a:pt x="5026025" y="372166"/>
                  <a:pt x="5023926" y="376366"/>
                  <a:pt x="5020986" y="380146"/>
                </a:cubicBezTo>
                <a:moveTo>
                  <a:pt x="5336392" y="237352"/>
                </a:moveTo>
                <a:cubicBezTo>
                  <a:pt x="5331773" y="252892"/>
                  <a:pt x="5330932" y="269271"/>
                  <a:pt x="5333872" y="285230"/>
                </a:cubicBezTo>
                <a:cubicBezTo>
                  <a:pt x="5337232" y="301190"/>
                  <a:pt x="5342272" y="318409"/>
                  <a:pt x="5349831" y="336048"/>
                </a:cubicBezTo>
                <a:cubicBezTo>
                  <a:pt x="5357391" y="353687"/>
                  <a:pt x="5364111" y="373427"/>
                  <a:pt x="5369991" y="395265"/>
                </a:cubicBezTo>
                <a:cubicBezTo>
                  <a:pt x="5370831" y="398205"/>
                  <a:pt x="5372091" y="402405"/>
                  <a:pt x="5374191" y="408285"/>
                </a:cubicBezTo>
                <a:cubicBezTo>
                  <a:pt x="5376291" y="414165"/>
                  <a:pt x="5378810" y="420464"/>
                  <a:pt x="5380490" y="428024"/>
                </a:cubicBezTo>
                <a:cubicBezTo>
                  <a:pt x="5382590" y="435584"/>
                  <a:pt x="5384690" y="443144"/>
                  <a:pt x="5386370" y="451543"/>
                </a:cubicBezTo>
                <a:cubicBezTo>
                  <a:pt x="5388050" y="459523"/>
                  <a:pt x="5388890" y="467502"/>
                  <a:pt x="5389310" y="474642"/>
                </a:cubicBezTo>
                <a:cubicBezTo>
                  <a:pt x="5389730" y="481782"/>
                  <a:pt x="5388890" y="488082"/>
                  <a:pt x="5386790" y="493121"/>
                </a:cubicBezTo>
                <a:cubicBezTo>
                  <a:pt x="5385110" y="498581"/>
                  <a:pt x="5381330" y="501941"/>
                  <a:pt x="5376291" y="503621"/>
                </a:cubicBezTo>
                <a:cubicBezTo>
                  <a:pt x="5372930" y="504461"/>
                  <a:pt x="5369571" y="504461"/>
                  <a:pt x="5366631" y="503621"/>
                </a:cubicBezTo>
                <a:cubicBezTo>
                  <a:pt x="5363691" y="502361"/>
                  <a:pt x="5361171" y="500681"/>
                  <a:pt x="5358231" y="498161"/>
                </a:cubicBezTo>
                <a:cubicBezTo>
                  <a:pt x="5355711" y="495641"/>
                  <a:pt x="5353192" y="493121"/>
                  <a:pt x="5351092" y="490182"/>
                </a:cubicBezTo>
                <a:cubicBezTo>
                  <a:pt x="5348572" y="487242"/>
                  <a:pt x="5346472" y="485142"/>
                  <a:pt x="5344792" y="483042"/>
                </a:cubicBezTo>
                <a:cubicBezTo>
                  <a:pt x="5338492" y="476322"/>
                  <a:pt x="5332612" y="473382"/>
                  <a:pt x="5326732" y="473382"/>
                </a:cubicBezTo>
                <a:cubicBezTo>
                  <a:pt x="5320853" y="473802"/>
                  <a:pt x="5315393" y="475902"/>
                  <a:pt x="5310773" y="480102"/>
                </a:cubicBezTo>
                <a:cubicBezTo>
                  <a:pt x="5306154" y="484302"/>
                  <a:pt x="5302374" y="490182"/>
                  <a:pt x="5299854" y="497321"/>
                </a:cubicBezTo>
                <a:cubicBezTo>
                  <a:pt x="5296914" y="504461"/>
                  <a:pt x="5296074" y="511181"/>
                  <a:pt x="5296914" y="517900"/>
                </a:cubicBezTo>
                <a:cubicBezTo>
                  <a:pt x="5297754" y="525460"/>
                  <a:pt x="5299854" y="533440"/>
                  <a:pt x="5303214" y="541419"/>
                </a:cubicBezTo>
                <a:cubicBezTo>
                  <a:pt x="5306574" y="549399"/>
                  <a:pt x="5311193" y="556959"/>
                  <a:pt x="5316653" y="563678"/>
                </a:cubicBezTo>
                <a:cubicBezTo>
                  <a:pt x="5322113" y="570398"/>
                  <a:pt x="5328832" y="575858"/>
                  <a:pt x="5336392" y="579638"/>
                </a:cubicBezTo>
                <a:cubicBezTo>
                  <a:pt x="5343952" y="583837"/>
                  <a:pt x="5352352" y="585518"/>
                  <a:pt x="5361171" y="585518"/>
                </a:cubicBezTo>
                <a:cubicBezTo>
                  <a:pt x="5384270" y="585097"/>
                  <a:pt x="5402750" y="579638"/>
                  <a:pt x="5416609" y="569558"/>
                </a:cubicBezTo>
                <a:cubicBezTo>
                  <a:pt x="5430468" y="559479"/>
                  <a:pt x="5441388" y="546879"/>
                  <a:pt x="5448527" y="532180"/>
                </a:cubicBezTo>
                <a:cubicBezTo>
                  <a:pt x="5455667" y="517480"/>
                  <a:pt x="5459447" y="501521"/>
                  <a:pt x="5460287" y="484302"/>
                </a:cubicBezTo>
                <a:cubicBezTo>
                  <a:pt x="5461127" y="467083"/>
                  <a:pt x="5459447" y="450703"/>
                  <a:pt x="5455247" y="435584"/>
                </a:cubicBezTo>
                <a:cubicBezTo>
                  <a:pt x="5452307" y="423824"/>
                  <a:pt x="5448107" y="412065"/>
                  <a:pt x="5442648" y="400305"/>
                </a:cubicBezTo>
                <a:cubicBezTo>
                  <a:pt x="5437188" y="388546"/>
                  <a:pt x="5431728" y="376786"/>
                  <a:pt x="5426688" y="364607"/>
                </a:cubicBezTo>
                <a:cubicBezTo>
                  <a:pt x="5421228" y="352428"/>
                  <a:pt x="5416609" y="340668"/>
                  <a:pt x="5412829" y="328489"/>
                </a:cubicBezTo>
                <a:cubicBezTo>
                  <a:pt x="5408629" y="316309"/>
                  <a:pt x="5406529" y="304130"/>
                  <a:pt x="5406109" y="292370"/>
                </a:cubicBezTo>
                <a:cubicBezTo>
                  <a:pt x="5405269" y="274731"/>
                  <a:pt x="5406529" y="262131"/>
                  <a:pt x="5409889" y="254152"/>
                </a:cubicBezTo>
                <a:cubicBezTo>
                  <a:pt x="5412829" y="246172"/>
                  <a:pt x="5417869" y="239872"/>
                  <a:pt x="5424588" y="236512"/>
                </a:cubicBezTo>
                <a:cubicBezTo>
                  <a:pt x="5431308" y="232733"/>
                  <a:pt x="5439708" y="229793"/>
                  <a:pt x="5449787" y="227693"/>
                </a:cubicBezTo>
                <a:cubicBezTo>
                  <a:pt x="5459867" y="225593"/>
                  <a:pt x="5471626" y="222233"/>
                  <a:pt x="5485066" y="217193"/>
                </a:cubicBezTo>
                <a:cubicBezTo>
                  <a:pt x="5490106" y="215513"/>
                  <a:pt x="5495565" y="212993"/>
                  <a:pt x="5500605" y="209214"/>
                </a:cubicBezTo>
                <a:cubicBezTo>
                  <a:pt x="5505645" y="205434"/>
                  <a:pt x="5508585" y="200394"/>
                  <a:pt x="5509845" y="194094"/>
                </a:cubicBezTo>
                <a:cubicBezTo>
                  <a:pt x="5508585" y="187795"/>
                  <a:pt x="5506905" y="181915"/>
                  <a:pt x="5504805" y="176875"/>
                </a:cubicBezTo>
                <a:cubicBezTo>
                  <a:pt x="5502705" y="171835"/>
                  <a:pt x="5500185" y="167635"/>
                  <a:pt x="5496405" y="164275"/>
                </a:cubicBezTo>
                <a:cubicBezTo>
                  <a:pt x="5493046" y="160916"/>
                  <a:pt x="5488425" y="158396"/>
                  <a:pt x="5482966" y="156716"/>
                </a:cubicBezTo>
                <a:cubicBezTo>
                  <a:pt x="5477506" y="155036"/>
                  <a:pt x="5470786" y="155036"/>
                  <a:pt x="5462387" y="155876"/>
                </a:cubicBezTo>
                <a:cubicBezTo>
                  <a:pt x="5455247" y="156716"/>
                  <a:pt x="5447268" y="157976"/>
                  <a:pt x="5438868" y="159236"/>
                </a:cubicBezTo>
                <a:cubicBezTo>
                  <a:pt x="5430468" y="160916"/>
                  <a:pt x="5422069" y="163016"/>
                  <a:pt x="5413669" y="165536"/>
                </a:cubicBezTo>
                <a:cubicBezTo>
                  <a:pt x="5405269" y="168055"/>
                  <a:pt x="5397709" y="171415"/>
                  <a:pt x="5390150" y="175195"/>
                </a:cubicBezTo>
                <a:cubicBezTo>
                  <a:pt x="5382590" y="178975"/>
                  <a:pt x="5376291" y="183595"/>
                  <a:pt x="5370831" y="189054"/>
                </a:cubicBezTo>
                <a:cubicBezTo>
                  <a:pt x="5352352" y="205014"/>
                  <a:pt x="5341012" y="221393"/>
                  <a:pt x="5336392" y="237352"/>
                </a:cubicBezTo>
                <a:moveTo>
                  <a:pt x="5839951" y="119757"/>
                </a:moveTo>
                <a:cubicBezTo>
                  <a:pt x="5836171" y="118917"/>
                  <a:pt x="5831971" y="118498"/>
                  <a:pt x="5827771" y="118498"/>
                </a:cubicBezTo>
                <a:cubicBezTo>
                  <a:pt x="5823571" y="118498"/>
                  <a:pt x="5818952" y="118917"/>
                  <a:pt x="5814332" y="119757"/>
                </a:cubicBezTo>
                <a:cubicBezTo>
                  <a:pt x="5809712" y="120597"/>
                  <a:pt x="5805512" y="121017"/>
                  <a:pt x="5802152" y="121437"/>
                </a:cubicBezTo>
                <a:cubicBezTo>
                  <a:pt x="5782833" y="123117"/>
                  <a:pt x="5763514" y="125637"/>
                  <a:pt x="5743775" y="129417"/>
                </a:cubicBezTo>
                <a:cubicBezTo>
                  <a:pt x="5724036" y="133197"/>
                  <a:pt x="5704296" y="137817"/>
                  <a:pt x="5684977" y="142856"/>
                </a:cubicBezTo>
                <a:cubicBezTo>
                  <a:pt x="5665658" y="148316"/>
                  <a:pt x="5647179" y="154196"/>
                  <a:pt x="5629540" y="160916"/>
                </a:cubicBezTo>
                <a:cubicBezTo>
                  <a:pt x="5611900" y="167635"/>
                  <a:pt x="5595521" y="175195"/>
                  <a:pt x="5580822" y="183175"/>
                </a:cubicBezTo>
                <a:cubicBezTo>
                  <a:pt x="5577042" y="185275"/>
                  <a:pt x="5574522" y="186955"/>
                  <a:pt x="5572842" y="188635"/>
                </a:cubicBezTo>
                <a:cubicBezTo>
                  <a:pt x="5571162" y="189894"/>
                  <a:pt x="5570742" y="193254"/>
                  <a:pt x="5571162" y="198294"/>
                </a:cubicBezTo>
                <a:cubicBezTo>
                  <a:pt x="5571582" y="202074"/>
                  <a:pt x="5572002" y="205854"/>
                  <a:pt x="5572842" y="209634"/>
                </a:cubicBezTo>
                <a:cubicBezTo>
                  <a:pt x="5573682" y="213833"/>
                  <a:pt x="5574942" y="217613"/>
                  <a:pt x="5576622" y="221393"/>
                </a:cubicBezTo>
                <a:cubicBezTo>
                  <a:pt x="5578302" y="225173"/>
                  <a:pt x="5580402" y="228533"/>
                  <a:pt x="5582921" y="231473"/>
                </a:cubicBezTo>
                <a:cubicBezTo>
                  <a:pt x="5585442" y="234412"/>
                  <a:pt x="5588381" y="236512"/>
                  <a:pt x="5592161" y="237352"/>
                </a:cubicBezTo>
                <a:cubicBezTo>
                  <a:pt x="5598881" y="239452"/>
                  <a:pt x="5606020" y="240292"/>
                  <a:pt x="5614420" y="239032"/>
                </a:cubicBezTo>
                <a:cubicBezTo>
                  <a:pt x="5622400" y="238192"/>
                  <a:pt x="5630380" y="236092"/>
                  <a:pt x="5638359" y="233572"/>
                </a:cubicBezTo>
                <a:cubicBezTo>
                  <a:pt x="5646339" y="231053"/>
                  <a:pt x="5654318" y="227693"/>
                  <a:pt x="5661878" y="224333"/>
                </a:cubicBezTo>
                <a:cubicBezTo>
                  <a:pt x="5669438" y="220973"/>
                  <a:pt x="5676158" y="218033"/>
                  <a:pt x="5682038" y="215093"/>
                </a:cubicBezTo>
                <a:cubicBezTo>
                  <a:pt x="5681197" y="240292"/>
                  <a:pt x="5679938" y="264231"/>
                  <a:pt x="5677417" y="286910"/>
                </a:cubicBezTo>
                <a:cubicBezTo>
                  <a:pt x="5675317" y="309589"/>
                  <a:pt x="5672798" y="332268"/>
                  <a:pt x="5670278" y="354527"/>
                </a:cubicBezTo>
                <a:cubicBezTo>
                  <a:pt x="5667758" y="376786"/>
                  <a:pt x="5666078" y="399465"/>
                  <a:pt x="5664818" y="421725"/>
                </a:cubicBezTo>
                <a:cubicBezTo>
                  <a:pt x="5663558" y="444403"/>
                  <a:pt x="5663558" y="467923"/>
                  <a:pt x="5665238" y="492281"/>
                </a:cubicBezTo>
                <a:cubicBezTo>
                  <a:pt x="5666078" y="498581"/>
                  <a:pt x="5667758" y="505301"/>
                  <a:pt x="5670278" y="512021"/>
                </a:cubicBezTo>
                <a:cubicBezTo>
                  <a:pt x="5673218" y="518740"/>
                  <a:pt x="5676578" y="524620"/>
                  <a:pt x="5680777" y="529240"/>
                </a:cubicBezTo>
                <a:cubicBezTo>
                  <a:pt x="5684977" y="533860"/>
                  <a:pt x="5690437" y="537220"/>
                  <a:pt x="5696317" y="538899"/>
                </a:cubicBezTo>
                <a:cubicBezTo>
                  <a:pt x="5702196" y="540999"/>
                  <a:pt x="5708916" y="540159"/>
                  <a:pt x="5715636" y="536799"/>
                </a:cubicBezTo>
                <a:cubicBezTo>
                  <a:pt x="5727815" y="531340"/>
                  <a:pt x="5735795" y="525040"/>
                  <a:pt x="5739575" y="518740"/>
                </a:cubicBezTo>
                <a:cubicBezTo>
                  <a:pt x="5743355" y="512441"/>
                  <a:pt x="5745035" y="505301"/>
                  <a:pt x="5744614" y="497321"/>
                </a:cubicBezTo>
                <a:cubicBezTo>
                  <a:pt x="5744195" y="489342"/>
                  <a:pt x="5742515" y="481362"/>
                  <a:pt x="5739995" y="472542"/>
                </a:cubicBezTo>
                <a:cubicBezTo>
                  <a:pt x="5737055" y="463723"/>
                  <a:pt x="5735375" y="454483"/>
                  <a:pt x="5734115" y="444403"/>
                </a:cubicBezTo>
                <a:cubicBezTo>
                  <a:pt x="5732015" y="425084"/>
                  <a:pt x="5732015" y="406185"/>
                  <a:pt x="5733275" y="386866"/>
                </a:cubicBezTo>
                <a:cubicBezTo>
                  <a:pt x="5734955" y="367547"/>
                  <a:pt x="5736635" y="348228"/>
                  <a:pt x="5738735" y="328908"/>
                </a:cubicBezTo>
                <a:cubicBezTo>
                  <a:pt x="5741255" y="309169"/>
                  <a:pt x="5743355" y="289850"/>
                  <a:pt x="5745455" y="270111"/>
                </a:cubicBezTo>
                <a:cubicBezTo>
                  <a:pt x="5747555" y="250372"/>
                  <a:pt x="5748814" y="230213"/>
                  <a:pt x="5748394" y="210054"/>
                </a:cubicBezTo>
                <a:cubicBezTo>
                  <a:pt x="5748394" y="205434"/>
                  <a:pt x="5749235" y="202074"/>
                  <a:pt x="5750494" y="199134"/>
                </a:cubicBezTo>
                <a:cubicBezTo>
                  <a:pt x="5752174" y="196614"/>
                  <a:pt x="5754274" y="194514"/>
                  <a:pt x="5756374" y="192834"/>
                </a:cubicBezTo>
                <a:cubicBezTo>
                  <a:pt x="5758894" y="191154"/>
                  <a:pt x="5761834" y="189894"/>
                  <a:pt x="5765194" y="189054"/>
                </a:cubicBezTo>
                <a:cubicBezTo>
                  <a:pt x="5768134" y="188214"/>
                  <a:pt x="5771493" y="187374"/>
                  <a:pt x="5774853" y="186535"/>
                </a:cubicBezTo>
                <a:cubicBezTo>
                  <a:pt x="5785773" y="183595"/>
                  <a:pt x="5797533" y="181915"/>
                  <a:pt x="5809712" y="181075"/>
                </a:cubicBezTo>
                <a:cubicBezTo>
                  <a:pt x="5821891" y="180655"/>
                  <a:pt x="5833651" y="178135"/>
                  <a:pt x="5844151" y="174775"/>
                </a:cubicBezTo>
                <a:cubicBezTo>
                  <a:pt x="5850030" y="172675"/>
                  <a:pt x="5853810" y="169735"/>
                  <a:pt x="5855070" y="165955"/>
                </a:cubicBezTo>
                <a:cubicBezTo>
                  <a:pt x="5856330" y="162175"/>
                  <a:pt x="5856750" y="157976"/>
                  <a:pt x="5855910" y="153356"/>
                </a:cubicBezTo>
                <a:cubicBezTo>
                  <a:pt x="5855070" y="148736"/>
                  <a:pt x="5853810" y="143696"/>
                  <a:pt x="5852130" y="138657"/>
                </a:cubicBezTo>
                <a:cubicBezTo>
                  <a:pt x="5850450" y="133617"/>
                  <a:pt x="5849610" y="128577"/>
                  <a:pt x="5849610" y="123537"/>
                </a:cubicBezTo>
                <a:cubicBezTo>
                  <a:pt x="5847510" y="122277"/>
                  <a:pt x="5843731" y="120597"/>
                  <a:pt x="5839951" y="119757"/>
                </a:cubicBezTo>
                <a:moveTo>
                  <a:pt x="6155357" y="108418"/>
                </a:moveTo>
                <a:cubicBezTo>
                  <a:pt x="6149477" y="107578"/>
                  <a:pt x="6144438" y="106318"/>
                  <a:pt x="6139818" y="104638"/>
                </a:cubicBezTo>
                <a:cubicBezTo>
                  <a:pt x="6130158" y="100858"/>
                  <a:pt x="6121758" y="97078"/>
                  <a:pt x="6114199" y="92459"/>
                </a:cubicBezTo>
                <a:cubicBezTo>
                  <a:pt x="6106639" y="88259"/>
                  <a:pt x="6097820" y="86159"/>
                  <a:pt x="6087320" y="86159"/>
                </a:cubicBezTo>
                <a:cubicBezTo>
                  <a:pt x="6074300" y="87839"/>
                  <a:pt x="6063381" y="92459"/>
                  <a:pt x="6054141" y="100018"/>
                </a:cubicBezTo>
                <a:cubicBezTo>
                  <a:pt x="6044902" y="107998"/>
                  <a:pt x="6036922" y="116817"/>
                  <a:pt x="6029782" y="127737"/>
                </a:cubicBezTo>
                <a:cubicBezTo>
                  <a:pt x="6022643" y="138657"/>
                  <a:pt x="6016343" y="149996"/>
                  <a:pt x="6010883" y="161756"/>
                </a:cubicBezTo>
                <a:cubicBezTo>
                  <a:pt x="6005003" y="173935"/>
                  <a:pt x="5999544" y="185275"/>
                  <a:pt x="5994084" y="195774"/>
                </a:cubicBezTo>
                <a:cubicBezTo>
                  <a:pt x="5988204" y="207534"/>
                  <a:pt x="5982325" y="222233"/>
                  <a:pt x="5975185" y="238612"/>
                </a:cubicBezTo>
                <a:cubicBezTo>
                  <a:pt x="5968465" y="255412"/>
                  <a:pt x="5962165" y="273051"/>
                  <a:pt x="5956285" y="291950"/>
                </a:cubicBezTo>
                <a:cubicBezTo>
                  <a:pt x="5950406" y="310849"/>
                  <a:pt x="5946206" y="330168"/>
                  <a:pt x="5942846" y="349488"/>
                </a:cubicBezTo>
                <a:cubicBezTo>
                  <a:pt x="5939486" y="369227"/>
                  <a:pt x="5938646" y="387706"/>
                  <a:pt x="5940326" y="405345"/>
                </a:cubicBezTo>
                <a:cubicBezTo>
                  <a:pt x="5942006" y="422984"/>
                  <a:pt x="5946626" y="438944"/>
                  <a:pt x="5954605" y="453643"/>
                </a:cubicBezTo>
                <a:cubicBezTo>
                  <a:pt x="5962165" y="467923"/>
                  <a:pt x="5974345" y="479682"/>
                  <a:pt x="5991144" y="488502"/>
                </a:cubicBezTo>
                <a:cubicBezTo>
                  <a:pt x="5998284" y="492281"/>
                  <a:pt x="6005003" y="494381"/>
                  <a:pt x="6011723" y="495641"/>
                </a:cubicBezTo>
                <a:cubicBezTo>
                  <a:pt x="6018443" y="496901"/>
                  <a:pt x="6025163" y="496901"/>
                  <a:pt x="6031882" y="496481"/>
                </a:cubicBezTo>
                <a:cubicBezTo>
                  <a:pt x="6044902" y="495221"/>
                  <a:pt x="6058341" y="490182"/>
                  <a:pt x="6072621" y="482202"/>
                </a:cubicBezTo>
                <a:cubicBezTo>
                  <a:pt x="6086900" y="474222"/>
                  <a:pt x="6100339" y="464143"/>
                  <a:pt x="6113359" y="452803"/>
                </a:cubicBezTo>
                <a:cubicBezTo>
                  <a:pt x="6126378" y="441463"/>
                  <a:pt x="6138138" y="429284"/>
                  <a:pt x="6148637" y="416685"/>
                </a:cubicBezTo>
                <a:cubicBezTo>
                  <a:pt x="6159137" y="404085"/>
                  <a:pt x="6167117" y="392746"/>
                  <a:pt x="6172576" y="382666"/>
                </a:cubicBezTo>
                <a:cubicBezTo>
                  <a:pt x="6177196" y="375106"/>
                  <a:pt x="6181816" y="367967"/>
                  <a:pt x="6186016" y="361667"/>
                </a:cubicBezTo>
                <a:cubicBezTo>
                  <a:pt x="6190216" y="355787"/>
                  <a:pt x="6194416" y="349067"/>
                  <a:pt x="6197775" y="342348"/>
                </a:cubicBezTo>
                <a:cubicBezTo>
                  <a:pt x="6201555" y="335628"/>
                  <a:pt x="6204915" y="328068"/>
                  <a:pt x="6207855" y="319249"/>
                </a:cubicBezTo>
                <a:cubicBezTo>
                  <a:pt x="6210794" y="310849"/>
                  <a:pt x="6212894" y="300350"/>
                  <a:pt x="6214574" y="288170"/>
                </a:cubicBezTo>
                <a:cubicBezTo>
                  <a:pt x="6214994" y="281450"/>
                  <a:pt x="6216254" y="275571"/>
                  <a:pt x="6218774" y="270531"/>
                </a:cubicBezTo>
                <a:cubicBezTo>
                  <a:pt x="6221294" y="265491"/>
                  <a:pt x="6222134" y="260451"/>
                  <a:pt x="6222134" y="255832"/>
                </a:cubicBezTo>
                <a:cubicBezTo>
                  <a:pt x="6223394" y="244912"/>
                  <a:pt x="6224654" y="231893"/>
                  <a:pt x="6224654" y="216773"/>
                </a:cubicBezTo>
                <a:cubicBezTo>
                  <a:pt x="6225074" y="201654"/>
                  <a:pt x="6223814" y="186535"/>
                  <a:pt x="6220454" y="171415"/>
                </a:cubicBezTo>
                <a:cubicBezTo>
                  <a:pt x="6217094" y="156716"/>
                  <a:pt x="6211635" y="143276"/>
                  <a:pt x="6204075" y="131937"/>
                </a:cubicBezTo>
                <a:cubicBezTo>
                  <a:pt x="6196515" y="120177"/>
                  <a:pt x="6185596" y="113038"/>
                  <a:pt x="6172156" y="110098"/>
                </a:cubicBezTo>
                <a:cubicBezTo>
                  <a:pt x="6166276" y="110518"/>
                  <a:pt x="6160817" y="109678"/>
                  <a:pt x="6155357" y="108418"/>
                </a:cubicBezTo>
                <a:moveTo>
                  <a:pt x="6134778" y="332268"/>
                </a:moveTo>
                <a:cubicBezTo>
                  <a:pt x="6126798" y="346548"/>
                  <a:pt x="6117559" y="359567"/>
                  <a:pt x="6107059" y="372166"/>
                </a:cubicBezTo>
                <a:cubicBezTo>
                  <a:pt x="6096979" y="384766"/>
                  <a:pt x="6085640" y="395686"/>
                  <a:pt x="6073041" y="405765"/>
                </a:cubicBezTo>
                <a:cubicBezTo>
                  <a:pt x="6060861" y="415425"/>
                  <a:pt x="6048682" y="422564"/>
                  <a:pt x="6036502" y="427604"/>
                </a:cubicBezTo>
                <a:cubicBezTo>
                  <a:pt x="6029782" y="430124"/>
                  <a:pt x="6024323" y="430124"/>
                  <a:pt x="6019703" y="427604"/>
                </a:cubicBezTo>
                <a:cubicBezTo>
                  <a:pt x="6015083" y="425084"/>
                  <a:pt x="6011303" y="421304"/>
                  <a:pt x="6008783" y="415845"/>
                </a:cubicBezTo>
                <a:cubicBezTo>
                  <a:pt x="6005844" y="410385"/>
                  <a:pt x="6004164" y="404085"/>
                  <a:pt x="6002903" y="396946"/>
                </a:cubicBezTo>
                <a:cubicBezTo>
                  <a:pt x="6001644" y="389806"/>
                  <a:pt x="6001224" y="382246"/>
                  <a:pt x="6001224" y="375106"/>
                </a:cubicBezTo>
                <a:cubicBezTo>
                  <a:pt x="6001224" y="367967"/>
                  <a:pt x="6001644" y="360827"/>
                  <a:pt x="6002903" y="354527"/>
                </a:cubicBezTo>
                <a:cubicBezTo>
                  <a:pt x="6004164" y="348228"/>
                  <a:pt x="6005424" y="343608"/>
                  <a:pt x="6007524" y="340248"/>
                </a:cubicBezTo>
                <a:cubicBezTo>
                  <a:pt x="6012983" y="330168"/>
                  <a:pt x="6016763" y="319249"/>
                  <a:pt x="6018863" y="307069"/>
                </a:cubicBezTo>
                <a:cubicBezTo>
                  <a:pt x="6020963" y="294890"/>
                  <a:pt x="6023483" y="283550"/>
                  <a:pt x="6026002" y="272211"/>
                </a:cubicBezTo>
                <a:cubicBezTo>
                  <a:pt x="6030202" y="253732"/>
                  <a:pt x="6038182" y="236512"/>
                  <a:pt x="6050362" y="219713"/>
                </a:cubicBezTo>
                <a:cubicBezTo>
                  <a:pt x="6062121" y="202914"/>
                  <a:pt x="6075980" y="189054"/>
                  <a:pt x="6091520" y="177715"/>
                </a:cubicBezTo>
                <a:cubicBezTo>
                  <a:pt x="6096140" y="174775"/>
                  <a:pt x="6100759" y="173515"/>
                  <a:pt x="6105799" y="174355"/>
                </a:cubicBezTo>
                <a:cubicBezTo>
                  <a:pt x="6110839" y="175195"/>
                  <a:pt x="6116298" y="175195"/>
                  <a:pt x="6122598" y="174355"/>
                </a:cubicBezTo>
                <a:cubicBezTo>
                  <a:pt x="6130578" y="173515"/>
                  <a:pt x="6136878" y="175195"/>
                  <a:pt x="6141918" y="179395"/>
                </a:cubicBezTo>
                <a:cubicBezTo>
                  <a:pt x="6146957" y="183595"/>
                  <a:pt x="6150737" y="189054"/>
                  <a:pt x="6153257" y="196614"/>
                </a:cubicBezTo>
                <a:cubicBezTo>
                  <a:pt x="6155777" y="203754"/>
                  <a:pt x="6157457" y="212153"/>
                  <a:pt x="6158297" y="220973"/>
                </a:cubicBezTo>
                <a:cubicBezTo>
                  <a:pt x="6159137" y="229793"/>
                  <a:pt x="6159137" y="239032"/>
                  <a:pt x="6158717" y="247852"/>
                </a:cubicBezTo>
                <a:cubicBezTo>
                  <a:pt x="6158297" y="256671"/>
                  <a:pt x="6157457" y="265071"/>
                  <a:pt x="6156197" y="272631"/>
                </a:cubicBezTo>
                <a:cubicBezTo>
                  <a:pt x="6154937" y="280191"/>
                  <a:pt x="6153677" y="286070"/>
                  <a:pt x="6152837" y="290270"/>
                </a:cubicBezTo>
                <a:cubicBezTo>
                  <a:pt x="6148637" y="304549"/>
                  <a:pt x="6142758" y="317989"/>
                  <a:pt x="6134778" y="332268"/>
                </a:cubicBezTo>
                <a:moveTo>
                  <a:pt x="6433385" y="242392"/>
                </a:moveTo>
                <a:cubicBezTo>
                  <a:pt x="6440945" y="242812"/>
                  <a:pt x="6446825" y="243232"/>
                  <a:pt x="6451864" y="243652"/>
                </a:cubicBezTo>
                <a:cubicBezTo>
                  <a:pt x="6458164" y="243652"/>
                  <a:pt x="6463624" y="241972"/>
                  <a:pt x="6469083" y="239032"/>
                </a:cubicBezTo>
                <a:cubicBezTo>
                  <a:pt x="6474123" y="236092"/>
                  <a:pt x="6479163" y="231893"/>
                  <a:pt x="6483363" y="227273"/>
                </a:cubicBezTo>
                <a:cubicBezTo>
                  <a:pt x="6487563" y="222653"/>
                  <a:pt x="6491762" y="217193"/>
                  <a:pt x="6495542" y="211313"/>
                </a:cubicBezTo>
                <a:cubicBezTo>
                  <a:pt x="6499322" y="205854"/>
                  <a:pt x="6502682" y="200394"/>
                  <a:pt x="6505622" y="195774"/>
                </a:cubicBezTo>
                <a:cubicBezTo>
                  <a:pt x="6508982" y="186955"/>
                  <a:pt x="6513181" y="178555"/>
                  <a:pt x="6518641" y="169735"/>
                </a:cubicBezTo>
                <a:cubicBezTo>
                  <a:pt x="6523681" y="161336"/>
                  <a:pt x="6528301" y="152516"/>
                  <a:pt x="6532921" y="143696"/>
                </a:cubicBezTo>
                <a:cubicBezTo>
                  <a:pt x="6537121" y="135297"/>
                  <a:pt x="6540901" y="126057"/>
                  <a:pt x="6543420" y="116817"/>
                </a:cubicBezTo>
                <a:cubicBezTo>
                  <a:pt x="6545940" y="107578"/>
                  <a:pt x="6546780" y="97918"/>
                  <a:pt x="6545940" y="87839"/>
                </a:cubicBezTo>
                <a:cubicBezTo>
                  <a:pt x="6544680" y="73979"/>
                  <a:pt x="6539221" y="61380"/>
                  <a:pt x="6530401" y="50460"/>
                </a:cubicBezTo>
                <a:cubicBezTo>
                  <a:pt x="6521161" y="39121"/>
                  <a:pt x="6510242" y="29881"/>
                  <a:pt x="6497642" y="22322"/>
                </a:cubicBezTo>
                <a:cubicBezTo>
                  <a:pt x="6484623" y="14762"/>
                  <a:pt x="6471183" y="9302"/>
                  <a:pt x="6456484" y="6362"/>
                </a:cubicBezTo>
                <a:cubicBezTo>
                  <a:pt x="6441784" y="3002"/>
                  <a:pt x="6427925" y="3002"/>
                  <a:pt x="6414486" y="5522"/>
                </a:cubicBezTo>
                <a:cubicBezTo>
                  <a:pt x="6411126" y="1322"/>
                  <a:pt x="6406086" y="-357"/>
                  <a:pt x="6399366" y="63"/>
                </a:cubicBezTo>
                <a:cubicBezTo>
                  <a:pt x="6392647" y="482"/>
                  <a:pt x="6385507" y="2582"/>
                  <a:pt x="6378367" y="5522"/>
                </a:cubicBezTo>
                <a:cubicBezTo>
                  <a:pt x="6371228" y="8462"/>
                  <a:pt x="6364928" y="12662"/>
                  <a:pt x="6359468" y="17702"/>
                </a:cubicBezTo>
                <a:cubicBezTo>
                  <a:pt x="6354009" y="22742"/>
                  <a:pt x="6351069" y="27361"/>
                  <a:pt x="6350229" y="32401"/>
                </a:cubicBezTo>
                <a:cubicBezTo>
                  <a:pt x="6349388" y="38701"/>
                  <a:pt x="6349809" y="45001"/>
                  <a:pt x="6351909" y="51300"/>
                </a:cubicBezTo>
                <a:cubicBezTo>
                  <a:pt x="6354009" y="57600"/>
                  <a:pt x="6354848" y="63900"/>
                  <a:pt x="6355268" y="70200"/>
                </a:cubicBezTo>
                <a:cubicBezTo>
                  <a:pt x="6355688" y="82379"/>
                  <a:pt x="6354429" y="94139"/>
                  <a:pt x="6351909" y="106318"/>
                </a:cubicBezTo>
                <a:cubicBezTo>
                  <a:pt x="6348969" y="118498"/>
                  <a:pt x="6347289" y="130677"/>
                  <a:pt x="6347289" y="142437"/>
                </a:cubicBezTo>
                <a:cubicBezTo>
                  <a:pt x="6347289" y="163016"/>
                  <a:pt x="6346449" y="184015"/>
                  <a:pt x="6344349" y="205854"/>
                </a:cubicBezTo>
                <a:cubicBezTo>
                  <a:pt x="6342249" y="227693"/>
                  <a:pt x="6340149" y="249532"/>
                  <a:pt x="6338469" y="271371"/>
                </a:cubicBezTo>
                <a:cubicBezTo>
                  <a:pt x="6336789" y="293630"/>
                  <a:pt x="6335109" y="315469"/>
                  <a:pt x="6334269" y="337308"/>
                </a:cubicBezTo>
                <a:cubicBezTo>
                  <a:pt x="6333429" y="359147"/>
                  <a:pt x="6334269" y="380566"/>
                  <a:pt x="6336369" y="401565"/>
                </a:cubicBezTo>
                <a:cubicBezTo>
                  <a:pt x="6337629" y="413325"/>
                  <a:pt x="6338049" y="423404"/>
                  <a:pt x="6337629" y="431804"/>
                </a:cubicBezTo>
                <a:cubicBezTo>
                  <a:pt x="6337629" y="440204"/>
                  <a:pt x="6337209" y="447343"/>
                  <a:pt x="6336789" y="453223"/>
                </a:cubicBezTo>
                <a:cubicBezTo>
                  <a:pt x="6336369" y="459523"/>
                  <a:pt x="6335949" y="465403"/>
                  <a:pt x="6335949" y="470442"/>
                </a:cubicBezTo>
                <a:cubicBezTo>
                  <a:pt x="6335949" y="475902"/>
                  <a:pt x="6336369" y="481362"/>
                  <a:pt x="6337629" y="487662"/>
                </a:cubicBezTo>
                <a:cubicBezTo>
                  <a:pt x="6338889" y="493961"/>
                  <a:pt x="6342669" y="499001"/>
                  <a:pt x="6348969" y="502781"/>
                </a:cubicBezTo>
                <a:cubicBezTo>
                  <a:pt x="6354848" y="506561"/>
                  <a:pt x="6361568" y="508661"/>
                  <a:pt x="6369128" y="509501"/>
                </a:cubicBezTo>
                <a:cubicBezTo>
                  <a:pt x="6376267" y="510341"/>
                  <a:pt x="6383827" y="509501"/>
                  <a:pt x="6390547" y="507401"/>
                </a:cubicBezTo>
                <a:cubicBezTo>
                  <a:pt x="6397686" y="505301"/>
                  <a:pt x="6403146" y="501521"/>
                  <a:pt x="6406926" y="496481"/>
                </a:cubicBezTo>
                <a:cubicBezTo>
                  <a:pt x="6409026" y="493961"/>
                  <a:pt x="6410286" y="489342"/>
                  <a:pt x="6411126" y="482202"/>
                </a:cubicBezTo>
                <a:cubicBezTo>
                  <a:pt x="6411966" y="475062"/>
                  <a:pt x="6412806" y="467083"/>
                  <a:pt x="6412806" y="458683"/>
                </a:cubicBezTo>
                <a:cubicBezTo>
                  <a:pt x="6412806" y="450283"/>
                  <a:pt x="6412806" y="442304"/>
                  <a:pt x="6412806" y="434324"/>
                </a:cubicBezTo>
                <a:cubicBezTo>
                  <a:pt x="6412386" y="426764"/>
                  <a:pt x="6412386" y="420885"/>
                  <a:pt x="6411966" y="417105"/>
                </a:cubicBezTo>
                <a:cubicBezTo>
                  <a:pt x="6411126" y="409125"/>
                  <a:pt x="6410286" y="402405"/>
                  <a:pt x="6409866" y="396946"/>
                </a:cubicBezTo>
                <a:cubicBezTo>
                  <a:pt x="6409446" y="391486"/>
                  <a:pt x="6408606" y="386026"/>
                  <a:pt x="6408606" y="380986"/>
                </a:cubicBezTo>
                <a:cubicBezTo>
                  <a:pt x="6408186" y="375946"/>
                  <a:pt x="6408186" y="370067"/>
                  <a:pt x="6408186" y="363767"/>
                </a:cubicBezTo>
                <a:cubicBezTo>
                  <a:pt x="6408186" y="357887"/>
                  <a:pt x="6408606" y="349907"/>
                  <a:pt x="6409446" y="340248"/>
                </a:cubicBezTo>
                <a:cubicBezTo>
                  <a:pt x="6409866" y="333528"/>
                  <a:pt x="6409866" y="326389"/>
                  <a:pt x="6409446" y="319669"/>
                </a:cubicBezTo>
                <a:cubicBezTo>
                  <a:pt x="6409026" y="312949"/>
                  <a:pt x="6409026" y="305809"/>
                  <a:pt x="6408606" y="297830"/>
                </a:cubicBezTo>
                <a:cubicBezTo>
                  <a:pt x="6408606" y="289850"/>
                  <a:pt x="6409026" y="281450"/>
                  <a:pt x="6409866" y="271371"/>
                </a:cubicBezTo>
                <a:cubicBezTo>
                  <a:pt x="6410706" y="261711"/>
                  <a:pt x="6413226" y="249952"/>
                  <a:pt x="6417006" y="236512"/>
                </a:cubicBezTo>
                <a:cubicBezTo>
                  <a:pt x="6420366" y="239872"/>
                  <a:pt x="6426245" y="241972"/>
                  <a:pt x="6433385" y="242392"/>
                </a:cubicBezTo>
                <a:moveTo>
                  <a:pt x="6423726" y="98758"/>
                </a:moveTo>
                <a:cubicBezTo>
                  <a:pt x="6425406" y="94978"/>
                  <a:pt x="6429185" y="92878"/>
                  <a:pt x="6434225" y="92459"/>
                </a:cubicBezTo>
                <a:cubicBezTo>
                  <a:pt x="6439265" y="91619"/>
                  <a:pt x="6443465" y="92878"/>
                  <a:pt x="6446405" y="94978"/>
                </a:cubicBezTo>
                <a:cubicBezTo>
                  <a:pt x="6450184" y="97918"/>
                  <a:pt x="6452704" y="101278"/>
                  <a:pt x="6453964" y="105478"/>
                </a:cubicBezTo>
                <a:cubicBezTo>
                  <a:pt x="6455224" y="109678"/>
                  <a:pt x="6455644" y="113878"/>
                  <a:pt x="6454804" y="118077"/>
                </a:cubicBezTo>
                <a:cubicBezTo>
                  <a:pt x="6454384" y="122277"/>
                  <a:pt x="6452704" y="126897"/>
                  <a:pt x="6450605" y="130677"/>
                </a:cubicBezTo>
                <a:cubicBezTo>
                  <a:pt x="6448505" y="134877"/>
                  <a:pt x="6445984" y="138657"/>
                  <a:pt x="6442625" y="141176"/>
                </a:cubicBezTo>
                <a:cubicBezTo>
                  <a:pt x="6442205" y="141597"/>
                  <a:pt x="6440945" y="142437"/>
                  <a:pt x="6438425" y="144116"/>
                </a:cubicBezTo>
                <a:cubicBezTo>
                  <a:pt x="6435905" y="145796"/>
                  <a:pt x="6433385" y="147056"/>
                  <a:pt x="6430865" y="148736"/>
                </a:cubicBezTo>
                <a:cubicBezTo>
                  <a:pt x="6428345" y="150416"/>
                  <a:pt x="6425825" y="151256"/>
                  <a:pt x="6423726" y="152096"/>
                </a:cubicBezTo>
                <a:cubicBezTo>
                  <a:pt x="6421626" y="152936"/>
                  <a:pt x="6420366" y="152936"/>
                  <a:pt x="6419946" y="151676"/>
                </a:cubicBezTo>
                <a:cubicBezTo>
                  <a:pt x="6419526" y="148736"/>
                  <a:pt x="6418685" y="144956"/>
                  <a:pt x="6418266" y="139497"/>
                </a:cubicBezTo>
                <a:cubicBezTo>
                  <a:pt x="6417846" y="134037"/>
                  <a:pt x="6417846" y="128997"/>
                  <a:pt x="6418266" y="123537"/>
                </a:cubicBezTo>
                <a:cubicBezTo>
                  <a:pt x="6418685" y="118077"/>
                  <a:pt x="6419106" y="113038"/>
                  <a:pt x="6419946" y="107998"/>
                </a:cubicBezTo>
                <a:cubicBezTo>
                  <a:pt x="6420785" y="102958"/>
                  <a:pt x="6422046" y="99178"/>
                  <a:pt x="6423306" y="96239"/>
                </a:cubicBezTo>
                <a:lnTo>
                  <a:pt x="6423726" y="98758"/>
                </a:lnTo>
                <a:close/>
                <a:moveTo>
                  <a:pt x="6664795" y="97498"/>
                </a:moveTo>
                <a:cubicBezTo>
                  <a:pt x="6660175" y="113458"/>
                  <a:pt x="6659335" y="129417"/>
                  <a:pt x="6662275" y="145376"/>
                </a:cubicBezTo>
                <a:cubicBezTo>
                  <a:pt x="6665215" y="161336"/>
                  <a:pt x="6670675" y="178555"/>
                  <a:pt x="6678235" y="196194"/>
                </a:cubicBezTo>
                <a:cubicBezTo>
                  <a:pt x="6685794" y="213833"/>
                  <a:pt x="6692514" y="233572"/>
                  <a:pt x="6698394" y="254992"/>
                </a:cubicBezTo>
                <a:cubicBezTo>
                  <a:pt x="6698814" y="257932"/>
                  <a:pt x="6700494" y="262131"/>
                  <a:pt x="6702594" y="268011"/>
                </a:cubicBezTo>
                <a:cubicBezTo>
                  <a:pt x="6704694" y="273891"/>
                  <a:pt x="6706794" y="280191"/>
                  <a:pt x="6708893" y="287750"/>
                </a:cubicBezTo>
                <a:cubicBezTo>
                  <a:pt x="6710993" y="295310"/>
                  <a:pt x="6713093" y="302869"/>
                  <a:pt x="6714773" y="311269"/>
                </a:cubicBezTo>
                <a:cubicBezTo>
                  <a:pt x="6716453" y="319669"/>
                  <a:pt x="6717713" y="327229"/>
                  <a:pt x="6717713" y="333948"/>
                </a:cubicBezTo>
                <a:cubicBezTo>
                  <a:pt x="6718133" y="341088"/>
                  <a:pt x="6717293" y="347388"/>
                  <a:pt x="6715193" y="352428"/>
                </a:cubicBezTo>
                <a:cubicBezTo>
                  <a:pt x="6713513" y="357887"/>
                  <a:pt x="6709733" y="361247"/>
                  <a:pt x="6704694" y="362927"/>
                </a:cubicBezTo>
                <a:cubicBezTo>
                  <a:pt x="6701334" y="364187"/>
                  <a:pt x="6697973" y="364187"/>
                  <a:pt x="6695034" y="362927"/>
                </a:cubicBezTo>
                <a:cubicBezTo>
                  <a:pt x="6692094" y="361667"/>
                  <a:pt x="6689574" y="359987"/>
                  <a:pt x="6686634" y="357467"/>
                </a:cubicBezTo>
                <a:cubicBezTo>
                  <a:pt x="6684114" y="354947"/>
                  <a:pt x="6681595" y="352428"/>
                  <a:pt x="6679074" y="349488"/>
                </a:cubicBezTo>
                <a:cubicBezTo>
                  <a:pt x="6676555" y="346548"/>
                  <a:pt x="6674874" y="344028"/>
                  <a:pt x="6672775" y="342348"/>
                </a:cubicBezTo>
                <a:cubicBezTo>
                  <a:pt x="6666475" y="335628"/>
                  <a:pt x="6660596" y="332688"/>
                  <a:pt x="6654716" y="332688"/>
                </a:cubicBezTo>
                <a:cubicBezTo>
                  <a:pt x="6648836" y="332688"/>
                  <a:pt x="6643376" y="335208"/>
                  <a:pt x="6638756" y="339408"/>
                </a:cubicBezTo>
                <a:cubicBezTo>
                  <a:pt x="6634136" y="343608"/>
                  <a:pt x="6630356" y="349488"/>
                  <a:pt x="6627837" y="356627"/>
                </a:cubicBezTo>
                <a:cubicBezTo>
                  <a:pt x="6624897" y="363767"/>
                  <a:pt x="6624057" y="370487"/>
                  <a:pt x="6624897" y="377626"/>
                </a:cubicBezTo>
                <a:cubicBezTo>
                  <a:pt x="6625737" y="385186"/>
                  <a:pt x="6627837" y="393166"/>
                  <a:pt x="6631197" y="401145"/>
                </a:cubicBezTo>
                <a:cubicBezTo>
                  <a:pt x="6634556" y="409125"/>
                  <a:pt x="6639176" y="416685"/>
                  <a:pt x="6644636" y="423404"/>
                </a:cubicBezTo>
                <a:cubicBezTo>
                  <a:pt x="6650096" y="430124"/>
                  <a:pt x="6656816" y="435584"/>
                  <a:pt x="6664375" y="439784"/>
                </a:cubicBezTo>
                <a:cubicBezTo>
                  <a:pt x="6671935" y="443984"/>
                  <a:pt x="6680334" y="446083"/>
                  <a:pt x="6689154" y="445663"/>
                </a:cubicBezTo>
                <a:cubicBezTo>
                  <a:pt x="6712253" y="444824"/>
                  <a:pt x="6730312" y="439784"/>
                  <a:pt x="6744592" y="429284"/>
                </a:cubicBezTo>
                <a:cubicBezTo>
                  <a:pt x="6758451" y="419205"/>
                  <a:pt x="6769370" y="406605"/>
                  <a:pt x="6776510" y="391906"/>
                </a:cubicBezTo>
                <a:cubicBezTo>
                  <a:pt x="6783650" y="377206"/>
                  <a:pt x="6787430" y="361247"/>
                  <a:pt x="6788270" y="344028"/>
                </a:cubicBezTo>
                <a:cubicBezTo>
                  <a:pt x="6789110" y="326808"/>
                  <a:pt x="6787430" y="310429"/>
                  <a:pt x="6783230" y="295310"/>
                </a:cubicBezTo>
                <a:cubicBezTo>
                  <a:pt x="6780290" y="283550"/>
                  <a:pt x="6776091" y="271791"/>
                  <a:pt x="6770631" y="260031"/>
                </a:cubicBezTo>
                <a:cubicBezTo>
                  <a:pt x="6765171" y="248272"/>
                  <a:pt x="6759711" y="236512"/>
                  <a:pt x="6754671" y="224333"/>
                </a:cubicBezTo>
                <a:cubicBezTo>
                  <a:pt x="6749212" y="212153"/>
                  <a:pt x="6745012" y="200394"/>
                  <a:pt x="6740812" y="188214"/>
                </a:cubicBezTo>
                <a:cubicBezTo>
                  <a:pt x="6736612" y="176035"/>
                  <a:pt x="6734512" y="163856"/>
                  <a:pt x="6734092" y="152096"/>
                </a:cubicBezTo>
                <a:cubicBezTo>
                  <a:pt x="6733252" y="134877"/>
                  <a:pt x="6734512" y="121857"/>
                  <a:pt x="6737872" y="113878"/>
                </a:cubicBezTo>
                <a:cubicBezTo>
                  <a:pt x="6741232" y="105478"/>
                  <a:pt x="6745852" y="99598"/>
                  <a:pt x="6752571" y="95818"/>
                </a:cubicBezTo>
                <a:cubicBezTo>
                  <a:pt x="6759291" y="92039"/>
                  <a:pt x="6767691" y="89099"/>
                  <a:pt x="6777770" y="86999"/>
                </a:cubicBezTo>
                <a:cubicBezTo>
                  <a:pt x="6787850" y="84899"/>
                  <a:pt x="6799609" y="81539"/>
                  <a:pt x="6813049" y="76499"/>
                </a:cubicBezTo>
                <a:cubicBezTo>
                  <a:pt x="6818089" y="74819"/>
                  <a:pt x="6823548" y="72300"/>
                  <a:pt x="6828588" y="68520"/>
                </a:cubicBezTo>
                <a:cubicBezTo>
                  <a:pt x="6833628" y="65160"/>
                  <a:pt x="6836988" y="60120"/>
                  <a:pt x="6837828" y="53400"/>
                </a:cubicBezTo>
                <a:cubicBezTo>
                  <a:pt x="6836568" y="47101"/>
                  <a:pt x="6834888" y="41221"/>
                  <a:pt x="6832788" y="36181"/>
                </a:cubicBezTo>
                <a:cubicBezTo>
                  <a:pt x="6830688" y="31141"/>
                  <a:pt x="6828168" y="26942"/>
                  <a:pt x="6824808" y="23162"/>
                </a:cubicBezTo>
                <a:cubicBezTo>
                  <a:pt x="6821448" y="19802"/>
                  <a:pt x="6816829" y="17282"/>
                  <a:pt x="6811369" y="15602"/>
                </a:cubicBezTo>
                <a:cubicBezTo>
                  <a:pt x="6805909" y="13922"/>
                  <a:pt x="6799190" y="13502"/>
                  <a:pt x="6790790" y="14342"/>
                </a:cubicBezTo>
                <a:cubicBezTo>
                  <a:pt x="6783650" y="15182"/>
                  <a:pt x="6775670" y="16022"/>
                  <a:pt x="6767271" y="18122"/>
                </a:cubicBezTo>
                <a:cubicBezTo>
                  <a:pt x="6758871" y="19802"/>
                  <a:pt x="6750471" y="21902"/>
                  <a:pt x="6742492" y="24421"/>
                </a:cubicBezTo>
                <a:cubicBezTo>
                  <a:pt x="6734092" y="26942"/>
                  <a:pt x="6726532" y="30301"/>
                  <a:pt x="6718973" y="34081"/>
                </a:cubicBezTo>
                <a:cubicBezTo>
                  <a:pt x="6711413" y="37861"/>
                  <a:pt x="6705113" y="42481"/>
                  <a:pt x="6700073" y="47941"/>
                </a:cubicBezTo>
                <a:cubicBezTo>
                  <a:pt x="6681174" y="65160"/>
                  <a:pt x="6669415" y="81959"/>
                  <a:pt x="6664795" y="97498"/>
                </a:cubicBezTo>
              </a:path>
            </a:pathLst>
          </a:custGeom>
          <a:solidFill>
            <a:srgbClr val="000000"/>
          </a:solidFill>
          <a:ln w="41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13" name="Subtitle 2">
            <a:extLst>
              <a:ext uri="{FF2B5EF4-FFF2-40B4-BE49-F238E27FC236}">
                <a16:creationId xmlns:a16="http://schemas.microsoft.com/office/drawing/2014/main" id="{965E7DB7-849B-4F91-A5B5-B106CFEEC8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137" y="5587851"/>
            <a:ext cx="5312053" cy="1000274"/>
          </a:xfrm>
          <a:prstGeom prst="rect">
            <a:avLst/>
          </a:prstGeo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1300" i="1">
                <a:solidFill>
                  <a:schemeClr val="bg1"/>
                </a:solidFill>
                <a:latin typeface="+mn-lt"/>
              </a:defRPr>
            </a:lvl1pPr>
            <a:lvl2pPr marL="633493" indent="0" algn="ctr">
              <a:buNone/>
              <a:defRPr sz="2772"/>
            </a:lvl2pPr>
            <a:lvl3pPr marL="1266984" indent="0" algn="ctr">
              <a:buNone/>
              <a:defRPr sz="2494"/>
            </a:lvl3pPr>
            <a:lvl4pPr marL="1900477" indent="0" algn="ctr">
              <a:buNone/>
              <a:defRPr sz="2217"/>
            </a:lvl4pPr>
            <a:lvl5pPr marL="2533969" indent="0" algn="ctr">
              <a:buNone/>
              <a:defRPr sz="2217"/>
            </a:lvl5pPr>
            <a:lvl6pPr marL="3167462" indent="0" algn="ctr">
              <a:buNone/>
              <a:defRPr sz="2217"/>
            </a:lvl6pPr>
            <a:lvl7pPr marL="3800953" indent="0" algn="ctr">
              <a:buNone/>
              <a:defRPr sz="2217"/>
            </a:lvl7pPr>
            <a:lvl8pPr marL="4434446" indent="0" algn="ctr">
              <a:buNone/>
              <a:defRPr sz="2217"/>
            </a:lvl8pPr>
            <a:lvl9pPr marL="5067937" indent="0" algn="ctr">
              <a:buNone/>
              <a:defRPr sz="2217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Position</a:t>
            </a:r>
            <a:br>
              <a:rPr lang="en-US"/>
            </a:br>
            <a:br>
              <a:rPr lang="en-US"/>
            </a:br>
            <a:r>
              <a:rPr lang="en-US"/>
              <a:t>Phone </a:t>
            </a:r>
            <a:br>
              <a:rPr lang="en-US"/>
            </a:br>
            <a:r>
              <a:rPr lang="en-US"/>
              <a:t>Mail</a:t>
            </a:r>
            <a:endParaRPr lang="en-US" dirty="0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6E7DDF8C-9061-3AEC-FC43-3422DDB2DB75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A6431502-63FD-AB79-6415-EDB7E49F4A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8908"/>
          <a:stretch/>
        </p:blipFill>
        <p:spPr>
          <a:xfrm>
            <a:off x="366896" y="392181"/>
            <a:ext cx="1648717" cy="56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640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46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buFontTx/>
              <a:buNone/>
            </a:pPr>
            <a:endParaRPr lang="de-DE" sz="2400" b="1" i="0" baseline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3720" y="853200"/>
            <a:ext cx="9610293" cy="332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8" name="Line 6">
            <a:extLst>
              <a:ext uri="{FF2B5EF4-FFF2-40B4-BE49-F238E27FC236}">
                <a16:creationId xmlns:a16="http://schemas.microsoft.com/office/drawing/2014/main" id="{1E4C7F0E-1F91-458D-BFE4-1A88854780A3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3443720" y="1296667"/>
            <a:ext cx="9610293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square" lIns="64047" tIns="62570" rIns="125137" bIns="62570">
            <a:spAutoFit/>
          </a:bodyPr>
          <a:lstStyle/>
          <a:p>
            <a:endParaRPr lang="en-GB" sz="2263" noProof="0">
              <a:solidFill>
                <a:schemeClr val="bg2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6156BFB-E866-4FC9-9320-94C5428A49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43720" y="1374098"/>
            <a:ext cx="9610293" cy="276999"/>
          </a:xfrm>
        </p:spPr>
        <p:txBody>
          <a:bodyPr wrap="square" anchor="ctr">
            <a:spAutoFit/>
          </a:bodyPr>
          <a:lstStyle>
            <a:lvl1pPr marL="0" indent="0">
              <a:buNone/>
              <a:defRPr>
                <a:latin typeface="+mj-lt"/>
              </a:defRPr>
            </a:lvl1pPr>
            <a:lvl2pPr marL="221500" indent="0">
              <a:buNone/>
              <a:defRPr>
                <a:latin typeface="+mj-lt"/>
              </a:defRPr>
            </a:lvl2pPr>
            <a:lvl3pPr marL="444994" indent="0">
              <a:buNone/>
              <a:defRPr>
                <a:latin typeface="+mj-lt"/>
              </a:defRPr>
            </a:lvl3pPr>
            <a:lvl4pPr marL="1900476" indent="0">
              <a:buNone/>
              <a:defRPr>
                <a:latin typeface="+mj-lt"/>
              </a:defRPr>
            </a:lvl4pPr>
            <a:lvl5pPr marL="2533969" indent="0">
              <a:buNone/>
              <a:defRPr>
                <a:latin typeface="+mj-lt"/>
              </a:defRPr>
            </a:lvl5pPr>
          </a:lstStyle>
          <a:p>
            <a:pPr lvl="0"/>
            <a:r>
              <a:rPr lang="de-DE" err="1"/>
              <a:t>Subtitle</a:t>
            </a:r>
            <a:endParaRPr lang="en-GB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29AEEB81-4544-4B54-8DCD-A9E37F65EF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43722" y="7065174"/>
            <a:ext cx="9610291" cy="2706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5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</a:lstStyle>
          <a:p>
            <a:pPr lvl="0"/>
            <a:r>
              <a:rPr lang="de-DE"/>
              <a:t>1) </a:t>
            </a:r>
            <a:r>
              <a:rPr lang="de-DE" err="1"/>
              <a:t>Footnote</a:t>
            </a:r>
            <a:br>
              <a:rPr lang="de-DE"/>
            </a:br>
            <a:r>
              <a:rPr lang="de-DE"/>
              <a:t>Source: …</a:t>
            </a:r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6B1456F-FFA7-4C7E-B430-D8908332E6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2588" y="2124075"/>
            <a:ext cx="12674600" cy="907941"/>
          </a:xfrm>
        </p:spPr>
        <p:txBody>
          <a:bodyPr/>
          <a:lstStyle>
            <a:lvl2pPr>
              <a:defRPr/>
            </a:lvl2pPr>
            <a:lvl3pPr marL="541338" indent="-180975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642C188-9A17-4E13-9541-DA39B97ACA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311121"/>
            <a:fld id="{E4F7A248-6017-4496-9348-F98F0CB3E9CD}" type="slidenum">
              <a:rPr lang="en-GB" smtClean="0"/>
              <a:pPr defTabSz="1311121"/>
              <a:t>‹N°›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1266984">
              <a:buFont typeface="Symbol" panose="05050102010706020507" pitchFamily="18" charset="2"/>
              <a:buNone/>
            </a:pPr>
            <a:r>
              <a:rPr lang="de-AT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9236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92FA54-A472-4D13-BDB8-E6C8DFCD1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767507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92FA54-A472-4D13-BDB8-E6C8DFCD1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E631821-7306-448E-8A38-74AD88398099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D3B1EE8-445D-4560-83D9-D22E50213D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4000" b="0" i="1" baseline="0" dirty="0" err="1">
              <a:solidFill>
                <a:schemeClr val="bg2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04786" y="3150645"/>
            <a:ext cx="6268850" cy="323165"/>
          </a:xfrm>
          <a:prstGeom prst="rect">
            <a:avLst/>
          </a:prstGeom>
        </p:spPr>
        <p:txBody>
          <a:bodyPr vert="horz" anchor="t"/>
          <a:lstStyle>
            <a:lvl1pPr algn="l" rtl="0">
              <a:lnSpc>
                <a:spcPct val="100000"/>
              </a:lnSpc>
              <a:defRPr sz="21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Subtitle (if needed)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799DA37-69AA-4A3D-B5F0-F8F9951252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4787" y="1982378"/>
            <a:ext cx="6268850" cy="615553"/>
          </a:xfrm>
        </p:spPr>
        <p:txBody>
          <a:bodyPr anchor="b"/>
          <a:lstStyle>
            <a:lvl1pPr marL="0" indent="0" rtl="0">
              <a:buNone/>
              <a:defRPr sz="4000" b="0" i="1">
                <a:solidFill>
                  <a:schemeClr val="bg1"/>
                </a:solidFill>
                <a:latin typeface="+mn-lt"/>
              </a:defRPr>
            </a:lvl1pPr>
            <a:lvl2pPr marL="221500" indent="0">
              <a:buNone/>
              <a:defRPr sz="6285" b="1">
                <a:solidFill>
                  <a:schemeClr val="bg1"/>
                </a:solidFill>
                <a:latin typeface="+mj-lt"/>
              </a:defRPr>
            </a:lvl2pPr>
            <a:lvl3pPr marL="444994" indent="0">
              <a:buNone/>
              <a:defRPr sz="6285" b="1">
                <a:solidFill>
                  <a:schemeClr val="bg1"/>
                </a:solidFill>
                <a:latin typeface="+mj-lt"/>
              </a:defRPr>
            </a:lvl3pPr>
            <a:lvl4pPr marL="1900476" indent="0">
              <a:buNone/>
              <a:defRPr sz="6285" b="1">
                <a:solidFill>
                  <a:schemeClr val="bg1"/>
                </a:solidFill>
                <a:latin typeface="+mj-lt"/>
              </a:defRPr>
            </a:lvl4pPr>
            <a:lvl5pPr marL="2533969" indent="0">
              <a:buNone/>
              <a:defRPr sz="6285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8327" y="7061511"/>
            <a:ext cx="12663119" cy="200055"/>
          </a:xfrm>
          <a:prstGeom prst="rect">
            <a:avLst/>
          </a:prstGeom>
        </p:spPr>
        <p:txBody>
          <a:bodyPr anchor="ctr"/>
          <a:lstStyle>
            <a:lvl1pPr marL="0" indent="0" algn="l" rtl="0">
              <a:buNone/>
              <a:defRPr sz="1300">
                <a:solidFill>
                  <a:schemeClr val="bg1"/>
                </a:solidFill>
                <a:latin typeface="+mj-lt"/>
              </a:defRPr>
            </a:lvl1pPr>
            <a:lvl2pPr marL="633493" indent="0" algn="ctr">
              <a:buNone/>
              <a:defRPr sz="2772"/>
            </a:lvl2pPr>
            <a:lvl3pPr marL="1266984" indent="0" algn="ctr">
              <a:buNone/>
              <a:defRPr sz="2494"/>
            </a:lvl3pPr>
            <a:lvl4pPr marL="1900477" indent="0" algn="ctr">
              <a:buNone/>
              <a:defRPr sz="2217"/>
            </a:lvl4pPr>
            <a:lvl5pPr marL="2533969" indent="0" algn="ctr">
              <a:buNone/>
              <a:defRPr sz="2217"/>
            </a:lvl5pPr>
            <a:lvl6pPr marL="3167462" indent="0" algn="ctr">
              <a:buNone/>
              <a:defRPr sz="2217"/>
            </a:lvl6pPr>
            <a:lvl7pPr marL="3800953" indent="0" algn="ctr">
              <a:buNone/>
              <a:defRPr sz="2217"/>
            </a:lvl7pPr>
            <a:lvl8pPr marL="4434446" indent="0" algn="ctr">
              <a:buNone/>
              <a:defRPr sz="2217"/>
            </a:lvl8pPr>
            <a:lvl9pPr marL="5067937" indent="0" algn="ctr">
              <a:buNone/>
              <a:defRPr sz="2217"/>
            </a:lvl9pPr>
          </a:lstStyle>
          <a:p>
            <a:r>
              <a:rPr lang="en-US" dirty="0"/>
              <a:t>Evotec SE, Place or Presentation title, Date (YYYY-MM-DD)</a:t>
            </a:r>
          </a:p>
        </p:txBody>
      </p:sp>
      <p:sp>
        <p:nvSpPr>
          <p:cNvPr id="19" name="Grafik 17">
            <a:extLst>
              <a:ext uri="{FF2B5EF4-FFF2-40B4-BE49-F238E27FC236}">
                <a16:creationId xmlns:a16="http://schemas.microsoft.com/office/drawing/2014/main" id="{A459FD5D-9A83-431E-97E6-82FCF63073C2}"/>
              </a:ext>
            </a:extLst>
          </p:cNvPr>
          <p:cNvSpPr>
            <a:spLocks noChangeAspect="1"/>
          </p:cNvSpPr>
          <p:nvPr/>
        </p:nvSpPr>
        <p:spPr>
          <a:xfrm>
            <a:off x="10928350" y="583611"/>
            <a:ext cx="2125663" cy="358539"/>
          </a:xfrm>
          <a:custGeom>
            <a:avLst/>
            <a:gdLst>
              <a:gd name="connsiteX0" fmla="*/ 432263 w 6837827"/>
              <a:gd name="connsiteY0" fmla="*/ 777449 h 1153348"/>
              <a:gd name="connsiteX1" fmla="*/ 411264 w 6837827"/>
              <a:gd name="connsiteY1" fmla="*/ 771569 h 1153348"/>
              <a:gd name="connsiteX2" fmla="*/ 386065 w 6837827"/>
              <a:gd name="connsiteY2" fmla="*/ 771569 h 1153348"/>
              <a:gd name="connsiteX3" fmla="*/ 360026 w 6837827"/>
              <a:gd name="connsiteY3" fmla="*/ 774929 h 1153348"/>
              <a:gd name="connsiteX4" fmla="*/ 336507 w 6837827"/>
              <a:gd name="connsiteY4" fmla="*/ 779129 h 1153348"/>
              <a:gd name="connsiteX5" fmla="*/ 318028 w 6837827"/>
              <a:gd name="connsiteY5" fmla="*/ 782069 h 1153348"/>
              <a:gd name="connsiteX6" fmla="*/ 320548 w 6837827"/>
              <a:gd name="connsiteY6" fmla="*/ 761070 h 1153348"/>
              <a:gd name="connsiteX7" fmla="*/ 327687 w 6837827"/>
              <a:gd name="connsiteY7" fmla="*/ 734611 h 1153348"/>
              <a:gd name="connsiteX8" fmla="*/ 335667 w 6837827"/>
              <a:gd name="connsiteY8" fmla="*/ 706472 h 1153348"/>
              <a:gd name="connsiteX9" fmla="*/ 341127 w 6837827"/>
              <a:gd name="connsiteY9" fmla="*/ 679593 h 1153348"/>
              <a:gd name="connsiteX10" fmla="*/ 341547 w 6837827"/>
              <a:gd name="connsiteY10" fmla="*/ 656494 h 1153348"/>
              <a:gd name="connsiteX11" fmla="*/ 333987 w 6837827"/>
              <a:gd name="connsiteY11" fmla="*/ 640955 h 1153348"/>
              <a:gd name="connsiteX12" fmla="*/ 312988 w 6837827"/>
              <a:gd name="connsiteY12" fmla="*/ 632555 h 1153348"/>
              <a:gd name="connsiteX13" fmla="*/ 290729 w 6837827"/>
              <a:gd name="connsiteY13" fmla="*/ 633395 h 1153348"/>
              <a:gd name="connsiteX14" fmla="*/ 278549 w 6837827"/>
              <a:gd name="connsiteY14" fmla="*/ 643055 h 1153348"/>
              <a:gd name="connsiteX15" fmla="*/ 272250 w 6837827"/>
              <a:gd name="connsiteY15" fmla="*/ 659014 h 1153348"/>
              <a:gd name="connsiteX16" fmla="*/ 268890 w 6837827"/>
              <a:gd name="connsiteY16" fmla="*/ 676653 h 1153348"/>
              <a:gd name="connsiteX17" fmla="*/ 265950 w 6837827"/>
              <a:gd name="connsiteY17" fmla="*/ 691773 h 1153348"/>
              <a:gd name="connsiteX18" fmla="*/ 251251 w 6837827"/>
              <a:gd name="connsiteY18" fmla="*/ 745531 h 1153348"/>
              <a:gd name="connsiteX19" fmla="*/ 244111 w 6837827"/>
              <a:gd name="connsiteY19" fmla="*/ 800128 h 1153348"/>
              <a:gd name="connsiteX20" fmla="*/ 205053 w 6837827"/>
              <a:gd name="connsiteY20" fmla="*/ 808948 h 1153348"/>
              <a:gd name="connsiteX21" fmla="*/ 165994 w 6837827"/>
              <a:gd name="connsiteY21" fmla="*/ 818187 h 1153348"/>
              <a:gd name="connsiteX22" fmla="*/ 168514 w 6837827"/>
              <a:gd name="connsiteY22" fmla="*/ 786269 h 1153348"/>
              <a:gd name="connsiteX23" fmla="*/ 176494 w 6837827"/>
              <a:gd name="connsiteY23" fmla="*/ 756030 h 1153348"/>
              <a:gd name="connsiteX24" fmla="*/ 184053 w 6837827"/>
              <a:gd name="connsiteY24" fmla="*/ 725371 h 1153348"/>
              <a:gd name="connsiteX25" fmla="*/ 185313 w 6837827"/>
              <a:gd name="connsiteY25" fmla="*/ 691773 h 1153348"/>
              <a:gd name="connsiteX26" fmla="*/ 179014 w 6837827"/>
              <a:gd name="connsiteY26" fmla="*/ 675394 h 1153348"/>
              <a:gd name="connsiteX27" fmla="*/ 166414 w 6837827"/>
              <a:gd name="connsiteY27" fmla="*/ 666154 h 1153348"/>
              <a:gd name="connsiteX28" fmla="*/ 151295 w 6837827"/>
              <a:gd name="connsiteY28" fmla="*/ 664894 h 1153348"/>
              <a:gd name="connsiteX29" fmla="*/ 137016 w 6837827"/>
              <a:gd name="connsiteY29" fmla="*/ 674134 h 1153348"/>
              <a:gd name="connsiteX30" fmla="*/ 129036 w 6837827"/>
              <a:gd name="connsiteY30" fmla="*/ 690933 h 1153348"/>
              <a:gd name="connsiteX31" fmla="*/ 123156 w 6837827"/>
              <a:gd name="connsiteY31" fmla="*/ 708992 h 1153348"/>
              <a:gd name="connsiteX32" fmla="*/ 112237 w 6837827"/>
              <a:gd name="connsiteY32" fmla="*/ 738391 h 1153348"/>
              <a:gd name="connsiteX33" fmla="*/ 107197 w 6837827"/>
              <a:gd name="connsiteY33" fmla="*/ 770729 h 1153348"/>
              <a:gd name="connsiteX34" fmla="*/ 103417 w 6837827"/>
              <a:gd name="connsiteY34" fmla="*/ 803068 h 1153348"/>
              <a:gd name="connsiteX35" fmla="*/ 95437 w 6837827"/>
              <a:gd name="connsiteY35" fmla="*/ 832467 h 1153348"/>
              <a:gd name="connsiteX36" fmla="*/ 74858 w 6837827"/>
              <a:gd name="connsiteY36" fmla="*/ 835407 h 1153348"/>
              <a:gd name="connsiteX37" fmla="*/ 53859 w 6837827"/>
              <a:gd name="connsiteY37" fmla="*/ 838767 h 1153348"/>
              <a:gd name="connsiteX38" fmla="*/ 32020 w 6837827"/>
              <a:gd name="connsiteY38" fmla="*/ 845906 h 1153348"/>
              <a:gd name="connsiteX39" fmla="*/ 21100 w 6837827"/>
              <a:gd name="connsiteY39" fmla="*/ 858506 h 1153348"/>
              <a:gd name="connsiteX40" fmla="*/ 19841 w 6837827"/>
              <a:gd name="connsiteY40" fmla="*/ 874465 h 1153348"/>
              <a:gd name="connsiteX41" fmla="*/ 26980 w 6837827"/>
              <a:gd name="connsiteY41" fmla="*/ 891684 h 1153348"/>
              <a:gd name="connsiteX42" fmla="*/ 38320 w 6837827"/>
              <a:gd name="connsiteY42" fmla="*/ 901764 h 1153348"/>
              <a:gd name="connsiteX43" fmla="*/ 54279 w 6837827"/>
              <a:gd name="connsiteY43" fmla="*/ 905544 h 1153348"/>
              <a:gd name="connsiteX44" fmla="*/ 71078 w 6837827"/>
              <a:gd name="connsiteY44" fmla="*/ 905544 h 1153348"/>
              <a:gd name="connsiteX45" fmla="*/ 85358 w 6837827"/>
              <a:gd name="connsiteY45" fmla="*/ 903864 h 1153348"/>
              <a:gd name="connsiteX46" fmla="*/ 76538 w 6837827"/>
              <a:gd name="connsiteY46" fmla="*/ 947542 h 1153348"/>
              <a:gd name="connsiteX47" fmla="*/ 69398 w 6837827"/>
              <a:gd name="connsiteY47" fmla="*/ 989960 h 1153348"/>
              <a:gd name="connsiteX48" fmla="*/ 49659 w 6837827"/>
              <a:gd name="connsiteY48" fmla="*/ 995420 h 1153348"/>
              <a:gd name="connsiteX49" fmla="*/ 29920 w 6837827"/>
              <a:gd name="connsiteY49" fmla="*/ 1000880 h 1153348"/>
              <a:gd name="connsiteX50" fmla="*/ 16061 w 6837827"/>
              <a:gd name="connsiteY50" fmla="*/ 1007179 h 1153348"/>
              <a:gd name="connsiteX51" fmla="*/ 5141 w 6837827"/>
              <a:gd name="connsiteY51" fmla="*/ 1016419 h 1153348"/>
              <a:gd name="connsiteX52" fmla="*/ 101 w 6837827"/>
              <a:gd name="connsiteY52" fmla="*/ 1028598 h 1153348"/>
              <a:gd name="connsiteX53" fmla="*/ 3461 w 6837827"/>
              <a:gd name="connsiteY53" fmla="*/ 1043718 h 1153348"/>
              <a:gd name="connsiteX54" fmla="*/ 27820 w 6837827"/>
              <a:gd name="connsiteY54" fmla="*/ 1064717 h 1153348"/>
              <a:gd name="connsiteX55" fmla="*/ 60999 w 6837827"/>
              <a:gd name="connsiteY55" fmla="*/ 1066397 h 1153348"/>
              <a:gd name="connsiteX56" fmla="*/ 56379 w 6837827"/>
              <a:gd name="connsiteY56" fmla="*/ 1099155 h 1153348"/>
              <a:gd name="connsiteX57" fmla="*/ 58479 w 6837827"/>
              <a:gd name="connsiteY57" fmla="*/ 1131074 h 1153348"/>
              <a:gd name="connsiteX58" fmla="*/ 79898 w 6837827"/>
              <a:gd name="connsiteY58" fmla="*/ 1151653 h 1153348"/>
              <a:gd name="connsiteX59" fmla="*/ 107617 w 6837827"/>
              <a:gd name="connsiteY59" fmla="*/ 1147033 h 1153348"/>
              <a:gd name="connsiteX60" fmla="*/ 119796 w 6837827"/>
              <a:gd name="connsiteY60" fmla="*/ 1130234 h 1153348"/>
              <a:gd name="connsiteX61" fmla="*/ 124836 w 6837827"/>
              <a:gd name="connsiteY61" fmla="*/ 1106715 h 1153348"/>
              <a:gd name="connsiteX62" fmla="*/ 126096 w 6837827"/>
              <a:gd name="connsiteY62" fmla="*/ 1081516 h 1153348"/>
              <a:gd name="connsiteX63" fmla="*/ 126096 w 6837827"/>
              <a:gd name="connsiteY63" fmla="*/ 1060097 h 1153348"/>
              <a:gd name="connsiteX64" fmla="*/ 166414 w 6837827"/>
              <a:gd name="connsiteY64" fmla="*/ 1049598 h 1153348"/>
              <a:gd name="connsiteX65" fmla="*/ 207152 w 6837827"/>
              <a:gd name="connsiteY65" fmla="*/ 1041198 h 1153348"/>
              <a:gd name="connsiteX66" fmla="*/ 205473 w 6837827"/>
              <a:gd name="connsiteY66" fmla="*/ 1057157 h 1153348"/>
              <a:gd name="connsiteX67" fmla="*/ 206733 w 6837827"/>
              <a:gd name="connsiteY67" fmla="*/ 1076056 h 1153348"/>
              <a:gd name="connsiteX68" fmla="*/ 209672 w 6837827"/>
              <a:gd name="connsiteY68" fmla="*/ 1095375 h 1153348"/>
              <a:gd name="connsiteX69" fmla="*/ 212612 w 6837827"/>
              <a:gd name="connsiteY69" fmla="*/ 1111755 h 1153348"/>
              <a:gd name="connsiteX70" fmla="*/ 224792 w 6837827"/>
              <a:gd name="connsiteY70" fmla="*/ 1132754 h 1153348"/>
              <a:gd name="connsiteX71" fmla="*/ 246211 w 6837827"/>
              <a:gd name="connsiteY71" fmla="*/ 1136954 h 1153348"/>
              <a:gd name="connsiteX72" fmla="*/ 268050 w 6837827"/>
              <a:gd name="connsiteY72" fmla="*/ 1129814 h 1153348"/>
              <a:gd name="connsiteX73" fmla="*/ 281489 w 6837827"/>
              <a:gd name="connsiteY73" fmla="*/ 1116375 h 1153348"/>
              <a:gd name="connsiteX74" fmla="*/ 284429 w 6837827"/>
              <a:gd name="connsiteY74" fmla="*/ 1094116 h 1153348"/>
              <a:gd name="connsiteX75" fmla="*/ 281069 w 6837827"/>
              <a:gd name="connsiteY75" fmla="*/ 1069757 h 1153348"/>
              <a:gd name="connsiteX76" fmla="*/ 276450 w 6837827"/>
              <a:gd name="connsiteY76" fmla="*/ 1045398 h 1153348"/>
              <a:gd name="connsiteX77" fmla="*/ 274770 w 6837827"/>
              <a:gd name="connsiteY77" fmla="*/ 1023979 h 1153348"/>
              <a:gd name="connsiteX78" fmla="*/ 297029 w 6837827"/>
              <a:gd name="connsiteY78" fmla="*/ 1015999 h 1153348"/>
              <a:gd name="connsiteX79" fmla="*/ 323068 w 6837827"/>
              <a:gd name="connsiteY79" fmla="*/ 1010539 h 1153348"/>
              <a:gd name="connsiteX80" fmla="*/ 348266 w 6837827"/>
              <a:gd name="connsiteY80" fmla="*/ 1004659 h 1153348"/>
              <a:gd name="connsiteX81" fmla="*/ 367586 w 6837827"/>
              <a:gd name="connsiteY81" fmla="*/ 994580 h 1153348"/>
              <a:gd name="connsiteX82" fmla="*/ 375145 w 6837827"/>
              <a:gd name="connsiteY82" fmla="*/ 984080 h 1153348"/>
              <a:gd name="connsiteX83" fmla="*/ 378085 w 6837827"/>
              <a:gd name="connsiteY83" fmla="*/ 969801 h 1153348"/>
              <a:gd name="connsiteX84" fmla="*/ 376405 w 6837827"/>
              <a:gd name="connsiteY84" fmla="*/ 955522 h 1153348"/>
              <a:gd name="connsiteX85" fmla="*/ 369266 w 6837827"/>
              <a:gd name="connsiteY85" fmla="*/ 944182 h 1153348"/>
              <a:gd name="connsiteX86" fmla="*/ 350786 w 6837827"/>
              <a:gd name="connsiteY86" fmla="*/ 935362 h 1153348"/>
              <a:gd name="connsiteX87" fmla="*/ 327687 w 6837827"/>
              <a:gd name="connsiteY87" fmla="*/ 932842 h 1153348"/>
              <a:gd name="connsiteX88" fmla="*/ 304168 w 6837827"/>
              <a:gd name="connsiteY88" fmla="*/ 934522 h 1153348"/>
              <a:gd name="connsiteX89" fmla="*/ 285269 w 6837827"/>
              <a:gd name="connsiteY89" fmla="*/ 937462 h 1153348"/>
              <a:gd name="connsiteX90" fmla="*/ 290309 w 6837827"/>
              <a:gd name="connsiteY90" fmla="*/ 895464 h 1153348"/>
              <a:gd name="connsiteX91" fmla="*/ 298289 w 6837827"/>
              <a:gd name="connsiteY91" fmla="*/ 860186 h 1153348"/>
              <a:gd name="connsiteX92" fmla="*/ 357506 w 6837827"/>
              <a:gd name="connsiteY92" fmla="*/ 845906 h 1153348"/>
              <a:gd name="connsiteX93" fmla="*/ 417143 w 6837827"/>
              <a:gd name="connsiteY93" fmla="*/ 835827 h 1153348"/>
              <a:gd name="connsiteX94" fmla="*/ 430583 w 6837827"/>
              <a:gd name="connsiteY94" fmla="*/ 829947 h 1153348"/>
              <a:gd name="connsiteX95" fmla="*/ 441082 w 6837827"/>
              <a:gd name="connsiteY95" fmla="*/ 818187 h 1153348"/>
              <a:gd name="connsiteX96" fmla="*/ 446962 w 6837827"/>
              <a:gd name="connsiteY96" fmla="*/ 804328 h 1153348"/>
              <a:gd name="connsiteX97" fmla="*/ 445702 w 6837827"/>
              <a:gd name="connsiteY97" fmla="*/ 791309 h 1153348"/>
              <a:gd name="connsiteX98" fmla="*/ 432263 w 6837827"/>
              <a:gd name="connsiteY98" fmla="*/ 777449 h 1153348"/>
              <a:gd name="connsiteX99" fmla="*/ 142055 w 6837827"/>
              <a:gd name="connsiteY99" fmla="*/ 963081 h 1153348"/>
              <a:gd name="connsiteX100" fmla="*/ 146675 w 6837827"/>
              <a:gd name="connsiteY100" fmla="*/ 926963 h 1153348"/>
              <a:gd name="connsiteX101" fmla="*/ 151295 w 6837827"/>
              <a:gd name="connsiteY101" fmla="*/ 893364 h 1153348"/>
              <a:gd name="connsiteX102" fmla="*/ 189093 w 6837827"/>
              <a:gd name="connsiteY102" fmla="*/ 887905 h 1153348"/>
              <a:gd name="connsiteX103" fmla="*/ 226052 w 6837827"/>
              <a:gd name="connsiteY103" fmla="*/ 879505 h 1153348"/>
              <a:gd name="connsiteX104" fmla="*/ 218912 w 6837827"/>
              <a:gd name="connsiteY104" fmla="*/ 900504 h 1153348"/>
              <a:gd name="connsiteX105" fmla="*/ 215552 w 6837827"/>
              <a:gd name="connsiteY105" fmla="*/ 916043 h 1153348"/>
              <a:gd name="connsiteX106" fmla="*/ 213872 w 6837827"/>
              <a:gd name="connsiteY106" fmla="*/ 931163 h 1153348"/>
              <a:gd name="connsiteX107" fmla="*/ 212192 w 6837827"/>
              <a:gd name="connsiteY107" fmla="*/ 949222 h 1153348"/>
              <a:gd name="connsiteX108" fmla="*/ 175654 w 6837827"/>
              <a:gd name="connsiteY108" fmla="*/ 957202 h 1153348"/>
              <a:gd name="connsiteX109" fmla="*/ 141635 w 6837827"/>
              <a:gd name="connsiteY109" fmla="*/ 965181 h 1153348"/>
              <a:gd name="connsiteX110" fmla="*/ 142055 w 6837827"/>
              <a:gd name="connsiteY110" fmla="*/ 963081 h 1153348"/>
              <a:gd name="connsiteX111" fmla="*/ 674172 w 6837827"/>
              <a:gd name="connsiteY111" fmla="*/ 656914 h 1153348"/>
              <a:gd name="connsiteX112" fmla="*/ 667873 w 6837827"/>
              <a:gd name="connsiteY112" fmla="*/ 634235 h 1153348"/>
              <a:gd name="connsiteX113" fmla="*/ 653173 w 6837827"/>
              <a:gd name="connsiteY113" fmla="*/ 617016 h 1153348"/>
              <a:gd name="connsiteX114" fmla="*/ 630914 w 6837827"/>
              <a:gd name="connsiteY114" fmla="*/ 612396 h 1153348"/>
              <a:gd name="connsiteX115" fmla="*/ 604455 w 6837827"/>
              <a:gd name="connsiteY115" fmla="*/ 626676 h 1153348"/>
              <a:gd name="connsiteX116" fmla="*/ 591856 w 6837827"/>
              <a:gd name="connsiteY116" fmla="*/ 658594 h 1153348"/>
              <a:gd name="connsiteX117" fmla="*/ 586396 w 6837827"/>
              <a:gd name="connsiteY117" fmla="*/ 696813 h 1153348"/>
              <a:gd name="connsiteX118" fmla="*/ 580936 w 6837827"/>
              <a:gd name="connsiteY118" fmla="*/ 730831 h 1153348"/>
              <a:gd name="connsiteX119" fmla="*/ 572537 w 6837827"/>
              <a:gd name="connsiteY119" fmla="*/ 774509 h 1153348"/>
              <a:gd name="connsiteX120" fmla="*/ 567077 w 6837827"/>
              <a:gd name="connsiteY120" fmla="*/ 824907 h 1153348"/>
              <a:gd name="connsiteX121" fmla="*/ 559937 w 6837827"/>
              <a:gd name="connsiteY121" fmla="*/ 874465 h 1153348"/>
              <a:gd name="connsiteX122" fmla="*/ 546498 w 6837827"/>
              <a:gd name="connsiteY122" fmla="*/ 915623 h 1153348"/>
              <a:gd name="connsiteX123" fmla="*/ 542298 w 6837827"/>
              <a:gd name="connsiteY123" fmla="*/ 929903 h 1153348"/>
              <a:gd name="connsiteX124" fmla="*/ 538098 w 6837827"/>
              <a:gd name="connsiteY124" fmla="*/ 953422 h 1153348"/>
              <a:gd name="connsiteX125" fmla="*/ 534318 w 6837827"/>
              <a:gd name="connsiteY125" fmla="*/ 980720 h 1153348"/>
              <a:gd name="connsiteX126" fmla="*/ 531379 w 6837827"/>
              <a:gd name="connsiteY126" fmla="*/ 1007179 h 1153348"/>
              <a:gd name="connsiteX127" fmla="*/ 529279 w 6837827"/>
              <a:gd name="connsiteY127" fmla="*/ 1028178 h 1153348"/>
              <a:gd name="connsiteX128" fmla="*/ 528439 w 6837827"/>
              <a:gd name="connsiteY128" fmla="*/ 1039098 h 1153348"/>
              <a:gd name="connsiteX129" fmla="*/ 530959 w 6837827"/>
              <a:gd name="connsiteY129" fmla="*/ 1064297 h 1153348"/>
              <a:gd name="connsiteX130" fmla="*/ 540198 w 6837827"/>
              <a:gd name="connsiteY130" fmla="*/ 1094116 h 1153348"/>
              <a:gd name="connsiteX131" fmla="*/ 556577 w 6837827"/>
              <a:gd name="connsiteY131" fmla="*/ 1118054 h 1153348"/>
              <a:gd name="connsiteX132" fmla="*/ 578837 w 6837827"/>
              <a:gd name="connsiteY132" fmla="*/ 1126454 h 1153348"/>
              <a:gd name="connsiteX133" fmla="*/ 600256 w 6837827"/>
              <a:gd name="connsiteY133" fmla="*/ 1116375 h 1153348"/>
              <a:gd name="connsiteX134" fmla="*/ 612015 w 6837827"/>
              <a:gd name="connsiteY134" fmla="*/ 1094956 h 1153348"/>
              <a:gd name="connsiteX135" fmla="*/ 616635 w 6837827"/>
              <a:gd name="connsiteY135" fmla="*/ 1066817 h 1153348"/>
              <a:gd name="connsiteX136" fmla="*/ 617895 w 6837827"/>
              <a:gd name="connsiteY136" fmla="*/ 1036578 h 1153348"/>
              <a:gd name="connsiteX137" fmla="*/ 618315 w 6837827"/>
              <a:gd name="connsiteY137" fmla="*/ 1008859 h 1153348"/>
              <a:gd name="connsiteX138" fmla="*/ 620835 w 6837827"/>
              <a:gd name="connsiteY138" fmla="*/ 987440 h 1153348"/>
              <a:gd name="connsiteX139" fmla="*/ 630494 w 6837827"/>
              <a:gd name="connsiteY139" fmla="*/ 932423 h 1153348"/>
              <a:gd name="connsiteX140" fmla="*/ 639734 w 6837827"/>
              <a:gd name="connsiteY140" fmla="*/ 875725 h 1153348"/>
              <a:gd name="connsiteX141" fmla="*/ 646034 w 6837827"/>
              <a:gd name="connsiteY141" fmla="*/ 845906 h 1153348"/>
              <a:gd name="connsiteX142" fmla="*/ 652753 w 6837827"/>
              <a:gd name="connsiteY142" fmla="*/ 813148 h 1153348"/>
              <a:gd name="connsiteX143" fmla="*/ 663253 w 6837827"/>
              <a:gd name="connsiteY143" fmla="*/ 782489 h 1153348"/>
              <a:gd name="connsiteX144" fmla="*/ 679632 w 6837827"/>
              <a:gd name="connsiteY144" fmla="*/ 759390 h 1153348"/>
              <a:gd name="connsiteX145" fmla="*/ 696012 w 6837827"/>
              <a:gd name="connsiteY145" fmla="*/ 745111 h 1153348"/>
              <a:gd name="connsiteX146" fmla="*/ 718271 w 6837827"/>
              <a:gd name="connsiteY146" fmla="*/ 727051 h 1153348"/>
              <a:gd name="connsiteX147" fmla="*/ 742210 w 6837827"/>
              <a:gd name="connsiteY147" fmla="*/ 712352 h 1153348"/>
              <a:gd name="connsiteX148" fmla="*/ 762369 w 6837827"/>
              <a:gd name="connsiteY148" fmla="*/ 708152 h 1153348"/>
              <a:gd name="connsiteX149" fmla="*/ 771608 w 6837827"/>
              <a:gd name="connsiteY149" fmla="*/ 718232 h 1153348"/>
              <a:gd name="connsiteX150" fmla="*/ 766988 w 6837827"/>
              <a:gd name="connsiteY150" fmla="*/ 737551 h 1153348"/>
              <a:gd name="connsiteX151" fmla="*/ 753129 w 6837827"/>
              <a:gd name="connsiteY151" fmla="*/ 761490 h 1153348"/>
              <a:gd name="connsiteX152" fmla="*/ 735910 w 6837827"/>
              <a:gd name="connsiteY152" fmla="*/ 785429 h 1153348"/>
              <a:gd name="connsiteX153" fmla="*/ 720370 w 6837827"/>
              <a:gd name="connsiteY153" fmla="*/ 805168 h 1153348"/>
              <a:gd name="connsiteX154" fmla="*/ 710711 w 6837827"/>
              <a:gd name="connsiteY154" fmla="*/ 815247 h 1153348"/>
              <a:gd name="connsiteX155" fmla="*/ 690552 w 6837827"/>
              <a:gd name="connsiteY155" fmla="*/ 834987 h 1153348"/>
              <a:gd name="connsiteX156" fmla="*/ 675852 w 6837827"/>
              <a:gd name="connsiteY156" fmla="*/ 857246 h 1153348"/>
              <a:gd name="connsiteX157" fmla="*/ 673752 w 6837827"/>
              <a:gd name="connsiteY157" fmla="*/ 882025 h 1153348"/>
              <a:gd name="connsiteX158" fmla="*/ 690972 w 6837827"/>
              <a:gd name="connsiteY158" fmla="*/ 910164 h 1153348"/>
              <a:gd name="connsiteX159" fmla="*/ 722050 w 6837827"/>
              <a:gd name="connsiteY159" fmla="*/ 930742 h 1153348"/>
              <a:gd name="connsiteX160" fmla="*/ 763209 w 6837827"/>
              <a:gd name="connsiteY160" fmla="*/ 954681 h 1153348"/>
              <a:gd name="connsiteX161" fmla="*/ 803527 w 6837827"/>
              <a:gd name="connsiteY161" fmla="*/ 974001 h 1153348"/>
              <a:gd name="connsiteX162" fmla="*/ 831246 w 6837827"/>
              <a:gd name="connsiteY162" fmla="*/ 979880 h 1153348"/>
              <a:gd name="connsiteX163" fmla="*/ 882483 w 6837827"/>
              <a:gd name="connsiteY163" fmla="*/ 995000 h 1153348"/>
              <a:gd name="connsiteX164" fmla="*/ 936661 w 6837827"/>
              <a:gd name="connsiteY164" fmla="*/ 979880 h 1153348"/>
              <a:gd name="connsiteX165" fmla="*/ 945901 w 6837827"/>
              <a:gd name="connsiteY165" fmla="*/ 960141 h 1153348"/>
              <a:gd name="connsiteX166" fmla="*/ 940441 w 6837827"/>
              <a:gd name="connsiteY166" fmla="*/ 944182 h 1153348"/>
              <a:gd name="connsiteX167" fmla="*/ 924902 w 6837827"/>
              <a:gd name="connsiteY167" fmla="*/ 932003 h 1153348"/>
              <a:gd name="connsiteX168" fmla="*/ 904323 w 6837827"/>
              <a:gd name="connsiteY168" fmla="*/ 924863 h 1153348"/>
              <a:gd name="connsiteX169" fmla="*/ 887103 w 6837827"/>
              <a:gd name="connsiteY169" fmla="*/ 920663 h 1153348"/>
              <a:gd name="connsiteX170" fmla="*/ 861064 w 6837827"/>
              <a:gd name="connsiteY170" fmla="*/ 913523 h 1153348"/>
              <a:gd name="connsiteX171" fmla="*/ 831246 w 6837827"/>
              <a:gd name="connsiteY171" fmla="*/ 903864 h 1153348"/>
              <a:gd name="connsiteX172" fmla="*/ 803527 w 6837827"/>
              <a:gd name="connsiteY172" fmla="*/ 892944 h 1153348"/>
              <a:gd name="connsiteX173" fmla="*/ 782108 w 6837827"/>
              <a:gd name="connsiteY173" fmla="*/ 880345 h 1153348"/>
              <a:gd name="connsiteX174" fmla="*/ 772868 w 6837827"/>
              <a:gd name="connsiteY174" fmla="*/ 866485 h 1153348"/>
              <a:gd name="connsiteX175" fmla="*/ 783368 w 6837827"/>
              <a:gd name="connsiteY175" fmla="*/ 833307 h 1153348"/>
              <a:gd name="connsiteX176" fmla="*/ 810667 w 6837827"/>
              <a:gd name="connsiteY176" fmla="*/ 799708 h 1153348"/>
              <a:gd name="connsiteX177" fmla="*/ 837545 w 6837827"/>
              <a:gd name="connsiteY177" fmla="*/ 762750 h 1153348"/>
              <a:gd name="connsiteX178" fmla="*/ 847205 w 6837827"/>
              <a:gd name="connsiteY178" fmla="*/ 720332 h 1153348"/>
              <a:gd name="connsiteX179" fmla="*/ 838385 w 6837827"/>
              <a:gd name="connsiteY179" fmla="*/ 686313 h 1153348"/>
              <a:gd name="connsiteX180" fmla="*/ 820746 w 6837827"/>
              <a:gd name="connsiteY180" fmla="*/ 655234 h 1153348"/>
              <a:gd name="connsiteX181" fmla="*/ 796807 w 6837827"/>
              <a:gd name="connsiteY181" fmla="*/ 632975 h 1153348"/>
              <a:gd name="connsiteX182" fmla="*/ 769508 w 6837827"/>
              <a:gd name="connsiteY182" fmla="*/ 625416 h 1153348"/>
              <a:gd name="connsiteX183" fmla="*/ 731290 w 6837827"/>
              <a:gd name="connsiteY183" fmla="*/ 634655 h 1153348"/>
              <a:gd name="connsiteX184" fmla="*/ 708191 w 6837827"/>
              <a:gd name="connsiteY184" fmla="*/ 650615 h 1153348"/>
              <a:gd name="connsiteX185" fmla="*/ 691392 w 6837827"/>
              <a:gd name="connsiteY185" fmla="*/ 667414 h 1153348"/>
              <a:gd name="connsiteX186" fmla="*/ 672493 w 6837827"/>
              <a:gd name="connsiteY186" fmla="*/ 678333 h 1153348"/>
              <a:gd name="connsiteX187" fmla="*/ 674172 w 6837827"/>
              <a:gd name="connsiteY187" fmla="*/ 656914 h 1153348"/>
              <a:gd name="connsiteX188" fmla="*/ 1219729 w 6837827"/>
              <a:gd name="connsiteY188" fmla="*/ 678753 h 1153348"/>
              <a:gd name="connsiteX189" fmla="*/ 1233168 w 6837827"/>
              <a:gd name="connsiteY189" fmla="*/ 669934 h 1153348"/>
              <a:gd name="connsiteX190" fmla="*/ 1242408 w 6837827"/>
              <a:gd name="connsiteY190" fmla="*/ 657334 h 1153348"/>
              <a:gd name="connsiteX191" fmla="*/ 1244928 w 6837827"/>
              <a:gd name="connsiteY191" fmla="*/ 641375 h 1153348"/>
              <a:gd name="connsiteX192" fmla="*/ 1238628 w 6837827"/>
              <a:gd name="connsiteY192" fmla="*/ 622896 h 1153348"/>
              <a:gd name="connsiteX193" fmla="*/ 1226449 w 6837827"/>
              <a:gd name="connsiteY193" fmla="*/ 616176 h 1153348"/>
              <a:gd name="connsiteX194" fmla="*/ 1210489 w 6837827"/>
              <a:gd name="connsiteY194" fmla="*/ 617016 h 1153348"/>
              <a:gd name="connsiteX195" fmla="*/ 1192430 w 6837827"/>
              <a:gd name="connsiteY195" fmla="*/ 621216 h 1153348"/>
              <a:gd name="connsiteX196" fmla="*/ 1147912 w 6837827"/>
              <a:gd name="connsiteY196" fmla="*/ 630876 h 1153348"/>
              <a:gd name="connsiteX197" fmla="*/ 1101714 w 6837827"/>
              <a:gd name="connsiteY197" fmla="*/ 640535 h 1153348"/>
              <a:gd name="connsiteX198" fmla="*/ 1083655 w 6837827"/>
              <a:gd name="connsiteY198" fmla="*/ 642635 h 1153348"/>
              <a:gd name="connsiteX199" fmla="*/ 1068116 w 6837827"/>
              <a:gd name="connsiteY199" fmla="*/ 639695 h 1153348"/>
              <a:gd name="connsiteX200" fmla="*/ 1052996 w 6837827"/>
              <a:gd name="connsiteY200" fmla="*/ 638015 h 1153348"/>
              <a:gd name="connsiteX201" fmla="*/ 1036617 w 6837827"/>
              <a:gd name="connsiteY201" fmla="*/ 642635 h 1153348"/>
              <a:gd name="connsiteX202" fmla="*/ 1024857 w 6837827"/>
              <a:gd name="connsiteY202" fmla="*/ 663214 h 1153348"/>
              <a:gd name="connsiteX203" fmla="*/ 1019818 w 6837827"/>
              <a:gd name="connsiteY203" fmla="*/ 687153 h 1153348"/>
              <a:gd name="connsiteX204" fmla="*/ 1016458 w 6837827"/>
              <a:gd name="connsiteY204" fmla="*/ 711932 h 1153348"/>
              <a:gd name="connsiteX205" fmla="*/ 1010158 w 6837827"/>
              <a:gd name="connsiteY205" fmla="*/ 736291 h 1153348"/>
              <a:gd name="connsiteX206" fmla="*/ 1004278 w 6837827"/>
              <a:gd name="connsiteY206" fmla="*/ 761910 h 1153348"/>
              <a:gd name="connsiteX207" fmla="*/ 1000078 w 6837827"/>
              <a:gd name="connsiteY207" fmla="*/ 800968 h 1153348"/>
              <a:gd name="connsiteX208" fmla="*/ 997979 w 6837827"/>
              <a:gd name="connsiteY208" fmla="*/ 845906 h 1153348"/>
              <a:gd name="connsiteX209" fmla="*/ 997559 w 6837827"/>
              <a:gd name="connsiteY209" fmla="*/ 890004 h 1153348"/>
              <a:gd name="connsiteX210" fmla="*/ 998399 w 6837827"/>
              <a:gd name="connsiteY210" fmla="*/ 926123 h 1153348"/>
              <a:gd name="connsiteX211" fmla="*/ 1000918 w 6837827"/>
              <a:gd name="connsiteY211" fmla="*/ 946282 h 1153348"/>
              <a:gd name="connsiteX212" fmla="*/ 1024857 w 6837827"/>
              <a:gd name="connsiteY212" fmla="*/ 987020 h 1153348"/>
              <a:gd name="connsiteX213" fmla="*/ 1062656 w 6837827"/>
              <a:gd name="connsiteY213" fmla="*/ 1002560 h 1153348"/>
              <a:gd name="connsiteX214" fmla="*/ 1107594 w 6837827"/>
              <a:gd name="connsiteY214" fmla="*/ 998780 h 1153348"/>
              <a:gd name="connsiteX215" fmla="*/ 1152952 w 6837827"/>
              <a:gd name="connsiteY215" fmla="*/ 981140 h 1153348"/>
              <a:gd name="connsiteX216" fmla="*/ 1192430 w 6837827"/>
              <a:gd name="connsiteY216" fmla="*/ 955941 h 1153348"/>
              <a:gd name="connsiteX217" fmla="*/ 1219729 w 6837827"/>
              <a:gd name="connsiteY217" fmla="*/ 929063 h 1153348"/>
              <a:gd name="connsiteX218" fmla="*/ 1228969 w 6837827"/>
              <a:gd name="connsiteY218" fmla="*/ 918983 h 1153348"/>
              <a:gd name="connsiteX219" fmla="*/ 1236948 w 6837827"/>
              <a:gd name="connsiteY219" fmla="*/ 909324 h 1153348"/>
              <a:gd name="connsiteX220" fmla="*/ 1240728 w 6837827"/>
              <a:gd name="connsiteY220" fmla="*/ 897144 h 1153348"/>
              <a:gd name="connsiteX221" fmla="*/ 1238208 w 6837827"/>
              <a:gd name="connsiteY221" fmla="*/ 879505 h 1153348"/>
              <a:gd name="connsiteX222" fmla="*/ 1206710 w 6837827"/>
              <a:gd name="connsiteY222" fmla="*/ 859766 h 1153348"/>
              <a:gd name="connsiteX223" fmla="*/ 1179831 w 6837827"/>
              <a:gd name="connsiteY223" fmla="*/ 883285 h 1153348"/>
              <a:gd name="connsiteX224" fmla="*/ 1149172 w 6837827"/>
              <a:gd name="connsiteY224" fmla="*/ 909743 h 1153348"/>
              <a:gd name="connsiteX225" fmla="*/ 1115153 w 6837827"/>
              <a:gd name="connsiteY225" fmla="*/ 927383 h 1153348"/>
              <a:gd name="connsiteX226" fmla="*/ 1077775 w 6837827"/>
              <a:gd name="connsiteY226" fmla="*/ 924023 h 1153348"/>
              <a:gd name="connsiteX227" fmla="*/ 1068535 w 6837827"/>
              <a:gd name="connsiteY227" fmla="*/ 912263 h 1153348"/>
              <a:gd name="connsiteX228" fmla="*/ 1064756 w 6837827"/>
              <a:gd name="connsiteY228" fmla="*/ 891684 h 1153348"/>
              <a:gd name="connsiteX229" fmla="*/ 1064756 w 6837827"/>
              <a:gd name="connsiteY229" fmla="*/ 869845 h 1153348"/>
              <a:gd name="connsiteX230" fmla="*/ 1068116 w 6837827"/>
              <a:gd name="connsiteY230" fmla="*/ 853886 h 1153348"/>
              <a:gd name="connsiteX231" fmla="*/ 1080295 w 6837827"/>
              <a:gd name="connsiteY231" fmla="*/ 844646 h 1153348"/>
              <a:gd name="connsiteX232" fmla="*/ 1101294 w 6837827"/>
              <a:gd name="connsiteY232" fmla="*/ 839186 h 1153348"/>
              <a:gd name="connsiteX233" fmla="*/ 1123973 w 6837827"/>
              <a:gd name="connsiteY233" fmla="*/ 835827 h 1153348"/>
              <a:gd name="connsiteX234" fmla="*/ 1141612 w 6837827"/>
              <a:gd name="connsiteY234" fmla="*/ 833307 h 1153348"/>
              <a:gd name="connsiteX235" fmla="*/ 1157152 w 6837827"/>
              <a:gd name="connsiteY235" fmla="*/ 829947 h 1153348"/>
              <a:gd name="connsiteX236" fmla="*/ 1169751 w 6837827"/>
              <a:gd name="connsiteY236" fmla="*/ 823647 h 1153348"/>
              <a:gd name="connsiteX237" fmla="*/ 1177731 w 6837827"/>
              <a:gd name="connsiteY237" fmla="*/ 812728 h 1153348"/>
              <a:gd name="connsiteX238" fmla="*/ 1178991 w 6837827"/>
              <a:gd name="connsiteY238" fmla="*/ 795088 h 1153348"/>
              <a:gd name="connsiteX239" fmla="*/ 1174791 w 6837827"/>
              <a:gd name="connsiteY239" fmla="*/ 779969 h 1153348"/>
              <a:gd name="connsiteX240" fmla="*/ 1165131 w 6837827"/>
              <a:gd name="connsiteY240" fmla="*/ 769889 h 1153348"/>
              <a:gd name="connsiteX241" fmla="*/ 1139513 w 6837827"/>
              <a:gd name="connsiteY241" fmla="*/ 766530 h 1153348"/>
              <a:gd name="connsiteX242" fmla="*/ 1111374 w 6837827"/>
              <a:gd name="connsiteY242" fmla="*/ 770729 h 1153348"/>
              <a:gd name="connsiteX243" fmla="*/ 1099194 w 6837827"/>
              <a:gd name="connsiteY243" fmla="*/ 772829 h 1153348"/>
              <a:gd name="connsiteX244" fmla="*/ 1085335 w 6837827"/>
              <a:gd name="connsiteY244" fmla="*/ 771989 h 1153348"/>
              <a:gd name="connsiteX245" fmla="*/ 1077775 w 6837827"/>
              <a:gd name="connsiteY245" fmla="*/ 761490 h 1153348"/>
              <a:gd name="connsiteX246" fmla="*/ 1083655 w 6837827"/>
              <a:gd name="connsiteY246" fmla="*/ 733351 h 1153348"/>
              <a:gd name="connsiteX247" fmla="*/ 1106334 w 6837827"/>
              <a:gd name="connsiteY247" fmla="*/ 706892 h 1153348"/>
              <a:gd name="connsiteX248" fmla="*/ 1137832 w 6837827"/>
              <a:gd name="connsiteY248" fmla="*/ 700173 h 1153348"/>
              <a:gd name="connsiteX249" fmla="*/ 1172691 w 6837827"/>
              <a:gd name="connsiteY249" fmla="*/ 697652 h 1153348"/>
              <a:gd name="connsiteX250" fmla="*/ 1205030 w 6837827"/>
              <a:gd name="connsiteY250" fmla="*/ 685053 h 1153348"/>
              <a:gd name="connsiteX251" fmla="*/ 1219729 w 6837827"/>
              <a:gd name="connsiteY251" fmla="*/ 678753 h 1153348"/>
              <a:gd name="connsiteX252" fmla="*/ 1370083 w 6837827"/>
              <a:gd name="connsiteY252" fmla="*/ 654394 h 1153348"/>
              <a:gd name="connsiteX253" fmla="*/ 1367563 w 6837827"/>
              <a:gd name="connsiteY253" fmla="*/ 702272 h 1153348"/>
              <a:gd name="connsiteX254" fmla="*/ 1383522 w 6837827"/>
              <a:gd name="connsiteY254" fmla="*/ 753090 h 1153348"/>
              <a:gd name="connsiteX255" fmla="*/ 1403681 w 6837827"/>
              <a:gd name="connsiteY255" fmla="*/ 812308 h 1153348"/>
              <a:gd name="connsiteX256" fmla="*/ 1407881 w 6837827"/>
              <a:gd name="connsiteY256" fmla="*/ 825327 h 1153348"/>
              <a:gd name="connsiteX257" fmla="*/ 1414181 w 6837827"/>
              <a:gd name="connsiteY257" fmla="*/ 845066 h 1153348"/>
              <a:gd name="connsiteX258" fmla="*/ 1420060 w 6837827"/>
              <a:gd name="connsiteY258" fmla="*/ 868585 h 1153348"/>
              <a:gd name="connsiteX259" fmla="*/ 1423000 w 6837827"/>
              <a:gd name="connsiteY259" fmla="*/ 891264 h 1153348"/>
              <a:gd name="connsiteX260" fmla="*/ 1420480 w 6837827"/>
              <a:gd name="connsiteY260" fmla="*/ 909743 h 1153348"/>
              <a:gd name="connsiteX261" fmla="*/ 1409981 w 6837827"/>
              <a:gd name="connsiteY261" fmla="*/ 920243 h 1153348"/>
              <a:gd name="connsiteX262" fmla="*/ 1400321 w 6837827"/>
              <a:gd name="connsiteY262" fmla="*/ 920243 h 1153348"/>
              <a:gd name="connsiteX263" fmla="*/ 1391922 w 6837827"/>
              <a:gd name="connsiteY263" fmla="*/ 914783 h 1153348"/>
              <a:gd name="connsiteX264" fmla="*/ 1384362 w 6837827"/>
              <a:gd name="connsiteY264" fmla="*/ 906804 h 1153348"/>
              <a:gd name="connsiteX265" fmla="*/ 1378062 w 6837827"/>
              <a:gd name="connsiteY265" fmla="*/ 899664 h 1153348"/>
              <a:gd name="connsiteX266" fmla="*/ 1360003 w 6837827"/>
              <a:gd name="connsiteY266" fmla="*/ 890004 h 1153348"/>
              <a:gd name="connsiteX267" fmla="*/ 1344044 w 6837827"/>
              <a:gd name="connsiteY267" fmla="*/ 896724 h 1153348"/>
              <a:gd name="connsiteX268" fmla="*/ 1333124 w 6837827"/>
              <a:gd name="connsiteY268" fmla="*/ 913943 h 1153348"/>
              <a:gd name="connsiteX269" fmla="*/ 1330184 w 6837827"/>
              <a:gd name="connsiteY269" fmla="*/ 934522 h 1153348"/>
              <a:gd name="connsiteX270" fmla="*/ 1336484 w 6837827"/>
              <a:gd name="connsiteY270" fmla="*/ 958041 h 1153348"/>
              <a:gd name="connsiteX271" fmla="*/ 1349923 w 6837827"/>
              <a:gd name="connsiteY271" fmla="*/ 980301 h 1153348"/>
              <a:gd name="connsiteX272" fmla="*/ 1369663 w 6837827"/>
              <a:gd name="connsiteY272" fmla="*/ 996680 h 1153348"/>
              <a:gd name="connsiteX273" fmla="*/ 1394441 w 6837827"/>
              <a:gd name="connsiteY273" fmla="*/ 1002560 h 1153348"/>
              <a:gd name="connsiteX274" fmla="*/ 1449879 w 6837827"/>
              <a:gd name="connsiteY274" fmla="*/ 986600 h 1153348"/>
              <a:gd name="connsiteX275" fmla="*/ 1481798 w 6837827"/>
              <a:gd name="connsiteY275" fmla="*/ 949222 h 1153348"/>
              <a:gd name="connsiteX276" fmla="*/ 1493557 w 6837827"/>
              <a:gd name="connsiteY276" fmla="*/ 901344 h 1153348"/>
              <a:gd name="connsiteX277" fmla="*/ 1488517 w 6837827"/>
              <a:gd name="connsiteY277" fmla="*/ 852626 h 1153348"/>
              <a:gd name="connsiteX278" fmla="*/ 1475918 w 6837827"/>
              <a:gd name="connsiteY278" fmla="*/ 817347 h 1153348"/>
              <a:gd name="connsiteX279" fmla="*/ 1459959 w 6837827"/>
              <a:gd name="connsiteY279" fmla="*/ 781649 h 1153348"/>
              <a:gd name="connsiteX280" fmla="*/ 1446099 w 6837827"/>
              <a:gd name="connsiteY280" fmla="*/ 745531 h 1153348"/>
              <a:gd name="connsiteX281" fmla="*/ 1439380 w 6837827"/>
              <a:gd name="connsiteY281" fmla="*/ 709412 h 1153348"/>
              <a:gd name="connsiteX282" fmla="*/ 1443159 w 6837827"/>
              <a:gd name="connsiteY282" fmla="*/ 671194 h 1153348"/>
              <a:gd name="connsiteX283" fmla="*/ 1457859 w 6837827"/>
              <a:gd name="connsiteY283" fmla="*/ 653135 h 1153348"/>
              <a:gd name="connsiteX284" fmla="*/ 1483058 w 6837827"/>
              <a:gd name="connsiteY284" fmla="*/ 644315 h 1153348"/>
              <a:gd name="connsiteX285" fmla="*/ 1518336 w 6837827"/>
              <a:gd name="connsiteY285" fmla="*/ 633815 h 1153348"/>
              <a:gd name="connsiteX286" fmla="*/ 1533876 w 6837827"/>
              <a:gd name="connsiteY286" fmla="*/ 625836 h 1153348"/>
              <a:gd name="connsiteX287" fmla="*/ 1543115 w 6837827"/>
              <a:gd name="connsiteY287" fmla="*/ 610716 h 1153348"/>
              <a:gd name="connsiteX288" fmla="*/ 1538075 w 6837827"/>
              <a:gd name="connsiteY288" fmla="*/ 593497 h 1153348"/>
              <a:gd name="connsiteX289" fmla="*/ 1530096 w 6837827"/>
              <a:gd name="connsiteY289" fmla="*/ 580478 h 1153348"/>
              <a:gd name="connsiteX290" fmla="*/ 1516656 w 6837827"/>
              <a:gd name="connsiteY290" fmla="*/ 572918 h 1153348"/>
              <a:gd name="connsiteX291" fmla="*/ 1496077 w 6837827"/>
              <a:gd name="connsiteY291" fmla="*/ 571658 h 1153348"/>
              <a:gd name="connsiteX292" fmla="*/ 1472558 w 6837827"/>
              <a:gd name="connsiteY292" fmla="*/ 575018 h 1153348"/>
              <a:gd name="connsiteX293" fmla="*/ 1447359 w 6837827"/>
              <a:gd name="connsiteY293" fmla="*/ 581318 h 1153348"/>
              <a:gd name="connsiteX294" fmla="*/ 1423840 w 6837827"/>
              <a:gd name="connsiteY294" fmla="*/ 590977 h 1153348"/>
              <a:gd name="connsiteX295" fmla="*/ 1404941 w 6837827"/>
              <a:gd name="connsiteY295" fmla="*/ 604837 h 1153348"/>
              <a:gd name="connsiteX296" fmla="*/ 1370083 w 6837827"/>
              <a:gd name="connsiteY296" fmla="*/ 654394 h 1153348"/>
              <a:gd name="connsiteX297" fmla="*/ 1784185 w 6837827"/>
              <a:gd name="connsiteY297" fmla="*/ 569138 h 1153348"/>
              <a:gd name="connsiteX298" fmla="*/ 1776205 w 6837827"/>
              <a:gd name="connsiteY298" fmla="*/ 569978 h 1153348"/>
              <a:gd name="connsiteX299" fmla="*/ 1748906 w 6837827"/>
              <a:gd name="connsiteY299" fmla="*/ 575858 h 1153348"/>
              <a:gd name="connsiteX300" fmla="*/ 1727907 w 6837827"/>
              <a:gd name="connsiteY300" fmla="*/ 585097 h 1153348"/>
              <a:gd name="connsiteX301" fmla="*/ 1707328 w 6837827"/>
              <a:gd name="connsiteY301" fmla="*/ 596857 h 1153348"/>
              <a:gd name="connsiteX302" fmla="*/ 1680869 w 6837827"/>
              <a:gd name="connsiteY302" fmla="*/ 609876 h 1153348"/>
              <a:gd name="connsiteX303" fmla="*/ 1672050 w 6837827"/>
              <a:gd name="connsiteY303" fmla="*/ 611976 h 1153348"/>
              <a:gd name="connsiteX304" fmla="*/ 1662390 w 6837827"/>
              <a:gd name="connsiteY304" fmla="*/ 612396 h 1153348"/>
              <a:gd name="connsiteX305" fmla="*/ 1652730 w 6837827"/>
              <a:gd name="connsiteY305" fmla="*/ 614496 h 1153348"/>
              <a:gd name="connsiteX306" fmla="*/ 1644751 w 6837827"/>
              <a:gd name="connsiteY306" fmla="*/ 620796 h 1153348"/>
              <a:gd name="connsiteX307" fmla="*/ 1621652 w 6837827"/>
              <a:gd name="connsiteY307" fmla="*/ 722851 h 1153348"/>
              <a:gd name="connsiteX308" fmla="*/ 1619552 w 6837827"/>
              <a:gd name="connsiteY308" fmla="*/ 825747 h 1153348"/>
              <a:gd name="connsiteX309" fmla="*/ 1623752 w 6837827"/>
              <a:gd name="connsiteY309" fmla="*/ 853886 h 1153348"/>
              <a:gd name="connsiteX310" fmla="*/ 1630051 w 6837827"/>
              <a:gd name="connsiteY310" fmla="*/ 881605 h 1153348"/>
              <a:gd name="connsiteX311" fmla="*/ 1649791 w 6837827"/>
              <a:gd name="connsiteY311" fmla="*/ 922343 h 1153348"/>
              <a:gd name="connsiteX312" fmla="*/ 1684649 w 6837827"/>
              <a:gd name="connsiteY312" fmla="*/ 950482 h 1153348"/>
              <a:gd name="connsiteX313" fmla="*/ 1736307 w 6837827"/>
              <a:gd name="connsiteY313" fmla="*/ 959721 h 1153348"/>
              <a:gd name="connsiteX314" fmla="*/ 1766546 w 6837827"/>
              <a:gd name="connsiteY314" fmla="*/ 951742 h 1153348"/>
              <a:gd name="connsiteX315" fmla="*/ 1793844 w 6837827"/>
              <a:gd name="connsiteY315" fmla="*/ 936622 h 1153348"/>
              <a:gd name="connsiteX316" fmla="*/ 1811484 w 6837827"/>
              <a:gd name="connsiteY316" fmla="*/ 911004 h 1153348"/>
              <a:gd name="connsiteX317" fmla="*/ 1819883 w 6837827"/>
              <a:gd name="connsiteY317" fmla="*/ 892524 h 1153348"/>
              <a:gd name="connsiteX318" fmla="*/ 1823243 w 6837827"/>
              <a:gd name="connsiteY318" fmla="*/ 871525 h 1153348"/>
              <a:gd name="connsiteX319" fmla="*/ 1812324 w 6837827"/>
              <a:gd name="connsiteY319" fmla="*/ 851786 h 1153348"/>
              <a:gd name="connsiteX320" fmla="*/ 1789225 w 6837827"/>
              <a:gd name="connsiteY320" fmla="*/ 843806 h 1153348"/>
              <a:gd name="connsiteX321" fmla="*/ 1778725 w 6837827"/>
              <a:gd name="connsiteY321" fmla="*/ 845066 h 1153348"/>
              <a:gd name="connsiteX322" fmla="*/ 1772425 w 6837827"/>
              <a:gd name="connsiteY322" fmla="*/ 848846 h 1153348"/>
              <a:gd name="connsiteX323" fmla="*/ 1768225 w 6837827"/>
              <a:gd name="connsiteY323" fmla="*/ 855146 h 1153348"/>
              <a:gd name="connsiteX324" fmla="*/ 1763186 w 6837827"/>
              <a:gd name="connsiteY324" fmla="*/ 863545 h 1153348"/>
              <a:gd name="connsiteX325" fmla="*/ 1752266 w 6837827"/>
              <a:gd name="connsiteY325" fmla="*/ 873625 h 1153348"/>
              <a:gd name="connsiteX326" fmla="*/ 1739247 w 6837827"/>
              <a:gd name="connsiteY326" fmla="*/ 877825 h 1153348"/>
              <a:gd name="connsiteX327" fmla="*/ 1710268 w 6837827"/>
              <a:gd name="connsiteY327" fmla="*/ 869425 h 1153348"/>
              <a:gd name="connsiteX328" fmla="*/ 1697668 w 6837827"/>
              <a:gd name="connsiteY328" fmla="*/ 840026 h 1153348"/>
              <a:gd name="connsiteX329" fmla="*/ 1714888 w 6837827"/>
              <a:gd name="connsiteY329" fmla="*/ 827427 h 1153348"/>
              <a:gd name="connsiteX330" fmla="*/ 1735047 w 6837827"/>
              <a:gd name="connsiteY330" fmla="*/ 816508 h 1153348"/>
              <a:gd name="connsiteX331" fmla="*/ 1754786 w 6837827"/>
              <a:gd name="connsiteY331" fmla="*/ 804328 h 1153348"/>
              <a:gd name="connsiteX332" fmla="*/ 1770745 w 6837827"/>
              <a:gd name="connsiteY332" fmla="*/ 788369 h 1153348"/>
              <a:gd name="connsiteX333" fmla="*/ 1779145 w 6837827"/>
              <a:gd name="connsiteY333" fmla="*/ 771989 h 1153348"/>
              <a:gd name="connsiteX334" fmla="*/ 1781245 w 6837827"/>
              <a:gd name="connsiteY334" fmla="*/ 753510 h 1153348"/>
              <a:gd name="connsiteX335" fmla="*/ 1771585 w 6837827"/>
              <a:gd name="connsiteY335" fmla="*/ 735451 h 1153348"/>
              <a:gd name="connsiteX336" fmla="*/ 1751006 w 6837827"/>
              <a:gd name="connsiteY336" fmla="*/ 729571 h 1153348"/>
              <a:gd name="connsiteX337" fmla="*/ 1730007 w 6837827"/>
              <a:gd name="connsiteY337" fmla="*/ 734611 h 1153348"/>
              <a:gd name="connsiteX338" fmla="*/ 1712368 w 6837827"/>
              <a:gd name="connsiteY338" fmla="*/ 742591 h 1153348"/>
              <a:gd name="connsiteX339" fmla="*/ 1702288 w 6837827"/>
              <a:gd name="connsiteY339" fmla="*/ 746790 h 1153348"/>
              <a:gd name="connsiteX340" fmla="*/ 1697248 w 6837827"/>
              <a:gd name="connsiteY340" fmla="*/ 745531 h 1153348"/>
              <a:gd name="connsiteX341" fmla="*/ 1695569 w 6837827"/>
              <a:gd name="connsiteY341" fmla="*/ 740491 h 1153348"/>
              <a:gd name="connsiteX342" fmla="*/ 1694729 w 6837827"/>
              <a:gd name="connsiteY342" fmla="*/ 734191 h 1153348"/>
              <a:gd name="connsiteX343" fmla="*/ 1695569 w 6837827"/>
              <a:gd name="connsiteY343" fmla="*/ 721172 h 1153348"/>
              <a:gd name="connsiteX344" fmla="*/ 1698928 w 6837827"/>
              <a:gd name="connsiteY344" fmla="*/ 706472 h 1153348"/>
              <a:gd name="connsiteX345" fmla="*/ 1702708 w 6837827"/>
              <a:gd name="connsiteY345" fmla="*/ 693453 h 1153348"/>
              <a:gd name="connsiteX346" fmla="*/ 1705228 w 6837827"/>
              <a:gd name="connsiteY346" fmla="*/ 684633 h 1153348"/>
              <a:gd name="connsiteX347" fmla="*/ 1716568 w 6837827"/>
              <a:gd name="connsiteY347" fmla="*/ 671194 h 1153348"/>
              <a:gd name="connsiteX348" fmla="*/ 1737567 w 6837827"/>
              <a:gd name="connsiteY348" fmla="*/ 659014 h 1153348"/>
              <a:gd name="connsiteX349" fmla="*/ 1761086 w 6837827"/>
              <a:gd name="connsiteY349" fmla="*/ 648935 h 1153348"/>
              <a:gd name="connsiteX350" fmla="*/ 1779145 w 6837827"/>
              <a:gd name="connsiteY350" fmla="*/ 642635 h 1153348"/>
              <a:gd name="connsiteX351" fmla="*/ 1811484 w 6837827"/>
              <a:gd name="connsiteY351" fmla="*/ 627516 h 1153348"/>
              <a:gd name="connsiteX352" fmla="*/ 1826603 w 6837827"/>
              <a:gd name="connsiteY352" fmla="*/ 595597 h 1153348"/>
              <a:gd name="connsiteX353" fmla="*/ 1823663 w 6837827"/>
              <a:gd name="connsiteY353" fmla="*/ 585518 h 1153348"/>
              <a:gd name="connsiteX354" fmla="*/ 1815263 w 6837827"/>
              <a:gd name="connsiteY354" fmla="*/ 577538 h 1153348"/>
              <a:gd name="connsiteX355" fmla="*/ 1804344 w 6837827"/>
              <a:gd name="connsiteY355" fmla="*/ 572078 h 1153348"/>
              <a:gd name="connsiteX356" fmla="*/ 1793844 w 6837827"/>
              <a:gd name="connsiteY356" fmla="*/ 569978 h 1153348"/>
              <a:gd name="connsiteX357" fmla="*/ 1784185 w 6837827"/>
              <a:gd name="connsiteY357" fmla="*/ 569138 h 1153348"/>
              <a:gd name="connsiteX358" fmla="*/ 1963097 w 6837827"/>
              <a:gd name="connsiteY358" fmla="*/ 933263 h 1153348"/>
              <a:gd name="connsiteX359" fmla="*/ 1977796 w 6837827"/>
              <a:gd name="connsiteY359" fmla="*/ 923183 h 1153348"/>
              <a:gd name="connsiteX360" fmla="*/ 1987456 w 6837827"/>
              <a:gd name="connsiteY360" fmla="*/ 902604 h 1153348"/>
              <a:gd name="connsiteX361" fmla="*/ 1993756 w 6837827"/>
              <a:gd name="connsiteY361" fmla="*/ 876985 h 1153348"/>
              <a:gd name="connsiteX362" fmla="*/ 1998376 w 6837827"/>
              <a:gd name="connsiteY362" fmla="*/ 851786 h 1153348"/>
              <a:gd name="connsiteX363" fmla="*/ 2003415 w 6837827"/>
              <a:gd name="connsiteY363" fmla="*/ 832047 h 1153348"/>
              <a:gd name="connsiteX364" fmla="*/ 2011815 w 6837827"/>
              <a:gd name="connsiteY364" fmla="*/ 816087 h 1153348"/>
              <a:gd name="connsiteX365" fmla="*/ 2029874 w 6837827"/>
              <a:gd name="connsiteY365" fmla="*/ 813568 h 1153348"/>
              <a:gd name="connsiteX366" fmla="*/ 2057173 w 6837827"/>
              <a:gd name="connsiteY366" fmla="*/ 811888 h 1153348"/>
              <a:gd name="connsiteX367" fmla="*/ 2078172 w 6837827"/>
              <a:gd name="connsiteY367" fmla="*/ 808528 h 1153348"/>
              <a:gd name="connsiteX368" fmla="*/ 2097491 w 6837827"/>
              <a:gd name="connsiteY368" fmla="*/ 801388 h 1153348"/>
              <a:gd name="connsiteX369" fmla="*/ 2119330 w 6837827"/>
              <a:gd name="connsiteY369" fmla="*/ 788789 h 1153348"/>
              <a:gd name="connsiteX370" fmla="*/ 2129830 w 6837827"/>
              <a:gd name="connsiteY370" fmla="*/ 818187 h 1153348"/>
              <a:gd name="connsiteX371" fmla="*/ 2135290 w 6837827"/>
              <a:gd name="connsiteY371" fmla="*/ 854306 h 1153348"/>
              <a:gd name="connsiteX372" fmla="*/ 2146209 w 6837827"/>
              <a:gd name="connsiteY372" fmla="*/ 885384 h 1153348"/>
              <a:gd name="connsiteX373" fmla="*/ 2173088 w 6837827"/>
              <a:gd name="connsiteY373" fmla="*/ 900084 h 1153348"/>
              <a:gd name="connsiteX374" fmla="*/ 2197867 w 6837827"/>
              <a:gd name="connsiteY374" fmla="*/ 895884 h 1153348"/>
              <a:gd name="connsiteX375" fmla="*/ 2215926 w 6837827"/>
              <a:gd name="connsiteY375" fmla="*/ 880765 h 1153348"/>
              <a:gd name="connsiteX376" fmla="*/ 2226006 w 6837827"/>
              <a:gd name="connsiteY376" fmla="*/ 858926 h 1153348"/>
              <a:gd name="connsiteX377" fmla="*/ 2226846 w 6837827"/>
              <a:gd name="connsiteY377" fmla="*/ 833727 h 1153348"/>
              <a:gd name="connsiteX378" fmla="*/ 2221386 w 6837827"/>
              <a:gd name="connsiteY378" fmla="*/ 819867 h 1153348"/>
              <a:gd name="connsiteX379" fmla="*/ 2210886 w 6837827"/>
              <a:gd name="connsiteY379" fmla="*/ 803068 h 1153348"/>
              <a:gd name="connsiteX380" fmla="*/ 2199547 w 6837827"/>
              <a:gd name="connsiteY380" fmla="*/ 783749 h 1153348"/>
              <a:gd name="connsiteX381" fmla="*/ 2191987 w 6837827"/>
              <a:gd name="connsiteY381" fmla="*/ 762330 h 1153348"/>
              <a:gd name="connsiteX382" fmla="*/ 2187787 w 6837827"/>
              <a:gd name="connsiteY382" fmla="*/ 742171 h 1153348"/>
              <a:gd name="connsiteX383" fmla="*/ 2181908 w 6837827"/>
              <a:gd name="connsiteY383" fmla="*/ 718652 h 1153348"/>
              <a:gd name="connsiteX384" fmla="*/ 2175608 w 6837827"/>
              <a:gd name="connsiteY384" fmla="*/ 695133 h 1153348"/>
              <a:gd name="connsiteX385" fmla="*/ 2170568 w 6837827"/>
              <a:gd name="connsiteY385" fmla="*/ 674553 h 1153348"/>
              <a:gd name="connsiteX386" fmla="*/ 2163848 w 6837827"/>
              <a:gd name="connsiteY386" fmla="*/ 643475 h 1153348"/>
              <a:gd name="connsiteX387" fmla="*/ 2156289 w 6837827"/>
              <a:gd name="connsiteY387" fmla="*/ 614916 h 1153348"/>
              <a:gd name="connsiteX388" fmla="*/ 2146209 w 6837827"/>
              <a:gd name="connsiteY388" fmla="*/ 586777 h 1153348"/>
              <a:gd name="connsiteX389" fmla="*/ 2131930 w 6837827"/>
              <a:gd name="connsiteY389" fmla="*/ 556539 h 1153348"/>
              <a:gd name="connsiteX390" fmla="*/ 2120590 w 6837827"/>
              <a:gd name="connsiteY390" fmla="*/ 538479 h 1153348"/>
              <a:gd name="connsiteX391" fmla="*/ 2103791 w 6837827"/>
              <a:gd name="connsiteY391" fmla="*/ 520420 h 1153348"/>
              <a:gd name="connsiteX392" fmla="*/ 2083632 w 6837827"/>
              <a:gd name="connsiteY392" fmla="*/ 509501 h 1153348"/>
              <a:gd name="connsiteX393" fmla="*/ 2062213 w 6837827"/>
              <a:gd name="connsiteY393" fmla="*/ 514540 h 1153348"/>
              <a:gd name="connsiteX394" fmla="*/ 2051713 w 6837827"/>
              <a:gd name="connsiteY394" fmla="*/ 529240 h 1153348"/>
              <a:gd name="connsiteX395" fmla="*/ 2041634 w 6837827"/>
              <a:gd name="connsiteY395" fmla="*/ 553179 h 1153348"/>
              <a:gd name="connsiteX396" fmla="*/ 2032394 w 6837827"/>
              <a:gd name="connsiteY396" fmla="*/ 577958 h 1153348"/>
              <a:gd name="connsiteX397" fmla="*/ 2025674 w 6837827"/>
              <a:gd name="connsiteY397" fmla="*/ 596017 h 1153348"/>
              <a:gd name="connsiteX398" fmla="*/ 2014755 w 6837827"/>
              <a:gd name="connsiteY398" fmla="*/ 619116 h 1153348"/>
              <a:gd name="connsiteX399" fmla="*/ 2001316 w 6837827"/>
              <a:gd name="connsiteY399" fmla="*/ 648515 h 1153348"/>
              <a:gd name="connsiteX400" fmla="*/ 1990396 w 6837827"/>
              <a:gd name="connsiteY400" fmla="*/ 678333 h 1153348"/>
              <a:gd name="connsiteX401" fmla="*/ 1986196 w 6837827"/>
              <a:gd name="connsiteY401" fmla="*/ 701432 h 1153348"/>
              <a:gd name="connsiteX402" fmla="*/ 1966457 w 6837827"/>
              <a:gd name="connsiteY402" fmla="*/ 742171 h 1153348"/>
              <a:gd name="connsiteX403" fmla="*/ 1943778 w 6837827"/>
              <a:gd name="connsiteY403" fmla="*/ 786269 h 1153348"/>
              <a:gd name="connsiteX404" fmla="*/ 1926139 w 6837827"/>
              <a:gd name="connsiteY404" fmla="*/ 832887 h 1153348"/>
              <a:gd name="connsiteX405" fmla="*/ 1921519 w 6837827"/>
              <a:gd name="connsiteY405" fmla="*/ 881605 h 1153348"/>
              <a:gd name="connsiteX406" fmla="*/ 1927819 w 6837827"/>
              <a:gd name="connsiteY406" fmla="*/ 906804 h 1153348"/>
              <a:gd name="connsiteX407" fmla="*/ 1941678 w 6837827"/>
              <a:gd name="connsiteY407" fmla="*/ 927803 h 1153348"/>
              <a:gd name="connsiteX408" fmla="*/ 1963097 w 6837827"/>
              <a:gd name="connsiteY408" fmla="*/ 933263 h 1153348"/>
              <a:gd name="connsiteX409" fmla="*/ 2089512 w 6837827"/>
              <a:gd name="connsiteY409" fmla="*/ 624576 h 1153348"/>
              <a:gd name="connsiteX410" fmla="*/ 2092451 w 6837827"/>
              <a:gd name="connsiteY410" fmla="*/ 648095 h 1153348"/>
              <a:gd name="connsiteX411" fmla="*/ 2100011 w 6837827"/>
              <a:gd name="connsiteY411" fmla="*/ 679173 h 1153348"/>
              <a:gd name="connsiteX412" fmla="*/ 2106311 w 6837827"/>
              <a:gd name="connsiteY412" fmla="*/ 709412 h 1153348"/>
              <a:gd name="connsiteX413" fmla="*/ 2105891 w 6837827"/>
              <a:gd name="connsiteY413" fmla="*/ 730411 h 1153348"/>
              <a:gd name="connsiteX414" fmla="*/ 2091192 w 6837827"/>
              <a:gd name="connsiteY414" fmla="*/ 734191 h 1153348"/>
              <a:gd name="connsiteX415" fmla="*/ 2067673 w 6837827"/>
              <a:gd name="connsiteY415" fmla="*/ 737551 h 1153348"/>
              <a:gd name="connsiteX416" fmla="*/ 2045834 w 6837827"/>
              <a:gd name="connsiteY416" fmla="*/ 738811 h 1153348"/>
              <a:gd name="connsiteX417" fmla="*/ 2037014 w 6837827"/>
              <a:gd name="connsiteY417" fmla="*/ 735871 h 1153348"/>
              <a:gd name="connsiteX418" fmla="*/ 2056333 w 6837827"/>
              <a:gd name="connsiteY418" fmla="*/ 679593 h 1153348"/>
              <a:gd name="connsiteX419" fmla="*/ 2081532 w 6837827"/>
              <a:gd name="connsiteY419" fmla="*/ 624996 h 1153348"/>
              <a:gd name="connsiteX420" fmla="*/ 2089512 w 6837827"/>
              <a:gd name="connsiteY420" fmla="*/ 624576 h 1153348"/>
              <a:gd name="connsiteX421" fmla="*/ 2428437 w 6837827"/>
              <a:gd name="connsiteY421" fmla="*/ 757710 h 1153348"/>
              <a:gd name="connsiteX422" fmla="*/ 2439777 w 6837827"/>
              <a:gd name="connsiteY422" fmla="*/ 760650 h 1153348"/>
              <a:gd name="connsiteX423" fmla="*/ 2470435 w 6837827"/>
              <a:gd name="connsiteY423" fmla="*/ 771989 h 1153348"/>
              <a:gd name="connsiteX424" fmla="*/ 2498574 w 6837827"/>
              <a:gd name="connsiteY424" fmla="*/ 790049 h 1153348"/>
              <a:gd name="connsiteX425" fmla="*/ 2521253 w 6837827"/>
              <a:gd name="connsiteY425" fmla="*/ 809368 h 1153348"/>
              <a:gd name="connsiteX426" fmla="*/ 2548132 w 6837827"/>
              <a:gd name="connsiteY426" fmla="*/ 826167 h 1153348"/>
              <a:gd name="connsiteX427" fmla="*/ 2577531 w 6837827"/>
              <a:gd name="connsiteY427" fmla="*/ 837087 h 1153348"/>
              <a:gd name="connsiteX428" fmla="*/ 2608609 w 6837827"/>
              <a:gd name="connsiteY428" fmla="*/ 839186 h 1153348"/>
              <a:gd name="connsiteX429" fmla="*/ 2634648 w 6837827"/>
              <a:gd name="connsiteY429" fmla="*/ 830787 h 1153348"/>
              <a:gd name="connsiteX430" fmla="*/ 2651027 w 6837827"/>
              <a:gd name="connsiteY430" fmla="*/ 816087 h 1153348"/>
              <a:gd name="connsiteX431" fmla="*/ 2654388 w 6837827"/>
              <a:gd name="connsiteY431" fmla="*/ 798868 h 1153348"/>
              <a:gd name="connsiteX432" fmla="*/ 2645988 w 6837827"/>
              <a:gd name="connsiteY432" fmla="*/ 782489 h 1153348"/>
              <a:gd name="connsiteX433" fmla="*/ 2627509 w 6837827"/>
              <a:gd name="connsiteY433" fmla="*/ 769889 h 1153348"/>
              <a:gd name="connsiteX434" fmla="*/ 2616589 w 6837827"/>
              <a:gd name="connsiteY434" fmla="*/ 769049 h 1153348"/>
              <a:gd name="connsiteX435" fmla="*/ 2606509 w 6837827"/>
              <a:gd name="connsiteY435" fmla="*/ 766110 h 1153348"/>
              <a:gd name="connsiteX436" fmla="*/ 2577951 w 6837827"/>
              <a:gd name="connsiteY436" fmla="*/ 746790 h 1153348"/>
              <a:gd name="connsiteX437" fmla="*/ 2547712 w 6837827"/>
              <a:gd name="connsiteY437" fmla="*/ 729991 h 1153348"/>
              <a:gd name="connsiteX438" fmla="*/ 2516633 w 6837827"/>
              <a:gd name="connsiteY438" fmla="*/ 714032 h 1153348"/>
              <a:gd name="connsiteX439" fmla="*/ 2487234 w 6837827"/>
              <a:gd name="connsiteY439" fmla="*/ 695973 h 1153348"/>
              <a:gd name="connsiteX440" fmla="*/ 2519573 w 6837827"/>
              <a:gd name="connsiteY440" fmla="*/ 682953 h 1153348"/>
              <a:gd name="connsiteX441" fmla="*/ 2543932 w 6837827"/>
              <a:gd name="connsiteY441" fmla="*/ 650615 h 1153348"/>
              <a:gd name="connsiteX442" fmla="*/ 2559471 w 6837827"/>
              <a:gd name="connsiteY442" fmla="*/ 606517 h 1153348"/>
              <a:gd name="connsiteX443" fmla="*/ 2565351 w 6837827"/>
              <a:gd name="connsiteY443" fmla="*/ 558639 h 1153348"/>
              <a:gd name="connsiteX444" fmla="*/ 2560731 w 6837827"/>
              <a:gd name="connsiteY444" fmla="*/ 514121 h 1153348"/>
              <a:gd name="connsiteX445" fmla="*/ 2543932 w 6837827"/>
              <a:gd name="connsiteY445" fmla="*/ 480522 h 1153348"/>
              <a:gd name="connsiteX446" fmla="*/ 2514533 w 6837827"/>
              <a:gd name="connsiteY446" fmla="*/ 465403 h 1153348"/>
              <a:gd name="connsiteX447" fmla="*/ 2471695 w 6837827"/>
              <a:gd name="connsiteY447" fmla="*/ 476742 h 1153348"/>
              <a:gd name="connsiteX448" fmla="*/ 2460776 w 6837827"/>
              <a:gd name="connsiteY448" fmla="*/ 480522 h 1153348"/>
              <a:gd name="connsiteX449" fmla="*/ 2449856 w 6837827"/>
              <a:gd name="connsiteY449" fmla="*/ 491441 h 1153348"/>
              <a:gd name="connsiteX450" fmla="*/ 2439357 w 6837827"/>
              <a:gd name="connsiteY450" fmla="*/ 504881 h 1153348"/>
              <a:gd name="connsiteX451" fmla="*/ 2430117 w 6837827"/>
              <a:gd name="connsiteY451" fmla="*/ 515800 h 1153348"/>
              <a:gd name="connsiteX452" fmla="*/ 2420037 w 6837827"/>
              <a:gd name="connsiteY452" fmla="*/ 522100 h 1153348"/>
              <a:gd name="connsiteX453" fmla="*/ 2409958 w 6837827"/>
              <a:gd name="connsiteY453" fmla="*/ 526720 h 1153348"/>
              <a:gd name="connsiteX454" fmla="*/ 2401558 w 6837827"/>
              <a:gd name="connsiteY454" fmla="*/ 532600 h 1153348"/>
              <a:gd name="connsiteX455" fmla="*/ 2396938 w 6837827"/>
              <a:gd name="connsiteY455" fmla="*/ 543099 h 1153348"/>
              <a:gd name="connsiteX456" fmla="*/ 2388959 w 6837827"/>
              <a:gd name="connsiteY456" fmla="*/ 576698 h 1153348"/>
              <a:gd name="connsiteX457" fmla="*/ 2378459 w 6837827"/>
              <a:gd name="connsiteY457" fmla="*/ 608196 h 1153348"/>
              <a:gd name="connsiteX458" fmla="*/ 2367120 w 6837827"/>
              <a:gd name="connsiteY458" fmla="*/ 639695 h 1153348"/>
              <a:gd name="connsiteX459" fmla="*/ 2356620 w 6837827"/>
              <a:gd name="connsiteY459" fmla="*/ 672454 h 1153348"/>
              <a:gd name="connsiteX460" fmla="*/ 2346961 w 6837827"/>
              <a:gd name="connsiteY460" fmla="*/ 714452 h 1153348"/>
              <a:gd name="connsiteX461" fmla="*/ 2338561 w 6837827"/>
              <a:gd name="connsiteY461" fmla="*/ 755610 h 1153348"/>
              <a:gd name="connsiteX462" fmla="*/ 2332261 w 6837827"/>
              <a:gd name="connsiteY462" fmla="*/ 779129 h 1153348"/>
              <a:gd name="connsiteX463" fmla="*/ 2323022 w 6837827"/>
              <a:gd name="connsiteY463" fmla="*/ 817347 h 1153348"/>
              <a:gd name="connsiteX464" fmla="*/ 2315042 w 6837827"/>
              <a:gd name="connsiteY464" fmla="*/ 861445 h 1153348"/>
              <a:gd name="connsiteX465" fmla="*/ 2313782 w 6837827"/>
              <a:gd name="connsiteY465" fmla="*/ 902604 h 1153348"/>
              <a:gd name="connsiteX466" fmla="*/ 2323022 w 6837827"/>
              <a:gd name="connsiteY466" fmla="*/ 932003 h 1153348"/>
              <a:gd name="connsiteX467" fmla="*/ 2347381 w 6837827"/>
              <a:gd name="connsiteY467" fmla="*/ 941662 h 1153348"/>
              <a:gd name="connsiteX468" fmla="*/ 2367120 w 6837827"/>
              <a:gd name="connsiteY468" fmla="*/ 932842 h 1153348"/>
              <a:gd name="connsiteX469" fmla="*/ 2378459 w 6837827"/>
              <a:gd name="connsiteY469" fmla="*/ 914783 h 1153348"/>
              <a:gd name="connsiteX470" fmla="*/ 2383499 w 6837827"/>
              <a:gd name="connsiteY470" fmla="*/ 891264 h 1153348"/>
              <a:gd name="connsiteX471" fmla="*/ 2384339 w 6837827"/>
              <a:gd name="connsiteY471" fmla="*/ 866485 h 1153348"/>
              <a:gd name="connsiteX472" fmla="*/ 2388119 w 6837827"/>
              <a:gd name="connsiteY472" fmla="*/ 840446 h 1153348"/>
              <a:gd name="connsiteX473" fmla="*/ 2396938 w 6837827"/>
              <a:gd name="connsiteY473" fmla="*/ 808108 h 1153348"/>
              <a:gd name="connsiteX474" fmla="*/ 2408698 w 6837827"/>
              <a:gd name="connsiteY474" fmla="*/ 775349 h 1153348"/>
              <a:gd name="connsiteX475" fmla="*/ 2420458 w 6837827"/>
              <a:gd name="connsiteY475" fmla="*/ 748470 h 1153348"/>
              <a:gd name="connsiteX476" fmla="*/ 2428437 w 6837827"/>
              <a:gd name="connsiteY476" fmla="*/ 757710 h 1153348"/>
              <a:gd name="connsiteX477" fmla="*/ 2460776 w 6837827"/>
              <a:gd name="connsiteY477" fmla="*/ 649355 h 1153348"/>
              <a:gd name="connsiteX478" fmla="*/ 2452376 w 6837827"/>
              <a:gd name="connsiteY478" fmla="*/ 659434 h 1153348"/>
              <a:gd name="connsiteX479" fmla="*/ 2443976 w 6837827"/>
              <a:gd name="connsiteY479" fmla="*/ 664894 h 1153348"/>
              <a:gd name="connsiteX480" fmla="*/ 2437257 w 6837827"/>
              <a:gd name="connsiteY480" fmla="*/ 663214 h 1153348"/>
              <a:gd name="connsiteX481" fmla="*/ 2434317 w 6837827"/>
              <a:gd name="connsiteY481" fmla="*/ 645995 h 1153348"/>
              <a:gd name="connsiteX482" fmla="*/ 2443557 w 6837827"/>
              <a:gd name="connsiteY482" fmla="*/ 622476 h 1153348"/>
              <a:gd name="connsiteX483" fmla="*/ 2458256 w 6837827"/>
              <a:gd name="connsiteY483" fmla="*/ 600217 h 1153348"/>
              <a:gd name="connsiteX484" fmla="*/ 2472115 w 6837827"/>
              <a:gd name="connsiteY484" fmla="*/ 586357 h 1153348"/>
              <a:gd name="connsiteX485" fmla="*/ 2472955 w 6837827"/>
              <a:gd name="connsiteY485" fmla="*/ 612396 h 1153348"/>
              <a:gd name="connsiteX486" fmla="*/ 2467075 w 6837827"/>
              <a:gd name="connsiteY486" fmla="*/ 638015 h 1153348"/>
              <a:gd name="connsiteX487" fmla="*/ 2460776 w 6837827"/>
              <a:gd name="connsiteY487" fmla="*/ 649355 h 1153348"/>
              <a:gd name="connsiteX488" fmla="*/ 2831200 w 6837827"/>
              <a:gd name="connsiteY488" fmla="*/ 496901 h 1153348"/>
              <a:gd name="connsiteX489" fmla="*/ 2790882 w 6837827"/>
              <a:gd name="connsiteY489" fmla="*/ 531340 h 1153348"/>
              <a:gd name="connsiteX490" fmla="*/ 2758543 w 6837827"/>
              <a:gd name="connsiteY490" fmla="*/ 578378 h 1153348"/>
              <a:gd name="connsiteX491" fmla="*/ 2735444 w 6837827"/>
              <a:gd name="connsiteY491" fmla="*/ 631716 h 1153348"/>
              <a:gd name="connsiteX492" fmla="*/ 2723685 w 6837827"/>
              <a:gd name="connsiteY492" fmla="*/ 685893 h 1153348"/>
              <a:gd name="connsiteX493" fmla="*/ 2725364 w 6837827"/>
              <a:gd name="connsiteY493" fmla="*/ 734191 h 1153348"/>
              <a:gd name="connsiteX494" fmla="*/ 2748043 w 6837827"/>
              <a:gd name="connsiteY494" fmla="*/ 784169 h 1153348"/>
              <a:gd name="connsiteX495" fmla="*/ 2790882 w 6837827"/>
              <a:gd name="connsiteY495" fmla="*/ 817767 h 1153348"/>
              <a:gd name="connsiteX496" fmla="*/ 2843799 w 6837827"/>
              <a:gd name="connsiteY496" fmla="*/ 826587 h 1153348"/>
              <a:gd name="connsiteX497" fmla="*/ 2896297 w 6837827"/>
              <a:gd name="connsiteY497" fmla="*/ 802648 h 1153348"/>
              <a:gd name="connsiteX498" fmla="*/ 2915616 w 6837827"/>
              <a:gd name="connsiteY498" fmla="*/ 788789 h 1153348"/>
              <a:gd name="connsiteX499" fmla="*/ 2937455 w 6837827"/>
              <a:gd name="connsiteY499" fmla="*/ 773669 h 1153348"/>
              <a:gd name="connsiteX500" fmla="*/ 2954254 w 6837827"/>
              <a:gd name="connsiteY500" fmla="*/ 755190 h 1153348"/>
              <a:gd name="connsiteX501" fmla="*/ 2959294 w 6837827"/>
              <a:gd name="connsiteY501" fmla="*/ 730831 h 1153348"/>
              <a:gd name="connsiteX502" fmla="*/ 2949635 w 6837827"/>
              <a:gd name="connsiteY502" fmla="*/ 717392 h 1153348"/>
              <a:gd name="connsiteX503" fmla="*/ 2929056 w 6837827"/>
              <a:gd name="connsiteY503" fmla="*/ 715712 h 1153348"/>
              <a:gd name="connsiteX504" fmla="*/ 2903017 w 6837827"/>
              <a:gd name="connsiteY504" fmla="*/ 721592 h 1153348"/>
              <a:gd name="connsiteX505" fmla="*/ 2876138 w 6837827"/>
              <a:gd name="connsiteY505" fmla="*/ 731251 h 1153348"/>
              <a:gd name="connsiteX506" fmla="*/ 2854299 w 6837827"/>
              <a:gd name="connsiteY506" fmla="*/ 740911 h 1153348"/>
              <a:gd name="connsiteX507" fmla="*/ 2842539 w 6837827"/>
              <a:gd name="connsiteY507" fmla="*/ 745531 h 1153348"/>
              <a:gd name="connsiteX508" fmla="*/ 2816081 w 6837827"/>
              <a:gd name="connsiteY508" fmla="*/ 743011 h 1153348"/>
              <a:gd name="connsiteX509" fmla="*/ 2802641 w 6837827"/>
              <a:gd name="connsiteY509" fmla="*/ 726211 h 1153348"/>
              <a:gd name="connsiteX510" fmla="*/ 2798861 w 6837827"/>
              <a:gd name="connsiteY510" fmla="*/ 700173 h 1153348"/>
              <a:gd name="connsiteX511" fmla="*/ 2802641 w 6837827"/>
              <a:gd name="connsiteY511" fmla="*/ 670354 h 1153348"/>
              <a:gd name="connsiteX512" fmla="*/ 2810621 w 6837827"/>
              <a:gd name="connsiteY512" fmla="*/ 642635 h 1153348"/>
              <a:gd name="connsiteX513" fmla="*/ 2819860 w 6837827"/>
              <a:gd name="connsiteY513" fmla="*/ 622056 h 1153348"/>
              <a:gd name="connsiteX514" fmla="*/ 2838759 w 6837827"/>
              <a:gd name="connsiteY514" fmla="*/ 590137 h 1153348"/>
              <a:gd name="connsiteX515" fmla="*/ 2860179 w 6837827"/>
              <a:gd name="connsiteY515" fmla="*/ 566198 h 1153348"/>
              <a:gd name="connsiteX516" fmla="*/ 2889157 w 6837827"/>
              <a:gd name="connsiteY516" fmla="*/ 555279 h 1153348"/>
              <a:gd name="connsiteX517" fmla="*/ 2931576 w 6837827"/>
              <a:gd name="connsiteY517" fmla="*/ 563258 h 1153348"/>
              <a:gd name="connsiteX518" fmla="*/ 2946275 w 6837827"/>
              <a:gd name="connsiteY518" fmla="*/ 554859 h 1153348"/>
              <a:gd name="connsiteX519" fmla="*/ 2951735 w 6837827"/>
              <a:gd name="connsiteY519" fmla="*/ 540579 h 1153348"/>
              <a:gd name="connsiteX520" fmla="*/ 2950475 w 6837827"/>
              <a:gd name="connsiteY520" fmla="*/ 523360 h 1153348"/>
              <a:gd name="connsiteX521" fmla="*/ 2945015 w 6837827"/>
              <a:gd name="connsiteY521" fmla="*/ 506561 h 1153348"/>
              <a:gd name="connsiteX522" fmla="*/ 2933676 w 6837827"/>
              <a:gd name="connsiteY522" fmla="*/ 493121 h 1153348"/>
              <a:gd name="connsiteX523" fmla="*/ 2916456 w 6837827"/>
              <a:gd name="connsiteY523" fmla="*/ 485142 h 1153348"/>
              <a:gd name="connsiteX524" fmla="*/ 2896717 w 6837827"/>
              <a:gd name="connsiteY524" fmla="*/ 481362 h 1153348"/>
              <a:gd name="connsiteX525" fmla="*/ 2878238 w 6837827"/>
              <a:gd name="connsiteY525" fmla="*/ 481362 h 1153348"/>
              <a:gd name="connsiteX526" fmla="*/ 2831200 w 6837827"/>
              <a:gd name="connsiteY526" fmla="*/ 496901 h 1153348"/>
              <a:gd name="connsiteX527" fmla="*/ 3248662 w 6837827"/>
              <a:gd name="connsiteY527" fmla="*/ 421725 h 1153348"/>
              <a:gd name="connsiteX528" fmla="*/ 3229763 w 6837827"/>
              <a:gd name="connsiteY528" fmla="*/ 451543 h 1153348"/>
              <a:gd name="connsiteX529" fmla="*/ 3225983 w 6837827"/>
              <a:gd name="connsiteY529" fmla="*/ 481362 h 1153348"/>
              <a:gd name="connsiteX530" fmla="*/ 3224723 w 6837827"/>
              <a:gd name="connsiteY530" fmla="*/ 510341 h 1153348"/>
              <a:gd name="connsiteX531" fmla="*/ 3223043 w 6837827"/>
              <a:gd name="connsiteY531" fmla="*/ 539739 h 1153348"/>
              <a:gd name="connsiteX532" fmla="*/ 3217163 w 6837827"/>
              <a:gd name="connsiteY532" fmla="*/ 568298 h 1153348"/>
              <a:gd name="connsiteX533" fmla="*/ 3201204 w 6837827"/>
              <a:gd name="connsiteY533" fmla="*/ 571238 h 1153348"/>
              <a:gd name="connsiteX534" fmla="*/ 3180625 w 6837827"/>
              <a:gd name="connsiteY534" fmla="*/ 574178 h 1153348"/>
              <a:gd name="connsiteX535" fmla="*/ 3160466 w 6837827"/>
              <a:gd name="connsiteY535" fmla="*/ 576278 h 1153348"/>
              <a:gd name="connsiteX536" fmla="*/ 3146186 w 6837827"/>
              <a:gd name="connsiteY536" fmla="*/ 576278 h 1153348"/>
              <a:gd name="connsiteX537" fmla="*/ 3141567 w 6837827"/>
              <a:gd name="connsiteY537" fmla="*/ 547719 h 1153348"/>
              <a:gd name="connsiteX538" fmla="*/ 3142406 w 6837827"/>
              <a:gd name="connsiteY538" fmla="*/ 522520 h 1153348"/>
              <a:gd name="connsiteX539" fmla="*/ 3144926 w 6837827"/>
              <a:gd name="connsiteY539" fmla="*/ 497741 h 1153348"/>
              <a:gd name="connsiteX540" fmla="*/ 3145766 w 6837827"/>
              <a:gd name="connsiteY540" fmla="*/ 470442 h 1153348"/>
              <a:gd name="connsiteX541" fmla="*/ 3139887 w 6837827"/>
              <a:gd name="connsiteY541" fmla="*/ 458683 h 1153348"/>
              <a:gd name="connsiteX542" fmla="*/ 3126867 w 6837827"/>
              <a:gd name="connsiteY542" fmla="*/ 449863 h 1153348"/>
              <a:gd name="connsiteX543" fmla="*/ 3111328 w 6837827"/>
              <a:gd name="connsiteY543" fmla="*/ 445663 h 1153348"/>
              <a:gd name="connsiteX544" fmla="*/ 3098728 w 6837827"/>
              <a:gd name="connsiteY544" fmla="*/ 446923 h 1153348"/>
              <a:gd name="connsiteX545" fmla="*/ 3085289 w 6837827"/>
              <a:gd name="connsiteY545" fmla="*/ 462043 h 1153348"/>
              <a:gd name="connsiteX546" fmla="*/ 3078989 w 6837827"/>
              <a:gd name="connsiteY546" fmla="*/ 487242 h 1153348"/>
              <a:gd name="connsiteX547" fmla="*/ 3077729 w 6837827"/>
              <a:gd name="connsiteY547" fmla="*/ 514121 h 1153348"/>
              <a:gd name="connsiteX548" fmla="*/ 3078989 w 6837827"/>
              <a:gd name="connsiteY548" fmla="*/ 534280 h 1153348"/>
              <a:gd name="connsiteX549" fmla="*/ 3079829 w 6837827"/>
              <a:gd name="connsiteY549" fmla="*/ 564098 h 1153348"/>
              <a:gd name="connsiteX550" fmla="*/ 3076049 w 6837827"/>
              <a:gd name="connsiteY550" fmla="*/ 593917 h 1153348"/>
              <a:gd name="connsiteX551" fmla="*/ 3072270 w 6837827"/>
              <a:gd name="connsiteY551" fmla="*/ 624576 h 1153348"/>
              <a:gd name="connsiteX552" fmla="*/ 3071430 w 6837827"/>
              <a:gd name="connsiteY552" fmla="*/ 655234 h 1153348"/>
              <a:gd name="connsiteX553" fmla="*/ 3072689 w 6837827"/>
              <a:gd name="connsiteY553" fmla="*/ 672034 h 1153348"/>
              <a:gd name="connsiteX554" fmla="*/ 3073529 w 6837827"/>
              <a:gd name="connsiteY554" fmla="*/ 691353 h 1153348"/>
              <a:gd name="connsiteX555" fmla="*/ 3073949 w 6837827"/>
              <a:gd name="connsiteY555" fmla="*/ 709412 h 1153348"/>
              <a:gd name="connsiteX556" fmla="*/ 3072689 w 6837827"/>
              <a:gd name="connsiteY556" fmla="*/ 722012 h 1153348"/>
              <a:gd name="connsiteX557" fmla="*/ 3071849 w 6837827"/>
              <a:gd name="connsiteY557" fmla="*/ 734611 h 1153348"/>
              <a:gd name="connsiteX558" fmla="*/ 3073529 w 6837827"/>
              <a:gd name="connsiteY558" fmla="*/ 752250 h 1153348"/>
              <a:gd name="connsiteX559" fmla="*/ 3076469 w 6837827"/>
              <a:gd name="connsiteY559" fmla="*/ 769889 h 1153348"/>
              <a:gd name="connsiteX560" fmla="*/ 3080249 w 6837827"/>
              <a:gd name="connsiteY560" fmla="*/ 781649 h 1153348"/>
              <a:gd name="connsiteX561" fmla="*/ 3100408 w 6837827"/>
              <a:gd name="connsiteY561" fmla="*/ 803908 h 1153348"/>
              <a:gd name="connsiteX562" fmla="*/ 3125187 w 6837827"/>
              <a:gd name="connsiteY562" fmla="*/ 809788 h 1153348"/>
              <a:gd name="connsiteX563" fmla="*/ 3145766 w 6837827"/>
              <a:gd name="connsiteY563" fmla="*/ 798868 h 1153348"/>
              <a:gd name="connsiteX564" fmla="*/ 3153746 w 6837827"/>
              <a:gd name="connsiteY564" fmla="*/ 769470 h 1153348"/>
              <a:gd name="connsiteX565" fmla="*/ 3152486 w 6837827"/>
              <a:gd name="connsiteY565" fmla="*/ 758970 h 1153348"/>
              <a:gd name="connsiteX566" fmla="*/ 3149966 w 6837827"/>
              <a:gd name="connsiteY566" fmla="*/ 753090 h 1153348"/>
              <a:gd name="connsiteX567" fmla="*/ 3147026 w 6837827"/>
              <a:gd name="connsiteY567" fmla="*/ 747630 h 1153348"/>
              <a:gd name="connsiteX568" fmla="*/ 3144926 w 6837827"/>
              <a:gd name="connsiteY568" fmla="*/ 738391 h 1153348"/>
              <a:gd name="connsiteX569" fmla="*/ 3141986 w 6837827"/>
              <a:gd name="connsiteY569" fmla="*/ 657334 h 1153348"/>
              <a:gd name="connsiteX570" fmla="*/ 3181045 w 6837827"/>
              <a:gd name="connsiteY570" fmla="*/ 640955 h 1153348"/>
              <a:gd name="connsiteX571" fmla="*/ 3222623 w 6837827"/>
              <a:gd name="connsiteY571" fmla="*/ 634655 h 1153348"/>
              <a:gd name="connsiteX572" fmla="*/ 3224303 w 6837827"/>
              <a:gd name="connsiteY572" fmla="*/ 646835 h 1153348"/>
              <a:gd name="connsiteX573" fmla="*/ 3224723 w 6837827"/>
              <a:gd name="connsiteY573" fmla="*/ 653554 h 1153348"/>
              <a:gd name="connsiteX574" fmla="*/ 3226823 w 6837827"/>
              <a:gd name="connsiteY574" fmla="*/ 671614 h 1153348"/>
              <a:gd name="connsiteX575" fmla="*/ 3225563 w 6837827"/>
              <a:gd name="connsiteY575" fmla="*/ 689673 h 1153348"/>
              <a:gd name="connsiteX576" fmla="*/ 3224303 w 6837827"/>
              <a:gd name="connsiteY576" fmla="*/ 708152 h 1153348"/>
              <a:gd name="connsiteX577" fmla="*/ 3228503 w 6837827"/>
              <a:gd name="connsiteY577" fmla="*/ 726211 h 1153348"/>
              <a:gd name="connsiteX578" fmla="*/ 3235222 w 6837827"/>
              <a:gd name="connsiteY578" fmla="*/ 742171 h 1153348"/>
              <a:gd name="connsiteX579" fmla="*/ 3245302 w 6837827"/>
              <a:gd name="connsiteY579" fmla="*/ 760650 h 1153348"/>
              <a:gd name="connsiteX580" fmla="*/ 3260001 w 6837827"/>
              <a:gd name="connsiteY580" fmla="*/ 774089 h 1153348"/>
              <a:gd name="connsiteX581" fmla="*/ 3280161 w 6837827"/>
              <a:gd name="connsiteY581" fmla="*/ 774509 h 1153348"/>
              <a:gd name="connsiteX582" fmla="*/ 3287720 w 6837827"/>
              <a:gd name="connsiteY582" fmla="*/ 769889 h 1153348"/>
              <a:gd name="connsiteX583" fmla="*/ 3295700 w 6837827"/>
              <a:gd name="connsiteY583" fmla="*/ 759810 h 1153348"/>
              <a:gd name="connsiteX584" fmla="*/ 3301160 w 6837827"/>
              <a:gd name="connsiteY584" fmla="*/ 744271 h 1153348"/>
              <a:gd name="connsiteX585" fmla="*/ 3301160 w 6837827"/>
              <a:gd name="connsiteY585" fmla="*/ 723691 h 1153348"/>
              <a:gd name="connsiteX586" fmla="*/ 3298220 w 6837827"/>
              <a:gd name="connsiteY586" fmla="*/ 701432 h 1153348"/>
              <a:gd name="connsiteX587" fmla="*/ 3296540 w 6837827"/>
              <a:gd name="connsiteY587" fmla="*/ 685053 h 1153348"/>
              <a:gd name="connsiteX588" fmla="*/ 3295700 w 6837827"/>
              <a:gd name="connsiteY588" fmla="*/ 669514 h 1153348"/>
              <a:gd name="connsiteX589" fmla="*/ 3295700 w 6837827"/>
              <a:gd name="connsiteY589" fmla="*/ 650195 h 1153348"/>
              <a:gd name="connsiteX590" fmla="*/ 3294440 w 6837827"/>
              <a:gd name="connsiteY590" fmla="*/ 622056 h 1153348"/>
              <a:gd name="connsiteX591" fmla="*/ 3291920 w 6837827"/>
              <a:gd name="connsiteY591" fmla="*/ 593917 h 1153348"/>
              <a:gd name="connsiteX592" fmla="*/ 3290240 w 6837827"/>
              <a:gd name="connsiteY592" fmla="*/ 565778 h 1153348"/>
              <a:gd name="connsiteX593" fmla="*/ 3290660 w 6837827"/>
              <a:gd name="connsiteY593" fmla="*/ 537639 h 1153348"/>
              <a:gd name="connsiteX594" fmla="*/ 3290660 w 6837827"/>
              <a:gd name="connsiteY594" fmla="*/ 522940 h 1153348"/>
              <a:gd name="connsiteX595" fmla="*/ 3290240 w 6837827"/>
              <a:gd name="connsiteY595" fmla="*/ 500261 h 1153348"/>
              <a:gd name="connsiteX596" fmla="*/ 3290660 w 6837827"/>
              <a:gd name="connsiteY596" fmla="*/ 478422 h 1153348"/>
              <a:gd name="connsiteX597" fmla="*/ 3293180 w 6837827"/>
              <a:gd name="connsiteY597" fmla="*/ 466662 h 1153348"/>
              <a:gd name="connsiteX598" fmla="*/ 3299900 w 6837827"/>
              <a:gd name="connsiteY598" fmla="*/ 454903 h 1153348"/>
              <a:gd name="connsiteX599" fmla="*/ 3301160 w 6837827"/>
              <a:gd name="connsiteY599" fmla="*/ 441044 h 1153348"/>
              <a:gd name="connsiteX600" fmla="*/ 3296540 w 6837827"/>
              <a:gd name="connsiteY600" fmla="*/ 428864 h 1153348"/>
              <a:gd name="connsiteX601" fmla="*/ 3286040 w 6837827"/>
              <a:gd name="connsiteY601" fmla="*/ 420464 h 1153348"/>
              <a:gd name="connsiteX602" fmla="*/ 3248662 w 6837827"/>
              <a:gd name="connsiteY602" fmla="*/ 421725 h 1153348"/>
              <a:gd name="connsiteX603" fmla="*/ 3685023 w 6837827"/>
              <a:gd name="connsiteY603" fmla="*/ 666994 h 1153348"/>
              <a:gd name="connsiteX604" fmla="*/ 3689643 w 6837827"/>
              <a:gd name="connsiteY604" fmla="*/ 647675 h 1153348"/>
              <a:gd name="connsiteX605" fmla="*/ 3692163 w 6837827"/>
              <a:gd name="connsiteY605" fmla="*/ 626676 h 1153348"/>
              <a:gd name="connsiteX606" fmla="*/ 3693843 w 6837827"/>
              <a:gd name="connsiteY606" fmla="*/ 598957 h 1153348"/>
              <a:gd name="connsiteX607" fmla="*/ 3698463 w 6837827"/>
              <a:gd name="connsiteY607" fmla="*/ 578378 h 1153348"/>
              <a:gd name="connsiteX608" fmla="*/ 3701822 w 6837827"/>
              <a:gd name="connsiteY608" fmla="*/ 557379 h 1153348"/>
              <a:gd name="connsiteX609" fmla="*/ 3703082 w 6837827"/>
              <a:gd name="connsiteY609" fmla="*/ 541419 h 1153348"/>
              <a:gd name="connsiteX610" fmla="*/ 3703502 w 6837827"/>
              <a:gd name="connsiteY610" fmla="*/ 522520 h 1153348"/>
              <a:gd name="connsiteX611" fmla="*/ 3705602 w 6837827"/>
              <a:gd name="connsiteY611" fmla="*/ 504041 h 1153348"/>
              <a:gd name="connsiteX612" fmla="*/ 3710642 w 6837827"/>
              <a:gd name="connsiteY612" fmla="*/ 488922 h 1153348"/>
              <a:gd name="connsiteX613" fmla="*/ 3719042 w 6837827"/>
              <a:gd name="connsiteY613" fmla="*/ 456583 h 1153348"/>
              <a:gd name="connsiteX614" fmla="*/ 3711062 w 6837827"/>
              <a:gd name="connsiteY614" fmla="*/ 429284 h 1153348"/>
              <a:gd name="connsiteX615" fmla="*/ 3692163 w 6837827"/>
              <a:gd name="connsiteY615" fmla="*/ 410385 h 1153348"/>
              <a:gd name="connsiteX616" fmla="*/ 3668644 w 6837827"/>
              <a:gd name="connsiteY616" fmla="*/ 403665 h 1153348"/>
              <a:gd name="connsiteX617" fmla="*/ 3646805 w 6837827"/>
              <a:gd name="connsiteY617" fmla="*/ 412905 h 1153348"/>
              <a:gd name="connsiteX618" fmla="*/ 3632525 w 6837827"/>
              <a:gd name="connsiteY618" fmla="*/ 441044 h 1153348"/>
              <a:gd name="connsiteX619" fmla="*/ 3627485 w 6837827"/>
              <a:gd name="connsiteY619" fmla="*/ 491022 h 1153348"/>
              <a:gd name="connsiteX620" fmla="*/ 3622026 w 6837827"/>
              <a:gd name="connsiteY620" fmla="*/ 540999 h 1153348"/>
              <a:gd name="connsiteX621" fmla="*/ 3621186 w 6837827"/>
              <a:gd name="connsiteY621" fmla="*/ 556539 h 1153348"/>
              <a:gd name="connsiteX622" fmla="*/ 3617826 w 6837827"/>
              <a:gd name="connsiteY622" fmla="*/ 571238 h 1153348"/>
              <a:gd name="connsiteX623" fmla="*/ 3613626 w 6837827"/>
              <a:gd name="connsiteY623" fmla="*/ 579218 h 1153348"/>
              <a:gd name="connsiteX624" fmla="*/ 3611526 w 6837827"/>
              <a:gd name="connsiteY624" fmla="*/ 587617 h 1153348"/>
              <a:gd name="connsiteX625" fmla="*/ 3595147 w 6837827"/>
              <a:gd name="connsiteY625" fmla="*/ 565358 h 1153348"/>
              <a:gd name="connsiteX626" fmla="*/ 3583387 w 6837827"/>
              <a:gd name="connsiteY626" fmla="*/ 548139 h 1153348"/>
              <a:gd name="connsiteX627" fmla="*/ 3574148 w 6837827"/>
              <a:gd name="connsiteY627" fmla="*/ 532180 h 1153348"/>
              <a:gd name="connsiteX628" fmla="*/ 3565748 w 6837827"/>
              <a:gd name="connsiteY628" fmla="*/ 513700 h 1153348"/>
              <a:gd name="connsiteX629" fmla="*/ 3554409 w 6837827"/>
              <a:gd name="connsiteY629" fmla="*/ 485562 h 1153348"/>
              <a:gd name="connsiteX630" fmla="*/ 3539709 w 6837827"/>
              <a:gd name="connsiteY630" fmla="*/ 459103 h 1153348"/>
              <a:gd name="connsiteX631" fmla="*/ 3502331 w 6837827"/>
              <a:gd name="connsiteY631" fmla="*/ 432224 h 1153348"/>
              <a:gd name="connsiteX632" fmla="*/ 3472092 w 6837827"/>
              <a:gd name="connsiteY632" fmla="*/ 445663 h 1153348"/>
              <a:gd name="connsiteX633" fmla="*/ 3452773 w 6837827"/>
              <a:gd name="connsiteY633" fmla="*/ 483462 h 1153348"/>
              <a:gd name="connsiteX634" fmla="*/ 3448573 w 6837827"/>
              <a:gd name="connsiteY634" fmla="*/ 529660 h 1153348"/>
              <a:gd name="connsiteX635" fmla="*/ 3449833 w 6837827"/>
              <a:gd name="connsiteY635" fmla="*/ 539739 h 1153348"/>
              <a:gd name="connsiteX636" fmla="*/ 3451933 w 6837827"/>
              <a:gd name="connsiteY636" fmla="*/ 550239 h 1153348"/>
              <a:gd name="connsiteX637" fmla="*/ 3451513 w 6837827"/>
              <a:gd name="connsiteY637" fmla="*/ 560319 h 1153348"/>
              <a:gd name="connsiteX638" fmla="*/ 3446053 w 6837827"/>
              <a:gd name="connsiteY638" fmla="*/ 569558 h 1153348"/>
              <a:gd name="connsiteX639" fmla="*/ 3441854 w 6837827"/>
              <a:gd name="connsiteY639" fmla="*/ 588037 h 1153348"/>
              <a:gd name="connsiteX640" fmla="*/ 3441854 w 6837827"/>
              <a:gd name="connsiteY640" fmla="*/ 607356 h 1153348"/>
              <a:gd name="connsiteX641" fmla="*/ 3439334 w 6837827"/>
              <a:gd name="connsiteY641" fmla="*/ 626256 h 1153348"/>
              <a:gd name="connsiteX642" fmla="*/ 3435134 w 6837827"/>
              <a:gd name="connsiteY642" fmla="*/ 656494 h 1153348"/>
              <a:gd name="connsiteX643" fmla="*/ 3429674 w 6837827"/>
              <a:gd name="connsiteY643" fmla="*/ 685893 h 1153348"/>
              <a:gd name="connsiteX644" fmla="*/ 3424214 w 6837827"/>
              <a:gd name="connsiteY644" fmla="*/ 702272 h 1153348"/>
              <a:gd name="connsiteX645" fmla="*/ 3419175 w 6837827"/>
              <a:gd name="connsiteY645" fmla="*/ 714872 h 1153348"/>
              <a:gd name="connsiteX646" fmla="*/ 3417494 w 6837827"/>
              <a:gd name="connsiteY646" fmla="*/ 732931 h 1153348"/>
              <a:gd name="connsiteX647" fmla="*/ 3417915 w 6837827"/>
              <a:gd name="connsiteY647" fmla="*/ 751830 h 1153348"/>
              <a:gd name="connsiteX648" fmla="*/ 3418755 w 6837827"/>
              <a:gd name="connsiteY648" fmla="*/ 766530 h 1153348"/>
              <a:gd name="connsiteX649" fmla="*/ 3420855 w 6837827"/>
              <a:gd name="connsiteY649" fmla="*/ 782909 h 1153348"/>
              <a:gd name="connsiteX650" fmla="*/ 3426314 w 6837827"/>
              <a:gd name="connsiteY650" fmla="*/ 798868 h 1153348"/>
              <a:gd name="connsiteX651" fmla="*/ 3436814 w 6837827"/>
              <a:gd name="connsiteY651" fmla="*/ 810208 h 1153348"/>
              <a:gd name="connsiteX652" fmla="*/ 3454033 w 6837827"/>
              <a:gd name="connsiteY652" fmla="*/ 814408 h 1153348"/>
              <a:gd name="connsiteX653" fmla="*/ 3477132 w 6837827"/>
              <a:gd name="connsiteY653" fmla="*/ 805588 h 1153348"/>
              <a:gd name="connsiteX654" fmla="*/ 3486792 w 6837827"/>
              <a:gd name="connsiteY654" fmla="*/ 782909 h 1153348"/>
              <a:gd name="connsiteX655" fmla="*/ 3488891 w 6837827"/>
              <a:gd name="connsiteY655" fmla="*/ 754350 h 1153348"/>
              <a:gd name="connsiteX656" fmla="*/ 3492251 w 6837827"/>
              <a:gd name="connsiteY656" fmla="*/ 725791 h 1153348"/>
              <a:gd name="connsiteX657" fmla="*/ 3501491 w 6837827"/>
              <a:gd name="connsiteY657" fmla="*/ 677074 h 1153348"/>
              <a:gd name="connsiteX658" fmla="*/ 3509471 w 6837827"/>
              <a:gd name="connsiteY658" fmla="*/ 628355 h 1153348"/>
              <a:gd name="connsiteX659" fmla="*/ 3511151 w 6837827"/>
              <a:gd name="connsiteY659" fmla="*/ 608196 h 1153348"/>
              <a:gd name="connsiteX660" fmla="*/ 3514510 w 6837827"/>
              <a:gd name="connsiteY660" fmla="*/ 587617 h 1153348"/>
              <a:gd name="connsiteX661" fmla="*/ 3515770 w 6837827"/>
              <a:gd name="connsiteY661" fmla="*/ 593497 h 1153348"/>
              <a:gd name="connsiteX662" fmla="*/ 3520810 w 6837827"/>
              <a:gd name="connsiteY662" fmla="*/ 600217 h 1153348"/>
              <a:gd name="connsiteX663" fmla="*/ 3527110 w 6837827"/>
              <a:gd name="connsiteY663" fmla="*/ 606517 h 1153348"/>
              <a:gd name="connsiteX664" fmla="*/ 3531730 w 6837827"/>
              <a:gd name="connsiteY664" fmla="*/ 611556 h 1153348"/>
              <a:gd name="connsiteX665" fmla="*/ 3553989 w 6837827"/>
              <a:gd name="connsiteY665" fmla="*/ 647255 h 1153348"/>
              <a:gd name="connsiteX666" fmla="*/ 3578348 w 6837827"/>
              <a:gd name="connsiteY666" fmla="*/ 685893 h 1153348"/>
              <a:gd name="connsiteX667" fmla="*/ 3609006 w 6837827"/>
              <a:gd name="connsiteY667" fmla="*/ 715712 h 1153348"/>
              <a:gd name="connsiteX668" fmla="*/ 3651424 w 6837827"/>
              <a:gd name="connsiteY668" fmla="*/ 724951 h 1153348"/>
              <a:gd name="connsiteX669" fmla="*/ 3662764 w 6837827"/>
              <a:gd name="connsiteY669" fmla="*/ 720332 h 1153348"/>
              <a:gd name="connsiteX670" fmla="*/ 3669904 w 6837827"/>
              <a:gd name="connsiteY670" fmla="*/ 711512 h 1153348"/>
              <a:gd name="connsiteX671" fmla="*/ 3674523 w 6837827"/>
              <a:gd name="connsiteY671" fmla="*/ 700592 h 1153348"/>
              <a:gd name="connsiteX672" fmla="*/ 3678303 w 6837827"/>
              <a:gd name="connsiteY672" fmla="*/ 689673 h 1153348"/>
              <a:gd name="connsiteX673" fmla="*/ 3685023 w 6837827"/>
              <a:gd name="connsiteY673" fmla="*/ 666994 h 1153348"/>
              <a:gd name="connsiteX674" fmla="*/ 3998330 w 6837827"/>
              <a:gd name="connsiteY674" fmla="*/ 336468 h 1153348"/>
              <a:gd name="connsiteX675" fmla="*/ 3990350 w 6837827"/>
              <a:gd name="connsiteY675" fmla="*/ 337308 h 1153348"/>
              <a:gd name="connsiteX676" fmla="*/ 3963051 w 6837827"/>
              <a:gd name="connsiteY676" fmla="*/ 342768 h 1153348"/>
              <a:gd name="connsiteX677" fmla="*/ 3942052 w 6837827"/>
              <a:gd name="connsiteY677" fmla="*/ 352007 h 1153348"/>
              <a:gd name="connsiteX678" fmla="*/ 3921473 w 6837827"/>
              <a:gd name="connsiteY678" fmla="*/ 363767 h 1153348"/>
              <a:gd name="connsiteX679" fmla="*/ 3895014 w 6837827"/>
              <a:gd name="connsiteY679" fmla="*/ 376786 h 1153348"/>
              <a:gd name="connsiteX680" fmla="*/ 3885774 w 6837827"/>
              <a:gd name="connsiteY680" fmla="*/ 378886 h 1153348"/>
              <a:gd name="connsiteX681" fmla="*/ 3875695 w 6837827"/>
              <a:gd name="connsiteY681" fmla="*/ 379306 h 1153348"/>
              <a:gd name="connsiteX682" fmla="*/ 3866035 w 6837827"/>
              <a:gd name="connsiteY682" fmla="*/ 381406 h 1153348"/>
              <a:gd name="connsiteX683" fmla="*/ 3858056 w 6837827"/>
              <a:gd name="connsiteY683" fmla="*/ 387706 h 1153348"/>
              <a:gd name="connsiteX684" fmla="*/ 3834957 w 6837827"/>
              <a:gd name="connsiteY684" fmla="*/ 489342 h 1153348"/>
              <a:gd name="connsiteX685" fmla="*/ 3832437 w 6837827"/>
              <a:gd name="connsiteY685" fmla="*/ 592237 h 1153348"/>
              <a:gd name="connsiteX686" fmla="*/ 3836637 w 6837827"/>
              <a:gd name="connsiteY686" fmla="*/ 619956 h 1153348"/>
              <a:gd name="connsiteX687" fmla="*/ 3842936 w 6837827"/>
              <a:gd name="connsiteY687" fmla="*/ 647675 h 1153348"/>
              <a:gd name="connsiteX688" fmla="*/ 3862675 w 6837827"/>
              <a:gd name="connsiteY688" fmla="*/ 688413 h 1153348"/>
              <a:gd name="connsiteX689" fmla="*/ 3897534 w 6837827"/>
              <a:gd name="connsiteY689" fmla="*/ 716972 h 1153348"/>
              <a:gd name="connsiteX690" fmla="*/ 3949192 w 6837827"/>
              <a:gd name="connsiteY690" fmla="*/ 726211 h 1153348"/>
              <a:gd name="connsiteX691" fmla="*/ 3979431 w 6837827"/>
              <a:gd name="connsiteY691" fmla="*/ 718232 h 1153348"/>
              <a:gd name="connsiteX692" fmla="*/ 4006729 w 6837827"/>
              <a:gd name="connsiteY692" fmla="*/ 703112 h 1153348"/>
              <a:gd name="connsiteX693" fmla="*/ 4024368 w 6837827"/>
              <a:gd name="connsiteY693" fmla="*/ 677493 h 1153348"/>
              <a:gd name="connsiteX694" fmla="*/ 4032348 w 6837827"/>
              <a:gd name="connsiteY694" fmla="*/ 659014 h 1153348"/>
              <a:gd name="connsiteX695" fmla="*/ 4035708 w 6837827"/>
              <a:gd name="connsiteY695" fmla="*/ 638015 h 1153348"/>
              <a:gd name="connsiteX696" fmla="*/ 4024788 w 6837827"/>
              <a:gd name="connsiteY696" fmla="*/ 618276 h 1153348"/>
              <a:gd name="connsiteX697" fmla="*/ 4001689 w 6837827"/>
              <a:gd name="connsiteY697" fmla="*/ 609876 h 1153348"/>
              <a:gd name="connsiteX698" fmla="*/ 3991190 w 6837827"/>
              <a:gd name="connsiteY698" fmla="*/ 611136 h 1153348"/>
              <a:gd name="connsiteX699" fmla="*/ 3984890 w 6837827"/>
              <a:gd name="connsiteY699" fmla="*/ 614916 h 1153348"/>
              <a:gd name="connsiteX700" fmla="*/ 3980690 w 6837827"/>
              <a:gd name="connsiteY700" fmla="*/ 621216 h 1153348"/>
              <a:gd name="connsiteX701" fmla="*/ 3975651 w 6837827"/>
              <a:gd name="connsiteY701" fmla="*/ 629616 h 1153348"/>
              <a:gd name="connsiteX702" fmla="*/ 3964731 w 6837827"/>
              <a:gd name="connsiteY702" fmla="*/ 639695 h 1153348"/>
              <a:gd name="connsiteX703" fmla="*/ 3951291 w 6837827"/>
              <a:gd name="connsiteY703" fmla="*/ 643895 h 1153348"/>
              <a:gd name="connsiteX704" fmla="*/ 3922313 w 6837827"/>
              <a:gd name="connsiteY704" fmla="*/ 635495 h 1153348"/>
              <a:gd name="connsiteX705" fmla="*/ 3909713 w 6837827"/>
              <a:gd name="connsiteY705" fmla="*/ 606096 h 1153348"/>
              <a:gd name="connsiteX706" fmla="*/ 3926933 w 6837827"/>
              <a:gd name="connsiteY706" fmla="*/ 593497 h 1153348"/>
              <a:gd name="connsiteX707" fmla="*/ 3947092 w 6837827"/>
              <a:gd name="connsiteY707" fmla="*/ 582578 h 1153348"/>
              <a:gd name="connsiteX708" fmla="*/ 3966831 w 6837827"/>
              <a:gd name="connsiteY708" fmla="*/ 570398 h 1153348"/>
              <a:gd name="connsiteX709" fmla="*/ 3982790 w 6837827"/>
              <a:gd name="connsiteY709" fmla="*/ 554439 h 1153348"/>
              <a:gd name="connsiteX710" fmla="*/ 3991190 w 6837827"/>
              <a:gd name="connsiteY710" fmla="*/ 538059 h 1153348"/>
              <a:gd name="connsiteX711" fmla="*/ 3993290 w 6837827"/>
              <a:gd name="connsiteY711" fmla="*/ 519580 h 1153348"/>
              <a:gd name="connsiteX712" fmla="*/ 3983630 w 6837827"/>
              <a:gd name="connsiteY712" fmla="*/ 501521 h 1153348"/>
              <a:gd name="connsiteX713" fmla="*/ 3962631 w 6837827"/>
              <a:gd name="connsiteY713" fmla="*/ 495641 h 1153348"/>
              <a:gd name="connsiteX714" fmla="*/ 3942052 w 6837827"/>
              <a:gd name="connsiteY714" fmla="*/ 500681 h 1153348"/>
              <a:gd name="connsiteX715" fmla="*/ 3924413 w 6837827"/>
              <a:gd name="connsiteY715" fmla="*/ 508661 h 1153348"/>
              <a:gd name="connsiteX716" fmla="*/ 3914333 w 6837827"/>
              <a:gd name="connsiteY716" fmla="*/ 512860 h 1153348"/>
              <a:gd name="connsiteX717" fmla="*/ 3909294 w 6837827"/>
              <a:gd name="connsiteY717" fmla="*/ 511601 h 1153348"/>
              <a:gd name="connsiteX718" fmla="*/ 3907613 w 6837827"/>
              <a:gd name="connsiteY718" fmla="*/ 506561 h 1153348"/>
              <a:gd name="connsiteX719" fmla="*/ 3906773 w 6837827"/>
              <a:gd name="connsiteY719" fmla="*/ 500261 h 1153348"/>
              <a:gd name="connsiteX720" fmla="*/ 3907613 w 6837827"/>
              <a:gd name="connsiteY720" fmla="*/ 487242 h 1153348"/>
              <a:gd name="connsiteX721" fmla="*/ 3910973 w 6837827"/>
              <a:gd name="connsiteY721" fmla="*/ 472542 h 1153348"/>
              <a:gd name="connsiteX722" fmla="*/ 3914753 w 6837827"/>
              <a:gd name="connsiteY722" fmla="*/ 459523 h 1153348"/>
              <a:gd name="connsiteX723" fmla="*/ 3917273 w 6837827"/>
              <a:gd name="connsiteY723" fmla="*/ 450703 h 1153348"/>
              <a:gd name="connsiteX724" fmla="*/ 3928613 w 6837827"/>
              <a:gd name="connsiteY724" fmla="*/ 437684 h 1153348"/>
              <a:gd name="connsiteX725" fmla="*/ 3949612 w 6837827"/>
              <a:gd name="connsiteY725" fmla="*/ 425504 h 1153348"/>
              <a:gd name="connsiteX726" fmla="*/ 3973131 w 6837827"/>
              <a:gd name="connsiteY726" fmla="*/ 415425 h 1153348"/>
              <a:gd name="connsiteX727" fmla="*/ 3991190 w 6837827"/>
              <a:gd name="connsiteY727" fmla="*/ 408705 h 1153348"/>
              <a:gd name="connsiteX728" fmla="*/ 4023529 w 6837827"/>
              <a:gd name="connsiteY728" fmla="*/ 393586 h 1153348"/>
              <a:gd name="connsiteX729" fmla="*/ 4038648 w 6837827"/>
              <a:gd name="connsiteY729" fmla="*/ 361667 h 1153348"/>
              <a:gd name="connsiteX730" fmla="*/ 4035708 w 6837827"/>
              <a:gd name="connsiteY730" fmla="*/ 351588 h 1153348"/>
              <a:gd name="connsiteX731" fmla="*/ 4027309 w 6837827"/>
              <a:gd name="connsiteY731" fmla="*/ 343608 h 1153348"/>
              <a:gd name="connsiteX732" fmla="*/ 4016389 w 6837827"/>
              <a:gd name="connsiteY732" fmla="*/ 338148 h 1153348"/>
              <a:gd name="connsiteX733" fmla="*/ 4006309 w 6837827"/>
              <a:gd name="connsiteY733" fmla="*/ 336468 h 1153348"/>
              <a:gd name="connsiteX734" fmla="*/ 3998330 w 6837827"/>
              <a:gd name="connsiteY734" fmla="*/ 336468 h 1153348"/>
              <a:gd name="connsiteX735" fmla="*/ 4295677 w 6837827"/>
              <a:gd name="connsiteY735" fmla="*/ 480522 h 1153348"/>
              <a:gd name="connsiteX736" fmla="*/ 4281818 w 6837827"/>
              <a:gd name="connsiteY736" fmla="*/ 511601 h 1153348"/>
              <a:gd name="connsiteX737" fmla="*/ 4266278 w 6837827"/>
              <a:gd name="connsiteY737" fmla="*/ 540999 h 1153348"/>
              <a:gd name="connsiteX738" fmla="*/ 4252839 w 6837827"/>
              <a:gd name="connsiteY738" fmla="*/ 557379 h 1153348"/>
              <a:gd name="connsiteX739" fmla="*/ 4247799 w 6837827"/>
              <a:gd name="connsiteY739" fmla="*/ 525460 h 1153348"/>
              <a:gd name="connsiteX740" fmla="*/ 4245279 w 6837827"/>
              <a:gd name="connsiteY740" fmla="*/ 494381 h 1153348"/>
              <a:gd name="connsiteX741" fmla="*/ 4242759 w 6837827"/>
              <a:gd name="connsiteY741" fmla="*/ 469182 h 1153348"/>
              <a:gd name="connsiteX742" fmla="*/ 4238559 w 6837827"/>
              <a:gd name="connsiteY742" fmla="*/ 443144 h 1153348"/>
              <a:gd name="connsiteX743" fmla="*/ 4234779 w 6837827"/>
              <a:gd name="connsiteY743" fmla="*/ 418785 h 1153348"/>
              <a:gd name="connsiteX744" fmla="*/ 4233940 w 6837827"/>
              <a:gd name="connsiteY744" fmla="*/ 397786 h 1153348"/>
              <a:gd name="connsiteX745" fmla="*/ 4229320 w 6837827"/>
              <a:gd name="connsiteY745" fmla="*/ 373847 h 1153348"/>
              <a:gd name="connsiteX746" fmla="*/ 4226800 w 6837827"/>
              <a:gd name="connsiteY746" fmla="*/ 345288 h 1153348"/>
              <a:gd name="connsiteX747" fmla="*/ 4223020 w 6837827"/>
              <a:gd name="connsiteY747" fmla="*/ 317149 h 1153348"/>
              <a:gd name="connsiteX748" fmla="*/ 4214621 w 6837827"/>
              <a:gd name="connsiteY748" fmla="*/ 293210 h 1153348"/>
              <a:gd name="connsiteX749" fmla="*/ 4198661 w 6837827"/>
              <a:gd name="connsiteY749" fmla="*/ 278511 h 1153348"/>
              <a:gd name="connsiteX750" fmla="*/ 4171782 w 6837827"/>
              <a:gd name="connsiteY750" fmla="*/ 276831 h 1153348"/>
              <a:gd name="connsiteX751" fmla="*/ 4160023 w 6837827"/>
              <a:gd name="connsiteY751" fmla="*/ 280610 h 1153348"/>
              <a:gd name="connsiteX752" fmla="*/ 4150363 w 6837827"/>
              <a:gd name="connsiteY752" fmla="*/ 285650 h 1153348"/>
              <a:gd name="connsiteX753" fmla="*/ 4144483 w 6837827"/>
              <a:gd name="connsiteY753" fmla="*/ 293630 h 1153348"/>
              <a:gd name="connsiteX754" fmla="*/ 4143643 w 6837827"/>
              <a:gd name="connsiteY754" fmla="*/ 306649 h 1153348"/>
              <a:gd name="connsiteX755" fmla="*/ 4150363 w 6837827"/>
              <a:gd name="connsiteY755" fmla="*/ 339408 h 1153348"/>
              <a:gd name="connsiteX756" fmla="*/ 4158343 w 6837827"/>
              <a:gd name="connsiteY756" fmla="*/ 373847 h 1153348"/>
              <a:gd name="connsiteX757" fmla="*/ 4160863 w 6837827"/>
              <a:gd name="connsiteY757" fmla="*/ 394006 h 1153348"/>
              <a:gd name="connsiteX758" fmla="*/ 4165062 w 6837827"/>
              <a:gd name="connsiteY758" fmla="*/ 430964 h 1153348"/>
              <a:gd name="connsiteX759" fmla="*/ 4170942 w 6837827"/>
              <a:gd name="connsiteY759" fmla="*/ 478002 h 1153348"/>
              <a:gd name="connsiteX760" fmla="*/ 4177662 w 6837827"/>
              <a:gd name="connsiteY760" fmla="*/ 528820 h 1153348"/>
              <a:gd name="connsiteX761" fmla="*/ 4185222 w 6837827"/>
              <a:gd name="connsiteY761" fmla="*/ 577118 h 1153348"/>
              <a:gd name="connsiteX762" fmla="*/ 4193201 w 6837827"/>
              <a:gd name="connsiteY762" fmla="*/ 616176 h 1153348"/>
              <a:gd name="connsiteX763" fmla="*/ 4196981 w 6837827"/>
              <a:gd name="connsiteY763" fmla="*/ 646415 h 1153348"/>
              <a:gd name="connsiteX764" fmla="*/ 4204121 w 6837827"/>
              <a:gd name="connsiteY764" fmla="*/ 677074 h 1153348"/>
              <a:gd name="connsiteX765" fmla="*/ 4222180 w 6837827"/>
              <a:gd name="connsiteY765" fmla="*/ 691353 h 1153348"/>
              <a:gd name="connsiteX766" fmla="*/ 4245699 w 6837827"/>
              <a:gd name="connsiteY766" fmla="*/ 690093 h 1153348"/>
              <a:gd name="connsiteX767" fmla="*/ 4266278 w 6837827"/>
              <a:gd name="connsiteY767" fmla="*/ 677493 h 1153348"/>
              <a:gd name="connsiteX768" fmla="*/ 4287698 w 6837827"/>
              <a:gd name="connsiteY768" fmla="*/ 651875 h 1153348"/>
              <a:gd name="connsiteX769" fmla="*/ 4308276 w 6837827"/>
              <a:gd name="connsiteY769" fmla="*/ 618276 h 1153348"/>
              <a:gd name="connsiteX770" fmla="*/ 4326336 w 6837827"/>
              <a:gd name="connsiteY770" fmla="*/ 581738 h 1153348"/>
              <a:gd name="connsiteX771" fmla="*/ 4339775 w 6837827"/>
              <a:gd name="connsiteY771" fmla="*/ 548559 h 1153348"/>
              <a:gd name="connsiteX772" fmla="*/ 4346915 w 6837827"/>
              <a:gd name="connsiteY772" fmla="*/ 523780 h 1153348"/>
              <a:gd name="connsiteX773" fmla="*/ 4354895 w 6837827"/>
              <a:gd name="connsiteY773" fmla="*/ 495641 h 1153348"/>
              <a:gd name="connsiteX774" fmla="*/ 4367914 w 6837827"/>
              <a:gd name="connsiteY774" fmla="*/ 466662 h 1153348"/>
              <a:gd name="connsiteX775" fmla="*/ 4382193 w 6837827"/>
              <a:gd name="connsiteY775" fmla="*/ 438104 h 1153348"/>
              <a:gd name="connsiteX776" fmla="*/ 4393953 w 6837827"/>
              <a:gd name="connsiteY776" fmla="*/ 410805 h 1153348"/>
              <a:gd name="connsiteX777" fmla="*/ 4401932 w 6837827"/>
              <a:gd name="connsiteY777" fmla="*/ 394846 h 1153348"/>
              <a:gd name="connsiteX778" fmla="*/ 4412852 w 6837827"/>
              <a:gd name="connsiteY778" fmla="*/ 380146 h 1153348"/>
              <a:gd name="connsiteX779" fmla="*/ 4423351 w 6837827"/>
              <a:gd name="connsiteY779" fmla="*/ 365027 h 1153348"/>
              <a:gd name="connsiteX780" fmla="*/ 4430491 w 6837827"/>
              <a:gd name="connsiteY780" fmla="*/ 349067 h 1153348"/>
              <a:gd name="connsiteX781" fmla="*/ 4433431 w 6837827"/>
              <a:gd name="connsiteY781" fmla="*/ 322189 h 1153348"/>
              <a:gd name="connsiteX782" fmla="*/ 4427131 w 6837827"/>
              <a:gd name="connsiteY782" fmla="*/ 297410 h 1153348"/>
              <a:gd name="connsiteX783" fmla="*/ 4410332 w 6837827"/>
              <a:gd name="connsiteY783" fmla="*/ 279770 h 1153348"/>
              <a:gd name="connsiteX784" fmla="*/ 4382193 w 6837827"/>
              <a:gd name="connsiteY784" fmla="*/ 275151 h 1153348"/>
              <a:gd name="connsiteX785" fmla="*/ 4367914 w 6837827"/>
              <a:gd name="connsiteY785" fmla="*/ 280610 h 1153348"/>
              <a:gd name="connsiteX786" fmla="*/ 4357834 w 6837827"/>
              <a:gd name="connsiteY786" fmla="*/ 291530 h 1153348"/>
              <a:gd name="connsiteX787" fmla="*/ 4350695 w 6837827"/>
              <a:gd name="connsiteY787" fmla="*/ 305809 h 1153348"/>
              <a:gd name="connsiteX788" fmla="*/ 4345235 w 6837827"/>
              <a:gd name="connsiteY788" fmla="*/ 320929 h 1153348"/>
              <a:gd name="connsiteX789" fmla="*/ 4326756 w 6837827"/>
              <a:gd name="connsiteY789" fmla="*/ 390226 h 1153348"/>
              <a:gd name="connsiteX790" fmla="*/ 4304497 w 6837827"/>
              <a:gd name="connsiteY790" fmla="*/ 459523 h 1153348"/>
              <a:gd name="connsiteX791" fmla="*/ 4295677 w 6837827"/>
              <a:gd name="connsiteY791" fmla="*/ 480522 h 1153348"/>
              <a:gd name="connsiteX792" fmla="*/ 4768156 w 6837827"/>
              <a:gd name="connsiteY792" fmla="*/ 305809 h 1153348"/>
              <a:gd name="connsiteX793" fmla="*/ 4781596 w 6837827"/>
              <a:gd name="connsiteY793" fmla="*/ 296570 h 1153348"/>
              <a:gd name="connsiteX794" fmla="*/ 4790836 w 6837827"/>
              <a:gd name="connsiteY794" fmla="*/ 283970 h 1153348"/>
              <a:gd name="connsiteX795" fmla="*/ 4793355 w 6837827"/>
              <a:gd name="connsiteY795" fmla="*/ 268011 h 1153348"/>
              <a:gd name="connsiteX796" fmla="*/ 4787056 w 6837827"/>
              <a:gd name="connsiteY796" fmla="*/ 249532 h 1153348"/>
              <a:gd name="connsiteX797" fmla="*/ 4774877 w 6837827"/>
              <a:gd name="connsiteY797" fmla="*/ 242812 h 1153348"/>
              <a:gd name="connsiteX798" fmla="*/ 4758917 w 6837827"/>
              <a:gd name="connsiteY798" fmla="*/ 243652 h 1153348"/>
              <a:gd name="connsiteX799" fmla="*/ 4740858 w 6837827"/>
              <a:gd name="connsiteY799" fmla="*/ 247852 h 1153348"/>
              <a:gd name="connsiteX800" fmla="*/ 4696340 w 6837827"/>
              <a:gd name="connsiteY800" fmla="*/ 257511 h 1153348"/>
              <a:gd name="connsiteX801" fmla="*/ 4650142 w 6837827"/>
              <a:gd name="connsiteY801" fmla="*/ 267171 h 1153348"/>
              <a:gd name="connsiteX802" fmla="*/ 4632083 w 6837827"/>
              <a:gd name="connsiteY802" fmla="*/ 269271 h 1153348"/>
              <a:gd name="connsiteX803" fmla="*/ 4616543 w 6837827"/>
              <a:gd name="connsiteY803" fmla="*/ 266751 h 1153348"/>
              <a:gd name="connsiteX804" fmla="*/ 4601424 w 6837827"/>
              <a:gd name="connsiteY804" fmla="*/ 265071 h 1153348"/>
              <a:gd name="connsiteX805" fmla="*/ 4585044 w 6837827"/>
              <a:gd name="connsiteY805" fmla="*/ 269691 h 1153348"/>
              <a:gd name="connsiteX806" fmla="*/ 4573285 w 6837827"/>
              <a:gd name="connsiteY806" fmla="*/ 290270 h 1153348"/>
              <a:gd name="connsiteX807" fmla="*/ 4568245 w 6837827"/>
              <a:gd name="connsiteY807" fmla="*/ 314209 h 1153348"/>
              <a:gd name="connsiteX808" fmla="*/ 4564886 w 6837827"/>
              <a:gd name="connsiteY808" fmla="*/ 339408 h 1153348"/>
              <a:gd name="connsiteX809" fmla="*/ 4558586 w 6837827"/>
              <a:gd name="connsiteY809" fmla="*/ 363767 h 1153348"/>
              <a:gd name="connsiteX810" fmla="*/ 4552706 w 6837827"/>
              <a:gd name="connsiteY810" fmla="*/ 388966 h 1153348"/>
              <a:gd name="connsiteX811" fmla="*/ 4548506 w 6837827"/>
              <a:gd name="connsiteY811" fmla="*/ 428024 h 1153348"/>
              <a:gd name="connsiteX812" fmla="*/ 4546406 w 6837827"/>
              <a:gd name="connsiteY812" fmla="*/ 472962 h 1153348"/>
              <a:gd name="connsiteX813" fmla="*/ 4545986 w 6837827"/>
              <a:gd name="connsiteY813" fmla="*/ 517060 h 1153348"/>
              <a:gd name="connsiteX814" fmla="*/ 4546826 w 6837827"/>
              <a:gd name="connsiteY814" fmla="*/ 553179 h 1153348"/>
              <a:gd name="connsiteX815" fmla="*/ 4549346 w 6837827"/>
              <a:gd name="connsiteY815" fmla="*/ 573338 h 1153348"/>
              <a:gd name="connsiteX816" fmla="*/ 4573285 w 6837827"/>
              <a:gd name="connsiteY816" fmla="*/ 614076 h 1153348"/>
              <a:gd name="connsiteX817" fmla="*/ 4611084 w 6837827"/>
              <a:gd name="connsiteY817" fmla="*/ 629616 h 1153348"/>
              <a:gd name="connsiteX818" fmla="*/ 4656021 w 6837827"/>
              <a:gd name="connsiteY818" fmla="*/ 625416 h 1153348"/>
              <a:gd name="connsiteX819" fmla="*/ 4701380 w 6837827"/>
              <a:gd name="connsiteY819" fmla="*/ 607777 h 1153348"/>
              <a:gd name="connsiteX820" fmla="*/ 4740858 w 6837827"/>
              <a:gd name="connsiteY820" fmla="*/ 582578 h 1153348"/>
              <a:gd name="connsiteX821" fmla="*/ 4768156 w 6837827"/>
              <a:gd name="connsiteY821" fmla="*/ 555699 h 1153348"/>
              <a:gd name="connsiteX822" fmla="*/ 4777396 w 6837827"/>
              <a:gd name="connsiteY822" fmla="*/ 545619 h 1153348"/>
              <a:gd name="connsiteX823" fmla="*/ 4785376 w 6837827"/>
              <a:gd name="connsiteY823" fmla="*/ 535540 h 1153348"/>
              <a:gd name="connsiteX824" fmla="*/ 4789156 w 6837827"/>
              <a:gd name="connsiteY824" fmla="*/ 523360 h 1153348"/>
              <a:gd name="connsiteX825" fmla="*/ 4786636 w 6837827"/>
              <a:gd name="connsiteY825" fmla="*/ 505721 h 1153348"/>
              <a:gd name="connsiteX826" fmla="*/ 4755137 w 6837827"/>
              <a:gd name="connsiteY826" fmla="*/ 485982 h 1153348"/>
              <a:gd name="connsiteX827" fmla="*/ 4728258 w 6837827"/>
              <a:gd name="connsiteY827" fmla="*/ 509501 h 1153348"/>
              <a:gd name="connsiteX828" fmla="*/ 4697600 w 6837827"/>
              <a:gd name="connsiteY828" fmla="*/ 535959 h 1153348"/>
              <a:gd name="connsiteX829" fmla="*/ 4663581 w 6837827"/>
              <a:gd name="connsiteY829" fmla="*/ 553599 h 1153348"/>
              <a:gd name="connsiteX830" fmla="*/ 4626203 w 6837827"/>
              <a:gd name="connsiteY830" fmla="*/ 550239 h 1153348"/>
              <a:gd name="connsiteX831" fmla="*/ 4616963 w 6837827"/>
              <a:gd name="connsiteY831" fmla="*/ 538479 h 1153348"/>
              <a:gd name="connsiteX832" fmla="*/ 4613184 w 6837827"/>
              <a:gd name="connsiteY832" fmla="*/ 517900 h 1153348"/>
              <a:gd name="connsiteX833" fmla="*/ 4613184 w 6837827"/>
              <a:gd name="connsiteY833" fmla="*/ 495641 h 1153348"/>
              <a:gd name="connsiteX834" fmla="*/ 4616123 w 6837827"/>
              <a:gd name="connsiteY834" fmla="*/ 479682 h 1153348"/>
              <a:gd name="connsiteX835" fmla="*/ 4627883 w 6837827"/>
              <a:gd name="connsiteY835" fmla="*/ 470442 h 1153348"/>
              <a:gd name="connsiteX836" fmla="*/ 4648882 w 6837827"/>
              <a:gd name="connsiteY836" fmla="*/ 464983 h 1153348"/>
              <a:gd name="connsiteX837" fmla="*/ 4671561 w 6837827"/>
              <a:gd name="connsiteY837" fmla="*/ 461203 h 1153348"/>
              <a:gd name="connsiteX838" fmla="*/ 4689200 w 6837827"/>
              <a:gd name="connsiteY838" fmla="*/ 458683 h 1153348"/>
              <a:gd name="connsiteX839" fmla="*/ 4704739 w 6837827"/>
              <a:gd name="connsiteY839" fmla="*/ 455323 h 1153348"/>
              <a:gd name="connsiteX840" fmla="*/ 4717339 w 6837827"/>
              <a:gd name="connsiteY840" fmla="*/ 449023 h 1153348"/>
              <a:gd name="connsiteX841" fmla="*/ 4725318 w 6837827"/>
              <a:gd name="connsiteY841" fmla="*/ 438104 h 1153348"/>
              <a:gd name="connsiteX842" fmla="*/ 4726579 w 6837827"/>
              <a:gd name="connsiteY842" fmla="*/ 420464 h 1153348"/>
              <a:gd name="connsiteX843" fmla="*/ 4722379 w 6837827"/>
              <a:gd name="connsiteY843" fmla="*/ 405345 h 1153348"/>
              <a:gd name="connsiteX844" fmla="*/ 4712719 w 6837827"/>
              <a:gd name="connsiteY844" fmla="*/ 395265 h 1153348"/>
              <a:gd name="connsiteX845" fmla="*/ 4687100 w 6837827"/>
              <a:gd name="connsiteY845" fmla="*/ 391486 h 1153348"/>
              <a:gd name="connsiteX846" fmla="*/ 4658961 w 6837827"/>
              <a:gd name="connsiteY846" fmla="*/ 395686 h 1153348"/>
              <a:gd name="connsiteX847" fmla="*/ 4646782 w 6837827"/>
              <a:gd name="connsiteY847" fmla="*/ 397786 h 1153348"/>
              <a:gd name="connsiteX848" fmla="*/ 4632922 w 6837827"/>
              <a:gd name="connsiteY848" fmla="*/ 396946 h 1153348"/>
              <a:gd name="connsiteX849" fmla="*/ 4625363 w 6837827"/>
              <a:gd name="connsiteY849" fmla="*/ 386446 h 1153348"/>
              <a:gd name="connsiteX850" fmla="*/ 4631242 w 6837827"/>
              <a:gd name="connsiteY850" fmla="*/ 358307 h 1153348"/>
              <a:gd name="connsiteX851" fmla="*/ 4653922 w 6837827"/>
              <a:gd name="connsiteY851" fmla="*/ 331848 h 1153348"/>
              <a:gd name="connsiteX852" fmla="*/ 4685420 w 6837827"/>
              <a:gd name="connsiteY852" fmla="*/ 325129 h 1153348"/>
              <a:gd name="connsiteX853" fmla="*/ 4720279 w 6837827"/>
              <a:gd name="connsiteY853" fmla="*/ 323029 h 1153348"/>
              <a:gd name="connsiteX854" fmla="*/ 4752617 w 6837827"/>
              <a:gd name="connsiteY854" fmla="*/ 310009 h 1153348"/>
              <a:gd name="connsiteX855" fmla="*/ 4768156 w 6837827"/>
              <a:gd name="connsiteY855" fmla="*/ 305809 h 1153348"/>
              <a:gd name="connsiteX856" fmla="*/ 4989067 w 6837827"/>
              <a:gd name="connsiteY856" fmla="*/ 488502 h 1153348"/>
              <a:gd name="connsiteX857" fmla="*/ 5000407 w 6837827"/>
              <a:gd name="connsiteY857" fmla="*/ 491861 h 1153348"/>
              <a:gd name="connsiteX858" fmla="*/ 5031066 w 6837827"/>
              <a:gd name="connsiteY858" fmla="*/ 503201 h 1153348"/>
              <a:gd name="connsiteX859" fmla="*/ 5059204 w 6837827"/>
              <a:gd name="connsiteY859" fmla="*/ 521260 h 1153348"/>
              <a:gd name="connsiteX860" fmla="*/ 5081883 w 6837827"/>
              <a:gd name="connsiteY860" fmla="*/ 540579 h 1153348"/>
              <a:gd name="connsiteX861" fmla="*/ 5108342 w 6837827"/>
              <a:gd name="connsiteY861" fmla="*/ 557379 h 1153348"/>
              <a:gd name="connsiteX862" fmla="*/ 5137741 w 6837827"/>
              <a:gd name="connsiteY862" fmla="*/ 568298 h 1153348"/>
              <a:gd name="connsiteX863" fmla="*/ 5169239 w 6837827"/>
              <a:gd name="connsiteY863" fmla="*/ 570398 h 1153348"/>
              <a:gd name="connsiteX864" fmla="*/ 5195278 w 6837827"/>
              <a:gd name="connsiteY864" fmla="*/ 561998 h 1153348"/>
              <a:gd name="connsiteX865" fmla="*/ 5211658 w 6837827"/>
              <a:gd name="connsiteY865" fmla="*/ 547299 h 1153348"/>
              <a:gd name="connsiteX866" fmla="*/ 5215017 w 6837827"/>
              <a:gd name="connsiteY866" fmla="*/ 530080 h 1153348"/>
              <a:gd name="connsiteX867" fmla="*/ 5206618 w 6837827"/>
              <a:gd name="connsiteY867" fmla="*/ 513700 h 1153348"/>
              <a:gd name="connsiteX868" fmla="*/ 5188138 w 6837827"/>
              <a:gd name="connsiteY868" fmla="*/ 501101 h 1153348"/>
              <a:gd name="connsiteX869" fmla="*/ 5177639 w 6837827"/>
              <a:gd name="connsiteY869" fmla="*/ 500261 h 1153348"/>
              <a:gd name="connsiteX870" fmla="*/ 5167560 w 6837827"/>
              <a:gd name="connsiteY870" fmla="*/ 497321 h 1153348"/>
              <a:gd name="connsiteX871" fmla="*/ 5139001 w 6837827"/>
              <a:gd name="connsiteY871" fmla="*/ 478002 h 1153348"/>
              <a:gd name="connsiteX872" fmla="*/ 5108762 w 6837827"/>
              <a:gd name="connsiteY872" fmla="*/ 461203 h 1153348"/>
              <a:gd name="connsiteX873" fmla="*/ 5077683 w 6837827"/>
              <a:gd name="connsiteY873" fmla="*/ 445243 h 1153348"/>
              <a:gd name="connsiteX874" fmla="*/ 5048285 w 6837827"/>
              <a:gd name="connsiteY874" fmla="*/ 427184 h 1153348"/>
              <a:gd name="connsiteX875" fmla="*/ 5080623 w 6837827"/>
              <a:gd name="connsiteY875" fmla="*/ 413745 h 1153348"/>
              <a:gd name="connsiteX876" fmla="*/ 5104982 w 6837827"/>
              <a:gd name="connsiteY876" fmla="*/ 381406 h 1153348"/>
              <a:gd name="connsiteX877" fmla="*/ 5120102 w 6837827"/>
              <a:gd name="connsiteY877" fmla="*/ 337308 h 1153348"/>
              <a:gd name="connsiteX878" fmla="*/ 5125981 w 6837827"/>
              <a:gd name="connsiteY878" fmla="*/ 289430 h 1153348"/>
              <a:gd name="connsiteX879" fmla="*/ 5121362 w 6837827"/>
              <a:gd name="connsiteY879" fmla="*/ 244912 h 1153348"/>
              <a:gd name="connsiteX880" fmla="*/ 5104562 w 6837827"/>
              <a:gd name="connsiteY880" fmla="*/ 211313 h 1153348"/>
              <a:gd name="connsiteX881" fmla="*/ 5075164 w 6837827"/>
              <a:gd name="connsiteY881" fmla="*/ 196194 h 1153348"/>
              <a:gd name="connsiteX882" fmla="*/ 5032325 w 6837827"/>
              <a:gd name="connsiteY882" fmla="*/ 207534 h 1153348"/>
              <a:gd name="connsiteX883" fmla="*/ 5021826 w 6837827"/>
              <a:gd name="connsiteY883" fmla="*/ 211313 h 1153348"/>
              <a:gd name="connsiteX884" fmla="*/ 5010486 w 6837827"/>
              <a:gd name="connsiteY884" fmla="*/ 222233 h 1153348"/>
              <a:gd name="connsiteX885" fmla="*/ 4999987 w 6837827"/>
              <a:gd name="connsiteY885" fmla="*/ 235672 h 1153348"/>
              <a:gd name="connsiteX886" fmla="*/ 4990747 w 6837827"/>
              <a:gd name="connsiteY886" fmla="*/ 246592 h 1153348"/>
              <a:gd name="connsiteX887" fmla="*/ 4980668 w 6837827"/>
              <a:gd name="connsiteY887" fmla="*/ 252892 h 1153348"/>
              <a:gd name="connsiteX888" fmla="*/ 4970588 w 6837827"/>
              <a:gd name="connsiteY888" fmla="*/ 257511 h 1153348"/>
              <a:gd name="connsiteX889" fmla="*/ 4962188 w 6837827"/>
              <a:gd name="connsiteY889" fmla="*/ 263391 h 1153348"/>
              <a:gd name="connsiteX890" fmla="*/ 4957569 w 6837827"/>
              <a:gd name="connsiteY890" fmla="*/ 273891 h 1153348"/>
              <a:gd name="connsiteX891" fmla="*/ 4949589 w 6837827"/>
              <a:gd name="connsiteY891" fmla="*/ 307489 h 1153348"/>
              <a:gd name="connsiteX892" fmla="*/ 4939089 w 6837827"/>
              <a:gd name="connsiteY892" fmla="*/ 338988 h 1153348"/>
              <a:gd name="connsiteX893" fmla="*/ 4927750 w 6837827"/>
              <a:gd name="connsiteY893" fmla="*/ 370067 h 1153348"/>
              <a:gd name="connsiteX894" fmla="*/ 4917250 w 6837827"/>
              <a:gd name="connsiteY894" fmla="*/ 403245 h 1153348"/>
              <a:gd name="connsiteX895" fmla="*/ 4907591 w 6837827"/>
              <a:gd name="connsiteY895" fmla="*/ 445243 h 1153348"/>
              <a:gd name="connsiteX896" fmla="*/ 4899191 w 6837827"/>
              <a:gd name="connsiteY896" fmla="*/ 486402 h 1153348"/>
              <a:gd name="connsiteX897" fmla="*/ 4892891 w 6837827"/>
              <a:gd name="connsiteY897" fmla="*/ 509921 h 1153348"/>
              <a:gd name="connsiteX898" fmla="*/ 4883651 w 6837827"/>
              <a:gd name="connsiteY898" fmla="*/ 548139 h 1153348"/>
              <a:gd name="connsiteX899" fmla="*/ 4875672 w 6837827"/>
              <a:gd name="connsiteY899" fmla="*/ 592237 h 1153348"/>
              <a:gd name="connsiteX900" fmla="*/ 4874412 w 6837827"/>
              <a:gd name="connsiteY900" fmla="*/ 633395 h 1153348"/>
              <a:gd name="connsiteX901" fmla="*/ 4883651 w 6837827"/>
              <a:gd name="connsiteY901" fmla="*/ 662794 h 1153348"/>
              <a:gd name="connsiteX902" fmla="*/ 4908011 w 6837827"/>
              <a:gd name="connsiteY902" fmla="*/ 672454 h 1153348"/>
              <a:gd name="connsiteX903" fmla="*/ 4928170 w 6837827"/>
              <a:gd name="connsiteY903" fmla="*/ 663634 h 1153348"/>
              <a:gd name="connsiteX904" fmla="*/ 4939509 w 6837827"/>
              <a:gd name="connsiteY904" fmla="*/ 645575 h 1153348"/>
              <a:gd name="connsiteX905" fmla="*/ 4944549 w 6837827"/>
              <a:gd name="connsiteY905" fmla="*/ 622056 h 1153348"/>
              <a:gd name="connsiteX906" fmla="*/ 4945389 w 6837827"/>
              <a:gd name="connsiteY906" fmla="*/ 597697 h 1153348"/>
              <a:gd name="connsiteX907" fmla="*/ 4948749 w 6837827"/>
              <a:gd name="connsiteY907" fmla="*/ 571658 h 1153348"/>
              <a:gd name="connsiteX908" fmla="*/ 4957569 w 6837827"/>
              <a:gd name="connsiteY908" fmla="*/ 539320 h 1153348"/>
              <a:gd name="connsiteX909" fmla="*/ 4968908 w 6837827"/>
              <a:gd name="connsiteY909" fmla="*/ 506561 h 1153348"/>
              <a:gd name="connsiteX910" fmla="*/ 4980668 w 6837827"/>
              <a:gd name="connsiteY910" fmla="*/ 479682 h 1153348"/>
              <a:gd name="connsiteX911" fmla="*/ 4989067 w 6837827"/>
              <a:gd name="connsiteY911" fmla="*/ 488502 h 1153348"/>
              <a:gd name="connsiteX912" fmla="*/ 5020986 w 6837827"/>
              <a:gd name="connsiteY912" fmla="*/ 380146 h 1153348"/>
              <a:gd name="connsiteX913" fmla="*/ 5013006 w 6837827"/>
              <a:gd name="connsiteY913" fmla="*/ 390226 h 1153348"/>
              <a:gd name="connsiteX914" fmla="*/ 5004606 w 6837827"/>
              <a:gd name="connsiteY914" fmla="*/ 395686 h 1153348"/>
              <a:gd name="connsiteX915" fmla="*/ 4997887 w 6837827"/>
              <a:gd name="connsiteY915" fmla="*/ 394426 h 1153348"/>
              <a:gd name="connsiteX916" fmla="*/ 4994947 w 6837827"/>
              <a:gd name="connsiteY916" fmla="*/ 377206 h 1153348"/>
              <a:gd name="connsiteX917" fmla="*/ 5004187 w 6837827"/>
              <a:gd name="connsiteY917" fmla="*/ 353687 h 1153348"/>
              <a:gd name="connsiteX918" fmla="*/ 5018886 w 6837827"/>
              <a:gd name="connsiteY918" fmla="*/ 331428 h 1153348"/>
              <a:gd name="connsiteX919" fmla="*/ 5032745 w 6837827"/>
              <a:gd name="connsiteY919" fmla="*/ 317149 h 1153348"/>
              <a:gd name="connsiteX920" fmla="*/ 5033585 w 6837827"/>
              <a:gd name="connsiteY920" fmla="*/ 343188 h 1153348"/>
              <a:gd name="connsiteX921" fmla="*/ 5027705 w 6837827"/>
              <a:gd name="connsiteY921" fmla="*/ 368387 h 1153348"/>
              <a:gd name="connsiteX922" fmla="*/ 5020986 w 6837827"/>
              <a:gd name="connsiteY922" fmla="*/ 380146 h 1153348"/>
              <a:gd name="connsiteX923" fmla="*/ 5336392 w 6837827"/>
              <a:gd name="connsiteY923" fmla="*/ 237352 h 1153348"/>
              <a:gd name="connsiteX924" fmla="*/ 5333872 w 6837827"/>
              <a:gd name="connsiteY924" fmla="*/ 285230 h 1153348"/>
              <a:gd name="connsiteX925" fmla="*/ 5349831 w 6837827"/>
              <a:gd name="connsiteY925" fmla="*/ 336048 h 1153348"/>
              <a:gd name="connsiteX926" fmla="*/ 5369991 w 6837827"/>
              <a:gd name="connsiteY926" fmla="*/ 395265 h 1153348"/>
              <a:gd name="connsiteX927" fmla="*/ 5374191 w 6837827"/>
              <a:gd name="connsiteY927" fmla="*/ 408285 h 1153348"/>
              <a:gd name="connsiteX928" fmla="*/ 5380490 w 6837827"/>
              <a:gd name="connsiteY928" fmla="*/ 428024 h 1153348"/>
              <a:gd name="connsiteX929" fmla="*/ 5386370 w 6837827"/>
              <a:gd name="connsiteY929" fmla="*/ 451543 h 1153348"/>
              <a:gd name="connsiteX930" fmla="*/ 5389310 w 6837827"/>
              <a:gd name="connsiteY930" fmla="*/ 474642 h 1153348"/>
              <a:gd name="connsiteX931" fmla="*/ 5386790 w 6837827"/>
              <a:gd name="connsiteY931" fmla="*/ 493121 h 1153348"/>
              <a:gd name="connsiteX932" fmla="*/ 5376291 w 6837827"/>
              <a:gd name="connsiteY932" fmla="*/ 503621 h 1153348"/>
              <a:gd name="connsiteX933" fmla="*/ 5366631 w 6837827"/>
              <a:gd name="connsiteY933" fmla="*/ 503621 h 1153348"/>
              <a:gd name="connsiteX934" fmla="*/ 5358231 w 6837827"/>
              <a:gd name="connsiteY934" fmla="*/ 498161 h 1153348"/>
              <a:gd name="connsiteX935" fmla="*/ 5351092 w 6837827"/>
              <a:gd name="connsiteY935" fmla="*/ 490182 h 1153348"/>
              <a:gd name="connsiteX936" fmla="*/ 5344792 w 6837827"/>
              <a:gd name="connsiteY936" fmla="*/ 483042 h 1153348"/>
              <a:gd name="connsiteX937" fmla="*/ 5326732 w 6837827"/>
              <a:gd name="connsiteY937" fmla="*/ 473382 h 1153348"/>
              <a:gd name="connsiteX938" fmla="*/ 5310773 w 6837827"/>
              <a:gd name="connsiteY938" fmla="*/ 480102 h 1153348"/>
              <a:gd name="connsiteX939" fmla="*/ 5299854 w 6837827"/>
              <a:gd name="connsiteY939" fmla="*/ 497321 h 1153348"/>
              <a:gd name="connsiteX940" fmla="*/ 5296914 w 6837827"/>
              <a:gd name="connsiteY940" fmla="*/ 517900 h 1153348"/>
              <a:gd name="connsiteX941" fmla="*/ 5303214 w 6837827"/>
              <a:gd name="connsiteY941" fmla="*/ 541419 h 1153348"/>
              <a:gd name="connsiteX942" fmla="*/ 5316653 w 6837827"/>
              <a:gd name="connsiteY942" fmla="*/ 563678 h 1153348"/>
              <a:gd name="connsiteX943" fmla="*/ 5336392 w 6837827"/>
              <a:gd name="connsiteY943" fmla="*/ 579638 h 1153348"/>
              <a:gd name="connsiteX944" fmla="*/ 5361171 w 6837827"/>
              <a:gd name="connsiteY944" fmla="*/ 585518 h 1153348"/>
              <a:gd name="connsiteX945" fmla="*/ 5416609 w 6837827"/>
              <a:gd name="connsiteY945" fmla="*/ 569558 h 1153348"/>
              <a:gd name="connsiteX946" fmla="*/ 5448527 w 6837827"/>
              <a:gd name="connsiteY946" fmla="*/ 532180 h 1153348"/>
              <a:gd name="connsiteX947" fmla="*/ 5460287 w 6837827"/>
              <a:gd name="connsiteY947" fmla="*/ 484302 h 1153348"/>
              <a:gd name="connsiteX948" fmla="*/ 5455247 w 6837827"/>
              <a:gd name="connsiteY948" fmla="*/ 435584 h 1153348"/>
              <a:gd name="connsiteX949" fmla="*/ 5442648 w 6837827"/>
              <a:gd name="connsiteY949" fmla="*/ 400305 h 1153348"/>
              <a:gd name="connsiteX950" fmla="*/ 5426688 w 6837827"/>
              <a:gd name="connsiteY950" fmla="*/ 364607 h 1153348"/>
              <a:gd name="connsiteX951" fmla="*/ 5412829 w 6837827"/>
              <a:gd name="connsiteY951" fmla="*/ 328489 h 1153348"/>
              <a:gd name="connsiteX952" fmla="*/ 5406109 w 6837827"/>
              <a:gd name="connsiteY952" fmla="*/ 292370 h 1153348"/>
              <a:gd name="connsiteX953" fmla="*/ 5409889 w 6837827"/>
              <a:gd name="connsiteY953" fmla="*/ 254152 h 1153348"/>
              <a:gd name="connsiteX954" fmla="*/ 5424588 w 6837827"/>
              <a:gd name="connsiteY954" fmla="*/ 236512 h 1153348"/>
              <a:gd name="connsiteX955" fmla="*/ 5449787 w 6837827"/>
              <a:gd name="connsiteY955" fmla="*/ 227693 h 1153348"/>
              <a:gd name="connsiteX956" fmla="*/ 5485066 w 6837827"/>
              <a:gd name="connsiteY956" fmla="*/ 217193 h 1153348"/>
              <a:gd name="connsiteX957" fmla="*/ 5500605 w 6837827"/>
              <a:gd name="connsiteY957" fmla="*/ 209214 h 1153348"/>
              <a:gd name="connsiteX958" fmla="*/ 5509845 w 6837827"/>
              <a:gd name="connsiteY958" fmla="*/ 194094 h 1153348"/>
              <a:gd name="connsiteX959" fmla="*/ 5504805 w 6837827"/>
              <a:gd name="connsiteY959" fmla="*/ 176875 h 1153348"/>
              <a:gd name="connsiteX960" fmla="*/ 5496405 w 6837827"/>
              <a:gd name="connsiteY960" fmla="*/ 164275 h 1153348"/>
              <a:gd name="connsiteX961" fmla="*/ 5482966 w 6837827"/>
              <a:gd name="connsiteY961" fmla="*/ 156716 h 1153348"/>
              <a:gd name="connsiteX962" fmla="*/ 5462387 w 6837827"/>
              <a:gd name="connsiteY962" fmla="*/ 155876 h 1153348"/>
              <a:gd name="connsiteX963" fmla="*/ 5438868 w 6837827"/>
              <a:gd name="connsiteY963" fmla="*/ 159236 h 1153348"/>
              <a:gd name="connsiteX964" fmla="*/ 5413669 w 6837827"/>
              <a:gd name="connsiteY964" fmla="*/ 165536 h 1153348"/>
              <a:gd name="connsiteX965" fmla="*/ 5390150 w 6837827"/>
              <a:gd name="connsiteY965" fmla="*/ 175195 h 1153348"/>
              <a:gd name="connsiteX966" fmla="*/ 5370831 w 6837827"/>
              <a:gd name="connsiteY966" fmla="*/ 189054 h 1153348"/>
              <a:gd name="connsiteX967" fmla="*/ 5336392 w 6837827"/>
              <a:gd name="connsiteY967" fmla="*/ 237352 h 1153348"/>
              <a:gd name="connsiteX968" fmla="*/ 5839951 w 6837827"/>
              <a:gd name="connsiteY968" fmla="*/ 119757 h 1153348"/>
              <a:gd name="connsiteX969" fmla="*/ 5827771 w 6837827"/>
              <a:gd name="connsiteY969" fmla="*/ 118498 h 1153348"/>
              <a:gd name="connsiteX970" fmla="*/ 5814332 w 6837827"/>
              <a:gd name="connsiteY970" fmla="*/ 119757 h 1153348"/>
              <a:gd name="connsiteX971" fmla="*/ 5802152 w 6837827"/>
              <a:gd name="connsiteY971" fmla="*/ 121437 h 1153348"/>
              <a:gd name="connsiteX972" fmla="*/ 5743775 w 6837827"/>
              <a:gd name="connsiteY972" fmla="*/ 129417 h 1153348"/>
              <a:gd name="connsiteX973" fmla="*/ 5684977 w 6837827"/>
              <a:gd name="connsiteY973" fmla="*/ 142856 h 1153348"/>
              <a:gd name="connsiteX974" fmla="*/ 5629540 w 6837827"/>
              <a:gd name="connsiteY974" fmla="*/ 160916 h 1153348"/>
              <a:gd name="connsiteX975" fmla="*/ 5580822 w 6837827"/>
              <a:gd name="connsiteY975" fmla="*/ 183175 h 1153348"/>
              <a:gd name="connsiteX976" fmla="*/ 5572842 w 6837827"/>
              <a:gd name="connsiteY976" fmla="*/ 188635 h 1153348"/>
              <a:gd name="connsiteX977" fmla="*/ 5571162 w 6837827"/>
              <a:gd name="connsiteY977" fmla="*/ 198294 h 1153348"/>
              <a:gd name="connsiteX978" fmla="*/ 5572842 w 6837827"/>
              <a:gd name="connsiteY978" fmla="*/ 209634 h 1153348"/>
              <a:gd name="connsiteX979" fmla="*/ 5576622 w 6837827"/>
              <a:gd name="connsiteY979" fmla="*/ 221393 h 1153348"/>
              <a:gd name="connsiteX980" fmla="*/ 5582921 w 6837827"/>
              <a:gd name="connsiteY980" fmla="*/ 231473 h 1153348"/>
              <a:gd name="connsiteX981" fmla="*/ 5592161 w 6837827"/>
              <a:gd name="connsiteY981" fmla="*/ 237352 h 1153348"/>
              <a:gd name="connsiteX982" fmla="*/ 5614420 w 6837827"/>
              <a:gd name="connsiteY982" fmla="*/ 239032 h 1153348"/>
              <a:gd name="connsiteX983" fmla="*/ 5638359 w 6837827"/>
              <a:gd name="connsiteY983" fmla="*/ 233572 h 1153348"/>
              <a:gd name="connsiteX984" fmla="*/ 5661878 w 6837827"/>
              <a:gd name="connsiteY984" fmla="*/ 224333 h 1153348"/>
              <a:gd name="connsiteX985" fmla="*/ 5682038 w 6837827"/>
              <a:gd name="connsiteY985" fmla="*/ 215093 h 1153348"/>
              <a:gd name="connsiteX986" fmla="*/ 5677417 w 6837827"/>
              <a:gd name="connsiteY986" fmla="*/ 286910 h 1153348"/>
              <a:gd name="connsiteX987" fmla="*/ 5670278 w 6837827"/>
              <a:gd name="connsiteY987" fmla="*/ 354527 h 1153348"/>
              <a:gd name="connsiteX988" fmla="*/ 5664818 w 6837827"/>
              <a:gd name="connsiteY988" fmla="*/ 421725 h 1153348"/>
              <a:gd name="connsiteX989" fmla="*/ 5665238 w 6837827"/>
              <a:gd name="connsiteY989" fmla="*/ 492281 h 1153348"/>
              <a:gd name="connsiteX990" fmla="*/ 5670278 w 6837827"/>
              <a:gd name="connsiteY990" fmla="*/ 512021 h 1153348"/>
              <a:gd name="connsiteX991" fmla="*/ 5680777 w 6837827"/>
              <a:gd name="connsiteY991" fmla="*/ 529240 h 1153348"/>
              <a:gd name="connsiteX992" fmla="*/ 5696317 w 6837827"/>
              <a:gd name="connsiteY992" fmla="*/ 538899 h 1153348"/>
              <a:gd name="connsiteX993" fmla="*/ 5715636 w 6837827"/>
              <a:gd name="connsiteY993" fmla="*/ 536799 h 1153348"/>
              <a:gd name="connsiteX994" fmla="*/ 5739575 w 6837827"/>
              <a:gd name="connsiteY994" fmla="*/ 518740 h 1153348"/>
              <a:gd name="connsiteX995" fmla="*/ 5744614 w 6837827"/>
              <a:gd name="connsiteY995" fmla="*/ 497321 h 1153348"/>
              <a:gd name="connsiteX996" fmla="*/ 5739995 w 6837827"/>
              <a:gd name="connsiteY996" fmla="*/ 472542 h 1153348"/>
              <a:gd name="connsiteX997" fmla="*/ 5734115 w 6837827"/>
              <a:gd name="connsiteY997" fmla="*/ 444403 h 1153348"/>
              <a:gd name="connsiteX998" fmla="*/ 5733275 w 6837827"/>
              <a:gd name="connsiteY998" fmla="*/ 386866 h 1153348"/>
              <a:gd name="connsiteX999" fmla="*/ 5738735 w 6837827"/>
              <a:gd name="connsiteY999" fmla="*/ 328908 h 1153348"/>
              <a:gd name="connsiteX1000" fmla="*/ 5745455 w 6837827"/>
              <a:gd name="connsiteY1000" fmla="*/ 270111 h 1153348"/>
              <a:gd name="connsiteX1001" fmla="*/ 5748394 w 6837827"/>
              <a:gd name="connsiteY1001" fmla="*/ 210054 h 1153348"/>
              <a:gd name="connsiteX1002" fmla="*/ 5750494 w 6837827"/>
              <a:gd name="connsiteY1002" fmla="*/ 199134 h 1153348"/>
              <a:gd name="connsiteX1003" fmla="*/ 5756374 w 6837827"/>
              <a:gd name="connsiteY1003" fmla="*/ 192834 h 1153348"/>
              <a:gd name="connsiteX1004" fmla="*/ 5765194 w 6837827"/>
              <a:gd name="connsiteY1004" fmla="*/ 189054 h 1153348"/>
              <a:gd name="connsiteX1005" fmla="*/ 5774853 w 6837827"/>
              <a:gd name="connsiteY1005" fmla="*/ 186535 h 1153348"/>
              <a:gd name="connsiteX1006" fmla="*/ 5809712 w 6837827"/>
              <a:gd name="connsiteY1006" fmla="*/ 181075 h 1153348"/>
              <a:gd name="connsiteX1007" fmla="*/ 5844151 w 6837827"/>
              <a:gd name="connsiteY1007" fmla="*/ 174775 h 1153348"/>
              <a:gd name="connsiteX1008" fmla="*/ 5855070 w 6837827"/>
              <a:gd name="connsiteY1008" fmla="*/ 165955 h 1153348"/>
              <a:gd name="connsiteX1009" fmla="*/ 5855910 w 6837827"/>
              <a:gd name="connsiteY1009" fmla="*/ 153356 h 1153348"/>
              <a:gd name="connsiteX1010" fmla="*/ 5852130 w 6837827"/>
              <a:gd name="connsiteY1010" fmla="*/ 138657 h 1153348"/>
              <a:gd name="connsiteX1011" fmla="*/ 5849610 w 6837827"/>
              <a:gd name="connsiteY1011" fmla="*/ 123537 h 1153348"/>
              <a:gd name="connsiteX1012" fmla="*/ 5839951 w 6837827"/>
              <a:gd name="connsiteY1012" fmla="*/ 119757 h 1153348"/>
              <a:gd name="connsiteX1013" fmla="*/ 6155357 w 6837827"/>
              <a:gd name="connsiteY1013" fmla="*/ 108418 h 1153348"/>
              <a:gd name="connsiteX1014" fmla="*/ 6139818 w 6837827"/>
              <a:gd name="connsiteY1014" fmla="*/ 104638 h 1153348"/>
              <a:gd name="connsiteX1015" fmla="*/ 6114199 w 6837827"/>
              <a:gd name="connsiteY1015" fmla="*/ 92459 h 1153348"/>
              <a:gd name="connsiteX1016" fmla="*/ 6087320 w 6837827"/>
              <a:gd name="connsiteY1016" fmla="*/ 86159 h 1153348"/>
              <a:gd name="connsiteX1017" fmla="*/ 6054141 w 6837827"/>
              <a:gd name="connsiteY1017" fmla="*/ 100018 h 1153348"/>
              <a:gd name="connsiteX1018" fmla="*/ 6029782 w 6837827"/>
              <a:gd name="connsiteY1018" fmla="*/ 127737 h 1153348"/>
              <a:gd name="connsiteX1019" fmla="*/ 6010883 w 6837827"/>
              <a:gd name="connsiteY1019" fmla="*/ 161756 h 1153348"/>
              <a:gd name="connsiteX1020" fmla="*/ 5994084 w 6837827"/>
              <a:gd name="connsiteY1020" fmla="*/ 195774 h 1153348"/>
              <a:gd name="connsiteX1021" fmla="*/ 5975185 w 6837827"/>
              <a:gd name="connsiteY1021" fmla="*/ 238612 h 1153348"/>
              <a:gd name="connsiteX1022" fmla="*/ 5956285 w 6837827"/>
              <a:gd name="connsiteY1022" fmla="*/ 291950 h 1153348"/>
              <a:gd name="connsiteX1023" fmla="*/ 5942846 w 6837827"/>
              <a:gd name="connsiteY1023" fmla="*/ 349488 h 1153348"/>
              <a:gd name="connsiteX1024" fmla="*/ 5940326 w 6837827"/>
              <a:gd name="connsiteY1024" fmla="*/ 405345 h 1153348"/>
              <a:gd name="connsiteX1025" fmla="*/ 5954605 w 6837827"/>
              <a:gd name="connsiteY1025" fmla="*/ 453643 h 1153348"/>
              <a:gd name="connsiteX1026" fmla="*/ 5991144 w 6837827"/>
              <a:gd name="connsiteY1026" fmla="*/ 488502 h 1153348"/>
              <a:gd name="connsiteX1027" fmla="*/ 6011723 w 6837827"/>
              <a:gd name="connsiteY1027" fmla="*/ 495641 h 1153348"/>
              <a:gd name="connsiteX1028" fmla="*/ 6031882 w 6837827"/>
              <a:gd name="connsiteY1028" fmla="*/ 496481 h 1153348"/>
              <a:gd name="connsiteX1029" fmla="*/ 6072621 w 6837827"/>
              <a:gd name="connsiteY1029" fmla="*/ 482202 h 1153348"/>
              <a:gd name="connsiteX1030" fmla="*/ 6113359 w 6837827"/>
              <a:gd name="connsiteY1030" fmla="*/ 452803 h 1153348"/>
              <a:gd name="connsiteX1031" fmla="*/ 6148637 w 6837827"/>
              <a:gd name="connsiteY1031" fmla="*/ 416685 h 1153348"/>
              <a:gd name="connsiteX1032" fmla="*/ 6172576 w 6837827"/>
              <a:gd name="connsiteY1032" fmla="*/ 382666 h 1153348"/>
              <a:gd name="connsiteX1033" fmla="*/ 6186016 w 6837827"/>
              <a:gd name="connsiteY1033" fmla="*/ 361667 h 1153348"/>
              <a:gd name="connsiteX1034" fmla="*/ 6197775 w 6837827"/>
              <a:gd name="connsiteY1034" fmla="*/ 342348 h 1153348"/>
              <a:gd name="connsiteX1035" fmla="*/ 6207855 w 6837827"/>
              <a:gd name="connsiteY1035" fmla="*/ 319249 h 1153348"/>
              <a:gd name="connsiteX1036" fmla="*/ 6214574 w 6837827"/>
              <a:gd name="connsiteY1036" fmla="*/ 288170 h 1153348"/>
              <a:gd name="connsiteX1037" fmla="*/ 6218774 w 6837827"/>
              <a:gd name="connsiteY1037" fmla="*/ 270531 h 1153348"/>
              <a:gd name="connsiteX1038" fmla="*/ 6222134 w 6837827"/>
              <a:gd name="connsiteY1038" fmla="*/ 255832 h 1153348"/>
              <a:gd name="connsiteX1039" fmla="*/ 6224654 w 6837827"/>
              <a:gd name="connsiteY1039" fmla="*/ 216773 h 1153348"/>
              <a:gd name="connsiteX1040" fmla="*/ 6220454 w 6837827"/>
              <a:gd name="connsiteY1040" fmla="*/ 171415 h 1153348"/>
              <a:gd name="connsiteX1041" fmla="*/ 6204075 w 6837827"/>
              <a:gd name="connsiteY1041" fmla="*/ 131937 h 1153348"/>
              <a:gd name="connsiteX1042" fmla="*/ 6172156 w 6837827"/>
              <a:gd name="connsiteY1042" fmla="*/ 110098 h 1153348"/>
              <a:gd name="connsiteX1043" fmla="*/ 6155357 w 6837827"/>
              <a:gd name="connsiteY1043" fmla="*/ 108418 h 1153348"/>
              <a:gd name="connsiteX1044" fmla="*/ 6134778 w 6837827"/>
              <a:gd name="connsiteY1044" fmla="*/ 332268 h 1153348"/>
              <a:gd name="connsiteX1045" fmla="*/ 6107059 w 6837827"/>
              <a:gd name="connsiteY1045" fmla="*/ 372166 h 1153348"/>
              <a:gd name="connsiteX1046" fmla="*/ 6073041 w 6837827"/>
              <a:gd name="connsiteY1046" fmla="*/ 405765 h 1153348"/>
              <a:gd name="connsiteX1047" fmla="*/ 6036502 w 6837827"/>
              <a:gd name="connsiteY1047" fmla="*/ 427604 h 1153348"/>
              <a:gd name="connsiteX1048" fmla="*/ 6019703 w 6837827"/>
              <a:gd name="connsiteY1048" fmla="*/ 427604 h 1153348"/>
              <a:gd name="connsiteX1049" fmla="*/ 6008783 w 6837827"/>
              <a:gd name="connsiteY1049" fmla="*/ 415845 h 1153348"/>
              <a:gd name="connsiteX1050" fmla="*/ 6002903 w 6837827"/>
              <a:gd name="connsiteY1050" fmla="*/ 396946 h 1153348"/>
              <a:gd name="connsiteX1051" fmla="*/ 6001224 w 6837827"/>
              <a:gd name="connsiteY1051" fmla="*/ 375106 h 1153348"/>
              <a:gd name="connsiteX1052" fmla="*/ 6002903 w 6837827"/>
              <a:gd name="connsiteY1052" fmla="*/ 354527 h 1153348"/>
              <a:gd name="connsiteX1053" fmla="*/ 6007524 w 6837827"/>
              <a:gd name="connsiteY1053" fmla="*/ 340248 h 1153348"/>
              <a:gd name="connsiteX1054" fmla="*/ 6018863 w 6837827"/>
              <a:gd name="connsiteY1054" fmla="*/ 307069 h 1153348"/>
              <a:gd name="connsiteX1055" fmla="*/ 6026002 w 6837827"/>
              <a:gd name="connsiteY1055" fmla="*/ 272211 h 1153348"/>
              <a:gd name="connsiteX1056" fmla="*/ 6050362 w 6837827"/>
              <a:gd name="connsiteY1056" fmla="*/ 219713 h 1153348"/>
              <a:gd name="connsiteX1057" fmla="*/ 6091520 w 6837827"/>
              <a:gd name="connsiteY1057" fmla="*/ 177715 h 1153348"/>
              <a:gd name="connsiteX1058" fmla="*/ 6105799 w 6837827"/>
              <a:gd name="connsiteY1058" fmla="*/ 174355 h 1153348"/>
              <a:gd name="connsiteX1059" fmla="*/ 6122598 w 6837827"/>
              <a:gd name="connsiteY1059" fmla="*/ 174355 h 1153348"/>
              <a:gd name="connsiteX1060" fmla="*/ 6141918 w 6837827"/>
              <a:gd name="connsiteY1060" fmla="*/ 179395 h 1153348"/>
              <a:gd name="connsiteX1061" fmla="*/ 6153257 w 6837827"/>
              <a:gd name="connsiteY1061" fmla="*/ 196614 h 1153348"/>
              <a:gd name="connsiteX1062" fmla="*/ 6158297 w 6837827"/>
              <a:gd name="connsiteY1062" fmla="*/ 220973 h 1153348"/>
              <a:gd name="connsiteX1063" fmla="*/ 6158717 w 6837827"/>
              <a:gd name="connsiteY1063" fmla="*/ 247852 h 1153348"/>
              <a:gd name="connsiteX1064" fmla="*/ 6156197 w 6837827"/>
              <a:gd name="connsiteY1064" fmla="*/ 272631 h 1153348"/>
              <a:gd name="connsiteX1065" fmla="*/ 6152837 w 6837827"/>
              <a:gd name="connsiteY1065" fmla="*/ 290270 h 1153348"/>
              <a:gd name="connsiteX1066" fmla="*/ 6134778 w 6837827"/>
              <a:gd name="connsiteY1066" fmla="*/ 332268 h 1153348"/>
              <a:gd name="connsiteX1067" fmla="*/ 6433385 w 6837827"/>
              <a:gd name="connsiteY1067" fmla="*/ 242392 h 1153348"/>
              <a:gd name="connsiteX1068" fmla="*/ 6451864 w 6837827"/>
              <a:gd name="connsiteY1068" fmla="*/ 243652 h 1153348"/>
              <a:gd name="connsiteX1069" fmla="*/ 6469083 w 6837827"/>
              <a:gd name="connsiteY1069" fmla="*/ 239032 h 1153348"/>
              <a:gd name="connsiteX1070" fmla="*/ 6483363 w 6837827"/>
              <a:gd name="connsiteY1070" fmla="*/ 227273 h 1153348"/>
              <a:gd name="connsiteX1071" fmla="*/ 6495542 w 6837827"/>
              <a:gd name="connsiteY1071" fmla="*/ 211313 h 1153348"/>
              <a:gd name="connsiteX1072" fmla="*/ 6505622 w 6837827"/>
              <a:gd name="connsiteY1072" fmla="*/ 195774 h 1153348"/>
              <a:gd name="connsiteX1073" fmla="*/ 6518641 w 6837827"/>
              <a:gd name="connsiteY1073" fmla="*/ 169735 h 1153348"/>
              <a:gd name="connsiteX1074" fmla="*/ 6532921 w 6837827"/>
              <a:gd name="connsiteY1074" fmla="*/ 143696 h 1153348"/>
              <a:gd name="connsiteX1075" fmla="*/ 6543420 w 6837827"/>
              <a:gd name="connsiteY1075" fmla="*/ 116817 h 1153348"/>
              <a:gd name="connsiteX1076" fmla="*/ 6545940 w 6837827"/>
              <a:gd name="connsiteY1076" fmla="*/ 87839 h 1153348"/>
              <a:gd name="connsiteX1077" fmla="*/ 6530401 w 6837827"/>
              <a:gd name="connsiteY1077" fmla="*/ 50460 h 1153348"/>
              <a:gd name="connsiteX1078" fmla="*/ 6497642 w 6837827"/>
              <a:gd name="connsiteY1078" fmla="*/ 22322 h 1153348"/>
              <a:gd name="connsiteX1079" fmla="*/ 6456484 w 6837827"/>
              <a:gd name="connsiteY1079" fmla="*/ 6362 h 1153348"/>
              <a:gd name="connsiteX1080" fmla="*/ 6414486 w 6837827"/>
              <a:gd name="connsiteY1080" fmla="*/ 5522 h 1153348"/>
              <a:gd name="connsiteX1081" fmla="*/ 6399366 w 6837827"/>
              <a:gd name="connsiteY1081" fmla="*/ 63 h 1153348"/>
              <a:gd name="connsiteX1082" fmla="*/ 6378367 w 6837827"/>
              <a:gd name="connsiteY1082" fmla="*/ 5522 h 1153348"/>
              <a:gd name="connsiteX1083" fmla="*/ 6359468 w 6837827"/>
              <a:gd name="connsiteY1083" fmla="*/ 17702 h 1153348"/>
              <a:gd name="connsiteX1084" fmla="*/ 6350229 w 6837827"/>
              <a:gd name="connsiteY1084" fmla="*/ 32401 h 1153348"/>
              <a:gd name="connsiteX1085" fmla="*/ 6351909 w 6837827"/>
              <a:gd name="connsiteY1085" fmla="*/ 51300 h 1153348"/>
              <a:gd name="connsiteX1086" fmla="*/ 6355268 w 6837827"/>
              <a:gd name="connsiteY1086" fmla="*/ 70200 h 1153348"/>
              <a:gd name="connsiteX1087" fmla="*/ 6351909 w 6837827"/>
              <a:gd name="connsiteY1087" fmla="*/ 106318 h 1153348"/>
              <a:gd name="connsiteX1088" fmla="*/ 6347289 w 6837827"/>
              <a:gd name="connsiteY1088" fmla="*/ 142437 h 1153348"/>
              <a:gd name="connsiteX1089" fmla="*/ 6344349 w 6837827"/>
              <a:gd name="connsiteY1089" fmla="*/ 205854 h 1153348"/>
              <a:gd name="connsiteX1090" fmla="*/ 6338469 w 6837827"/>
              <a:gd name="connsiteY1090" fmla="*/ 271371 h 1153348"/>
              <a:gd name="connsiteX1091" fmla="*/ 6334269 w 6837827"/>
              <a:gd name="connsiteY1091" fmla="*/ 337308 h 1153348"/>
              <a:gd name="connsiteX1092" fmla="*/ 6336369 w 6837827"/>
              <a:gd name="connsiteY1092" fmla="*/ 401565 h 1153348"/>
              <a:gd name="connsiteX1093" fmla="*/ 6337629 w 6837827"/>
              <a:gd name="connsiteY1093" fmla="*/ 431804 h 1153348"/>
              <a:gd name="connsiteX1094" fmla="*/ 6336789 w 6837827"/>
              <a:gd name="connsiteY1094" fmla="*/ 453223 h 1153348"/>
              <a:gd name="connsiteX1095" fmla="*/ 6335949 w 6837827"/>
              <a:gd name="connsiteY1095" fmla="*/ 470442 h 1153348"/>
              <a:gd name="connsiteX1096" fmla="*/ 6337629 w 6837827"/>
              <a:gd name="connsiteY1096" fmla="*/ 487662 h 1153348"/>
              <a:gd name="connsiteX1097" fmla="*/ 6348969 w 6837827"/>
              <a:gd name="connsiteY1097" fmla="*/ 502781 h 1153348"/>
              <a:gd name="connsiteX1098" fmla="*/ 6369128 w 6837827"/>
              <a:gd name="connsiteY1098" fmla="*/ 509501 h 1153348"/>
              <a:gd name="connsiteX1099" fmla="*/ 6390547 w 6837827"/>
              <a:gd name="connsiteY1099" fmla="*/ 507401 h 1153348"/>
              <a:gd name="connsiteX1100" fmla="*/ 6406926 w 6837827"/>
              <a:gd name="connsiteY1100" fmla="*/ 496481 h 1153348"/>
              <a:gd name="connsiteX1101" fmla="*/ 6411126 w 6837827"/>
              <a:gd name="connsiteY1101" fmla="*/ 482202 h 1153348"/>
              <a:gd name="connsiteX1102" fmla="*/ 6412806 w 6837827"/>
              <a:gd name="connsiteY1102" fmla="*/ 458683 h 1153348"/>
              <a:gd name="connsiteX1103" fmla="*/ 6412806 w 6837827"/>
              <a:gd name="connsiteY1103" fmla="*/ 434324 h 1153348"/>
              <a:gd name="connsiteX1104" fmla="*/ 6411966 w 6837827"/>
              <a:gd name="connsiteY1104" fmla="*/ 417105 h 1153348"/>
              <a:gd name="connsiteX1105" fmla="*/ 6409866 w 6837827"/>
              <a:gd name="connsiteY1105" fmla="*/ 396946 h 1153348"/>
              <a:gd name="connsiteX1106" fmla="*/ 6408606 w 6837827"/>
              <a:gd name="connsiteY1106" fmla="*/ 380986 h 1153348"/>
              <a:gd name="connsiteX1107" fmla="*/ 6408186 w 6837827"/>
              <a:gd name="connsiteY1107" fmla="*/ 363767 h 1153348"/>
              <a:gd name="connsiteX1108" fmla="*/ 6409446 w 6837827"/>
              <a:gd name="connsiteY1108" fmla="*/ 340248 h 1153348"/>
              <a:gd name="connsiteX1109" fmla="*/ 6409446 w 6837827"/>
              <a:gd name="connsiteY1109" fmla="*/ 319669 h 1153348"/>
              <a:gd name="connsiteX1110" fmla="*/ 6408606 w 6837827"/>
              <a:gd name="connsiteY1110" fmla="*/ 297830 h 1153348"/>
              <a:gd name="connsiteX1111" fmla="*/ 6409866 w 6837827"/>
              <a:gd name="connsiteY1111" fmla="*/ 271371 h 1153348"/>
              <a:gd name="connsiteX1112" fmla="*/ 6417006 w 6837827"/>
              <a:gd name="connsiteY1112" fmla="*/ 236512 h 1153348"/>
              <a:gd name="connsiteX1113" fmla="*/ 6433385 w 6837827"/>
              <a:gd name="connsiteY1113" fmla="*/ 242392 h 1153348"/>
              <a:gd name="connsiteX1114" fmla="*/ 6423726 w 6837827"/>
              <a:gd name="connsiteY1114" fmla="*/ 98758 h 1153348"/>
              <a:gd name="connsiteX1115" fmla="*/ 6434225 w 6837827"/>
              <a:gd name="connsiteY1115" fmla="*/ 92459 h 1153348"/>
              <a:gd name="connsiteX1116" fmla="*/ 6446405 w 6837827"/>
              <a:gd name="connsiteY1116" fmla="*/ 94978 h 1153348"/>
              <a:gd name="connsiteX1117" fmla="*/ 6453964 w 6837827"/>
              <a:gd name="connsiteY1117" fmla="*/ 105478 h 1153348"/>
              <a:gd name="connsiteX1118" fmla="*/ 6454804 w 6837827"/>
              <a:gd name="connsiteY1118" fmla="*/ 118077 h 1153348"/>
              <a:gd name="connsiteX1119" fmla="*/ 6450605 w 6837827"/>
              <a:gd name="connsiteY1119" fmla="*/ 130677 h 1153348"/>
              <a:gd name="connsiteX1120" fmla="*/ 6442625 w 6837827"/>
              <a:gd name="connsiteY1120" fmla="*/ 141176 h 1153348"/>
              <a:gd name="connsiteX1121" fmla="*/ 6438425 w 6837827"/>
              <a:gd name="connsiteY1121" fmla="*/ 144116 h 1153348"/>
              <a:gd name="connsiteX1122" fmla="*/ 6430865 w 6837827"/>
              <a:gd name="connsiteY1122" fmla="*/ 148736 h 1153348"/>
              <a:gd name="connsiteX1123" fmla="*/ 6423726 w 6837827"/>
              <a:gd name="connsiteY1123" fmla="*/ 152096 h 1153348"/>
              <a:gd name="connsiteX1124" fmla="*/ 6419946 w 6837827"/>
              <a:gd name="connsiteY1124" fmla="*/ 151676 h 1153348"/>
              <a:gd name="connsiteX1125" fmla="*/ 6418266 w 6837827"/>
              <a:gd name="connsiteY1125" fmla="*/ 139497 h 1153348"/>
              <a:gd name="connsiteX1126" fmla="*/ 6418266 w 6837827"/>
              <a:gd name="connsiteY1126" fmla="*/ 123537 h 1153348"/>
              <a:gd name="connsiteX1127" fmla="*/ 6419946 w 6837827"/>
              <a:gd name="connsiteY1127" fmla="*/ 107998 h 1153348"/>
              <a:gd name="connsiteX1128" fmla="*/ 6423306 w 6837827"/>
              <a:gd name="connsiteY1128" fmla="*/ 96239 h 1153348"/>
              <a:gd name="connsiteX1129" fmla="*/ 6423726 w 6837827"/>
              <a:gd name="connsiteY1129" fmla="*/ 98758 h 1153348"/>
              <a:gd name="connsiteX1130" fmla="*/ 6664795 w 6837827"/>
              <a:gd name="connsiteY1130" fmla="*/ 97498 h 1153348"/>
              <a:gd name="connsiteX1131" fmla="*/ 6662275 w 6837827"/>
              <a:gd name="connsiteY1131" fmla="*/ 145376 h 1153348"/>
              <a:gd name="connsiteX1132" fmla="*/ 6678235 w 6837827"/>
              <a:gd name="connsiteY1132" fmla="*/ 196194 h 1153348"/>
              <a:gd name="connsiteX1133" fmla="*/ 6698394 w 6837827"/>
              <a:gd name="connsiteY1133" fmla="*/ 254992 h 1153348"/>
              <a:gd name="connsiteX1134" fmla="*/ 6702594 w 6837827"/>
              <a:gd name="connsiteY1134" fmla="*/ 268011 h 1153348"/>
              <a:gd name="connsiteX1135" fmla="*/ 6708893 w 6837827"/>
              <a:gd name="connsiteY1135" fmla="*/ 287750 h 1153348"/>
              <a:gd name="connsiteX1136" fmla="*/ 6714773 w 6837827"/>
              <a:gd name="connsiteY1136" fmla="*/ 311269 h 1153348"/>
              <a:gd name="connsiteX1137" fmla="*/ 6717713 w 6837827"/>
              <a:gd name="connsiteY1137" fmla="*/ 333948 h 1153348"/>
              <a:gd name="connsiteX1138" fmla="*/ 6715193 w 6837827"/>
              <a:gd name="connsiteY1138" fmla="*/ 352428 h 1153348"/>
              <a:gd name="connsiteX1139" fmla="*/ 6704694 w 6837827"/>
              <a:gd name="connsiteY1139" fmla="*/ 362927 h 1153348"/>
              <a:gd name="connsiteX1140" fmla="*/ 6695034 w 6837827"/>
              <a:gd name="connsiteY1140" fmla="*/ 362927 h 1153348"/>
              <a:gd name="connsiteX1141" fmla="*/ 6686634 w 6837827"/>
              <a:gd name="connsiteY1141" fmla="*/ 357467 h 1153348"/>
              <a:gd name="connsiteX1142" fmla="*/ 6679074 w 6837827"/>
              <a:gd name="connsiteY1142" fmla="*/ 349488 h 1153348"/>
              <a:gd name="connsiteX1143" fmla="*/ 6672775 w 6837827"/>
              <a:gd name="connsiteY1143" fmla="*/ 342348 h 1153348"/>
              <a:gd name="connsiteX1144" fmla="*/ 6654716 w 6837827"/>
              <a:gd name="connsiteY1144" fmla="*/ 332688 h 1153348"/>
              <a:gd name="connsiteX1145" fmla="*/ 6638756 w 6837827"/>
              <a:gd name="connsiteY1145" fmla="*/ 339408 h 1153348"/>
              <a:gd name="connsiteX1146" fmla="*/ 6627837 w 6837827"/>
              <a:gd name="connsiteY1146" fmla="*/ 356627 h 1153348"/>
              <a:gd name="connsiteX1147" fmla="*/ 6624897 w 6837827"/>
              <a:gd name="connsiteY1147" fmla="*/ 377626 h 1153348"/>
              <a:gd name="connsiteX1148" fmla="*/ 6631197 w 6837827"/>
              <a:gd name="connsiteY1148" fmla="*/ 401145 h 1153348"/>
              <a:gd name="connsiteX1149" fmla="*/ 6644636 w 6837827"/>
              <a:gd name="connsiteY1149" fmla="*/ 423404 h 1153348"/>
              <a:gd name="connsiteX1150" fmla="*/ 6664375 w 6837827"/>
              <a:gd name="connsiteY1150" fmla="*/ 439784 h 1153348"/>
              <a:gd name="connsiteX1151" fmla="*/ 6689154 w 6837827"/>
              <a:gd name="connsiteY1151" fmla="*/ 445663 h 1153348"/>
              <a:gd name="connsiteX1152" fmla="*/ 6744592 w 6837827"/>
              <a:gd name="connsiteY1152" fmla="*/ 429284 h 1153348"/>
              <a:gd name="connsiteX1153" fmla="*/ 6776510 w 6837827"/>
              <a:gd name="connsiteY1153" fmla="*/ 391906 h 1153348"/>
              <a:gd name="connsiteX1154" fmla="*/ 6788270 w 6837827"/>
              <a:gd name="connsiteY1154" fmla="*/ 344028 h 1153348"/>
              <a:gd name="connsiteX1155" fmla="*/ 6783230 w 6837827"/>
              <a:gd name="connsiteY1155" fmla="*/ 295310 h 1153348"/>
              <a:gd name="connsiteX1156" fmla="*/ 6770631 w 6837827"/>
              <a:gd name="connsiteY1156" fmla="*/ 260031 h 1153348"/>
              <a:gd name="connsiteX1157" fmla="*/ 6754671 w 6837827"/>
              <a:gd name="connsiteY1157" fmla="*/ 224333 h 1153348"/>
              <a:gd name="connsiteX1158" fmla="*/ 6740812 w 6837827"/>
              <a:gd name="connsiteY1158" fmla="*/ 188214 h 1153348"/>
              <a:gd name="connsiteX1159" fmla="*/ 6734092 w 6837827"/>
              <a:gd name="connsiteY1159" fmla="*/ 152096 h 1153348"/>
              <a:gd name="connsiteX1160" fmla="*/ 6737872 w 6837827"/>
              <a:gd name="connsiteY1160" fmla="*/ 113878 h 1153348"/>
              <a:gd name="connsiteX1161" fmla="*/ 6752571 w 6837827"/>
              <a:gd name="connsiteY1161" fmla="*/ 95818 h 1153348"/>
              <a:gd name="connsiteX1162" fmla="*/ 6777770 w 6837827"/>
              <a:gd name="connsiteY1162" fmla="*/ 86999 h 1153348"/>
              <a:gd name="connsiteX1163" fmla="*/ 6813049 w 6837827"/>
              <a:gd name="connsiteY1163" fmla="*/ 76499 h 1153348"/>
              <a:gd name="connsiteX1164" fmla="*/ 6828588 w 6837827"/>
              <a:gd name="connsiteY1164" fmla="*/ 68520 h 1153348"/>
              <a:gd name="connsiteX1165" fmla="*/ 6837828 w 6837827"/>
              <a:gd name="connsiteY1165" fmla="*/ 53400 h 1153348"/>
              <a:gd name="connsiteX1166" fmla="*/ 6832788 w 6837827"/>
              <a:gd name="connsiteY1166" fmla="*/ 36181 h 1153348"/>
              <a:gd name="connsiteX1167" fmla="*/ 6824808 w 6837827"/>
              <a:gd name="connsiteY1167" fmla="*/ 23162 h 1153348"/>
              <a:gd name="connsiteX1168" fmla="*/ 6811369 w 6837827"/>
              <a:gd name="connsiteY1168" fmla="*/ 15602 h 1153348"/>
              <a:gd name="connsiteX1169" fmla="*/ 6790790 w 6837827"/>
              <a:gd name="connsiteY1169" fmla="*/ 14342 h 1153348"/>
              <a:gd name="connsiteX1170" fmla="*/ 6767271 w 6837827"/>
              <a:gd name="connsiteY1170" fmla="*/ 18122 h 1153348"/>
              <a:gd name="connsiteX1171" fmla="*/ 6742492 w 6837827"/>
              <a:gd name="connsiteY1171" fmla="*/ 24421 h 1153348"/>
              <a:gd name="connsiteX1172" fmla="*/ 6718973 w 6837827"/>
              <a:gd name="connsiteY1172" fmla="*/ 34081 h 1153348"/>
              <a:gd name="connsiteX1173" fmla="*/ 6700073 w 6837827"/>
              <a:gd name="connsiteY1173" fmla="*/ 47941 h 1153348"/>
              <a:gd name="connsiteX1174" fmla="*/ 6664795 w 6837827"/>
              <a:gd name="connsiteY1174" fmla="*/ 97498 h 115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</a:cxnLst>
            <a:rect l="l" t="t" r="r" b="b"/>
            <a:pathLst>
              <a:path w="6837827" h="1153348">
                <a:moveTo>
                  <a:pt x="432263" y="777449"/>
                </a:moveTo>
                <a:cubicBezTo>
                  <a:pt x="425963" y="774089"/>
                  <a:pt x="419243" y="772409"/>
                  <a:pt x="411264" y="771569"/>
                </a:cubicBezTo>
                <a:cubicBezTo>
                  <a:pt x="403284" y="770729"/>
                  <a:pt x="394884" y="770729"/>
                  <a:pt x="386065" y="771569"/>
                </a:cubicBezTo>
                <a:cubicBezTo>
                  <a:pt x="377245" y="772409"/>
                  <a:pt x="368426" y="773669"/>
                  <a:pt x="360026" y="774929"/>
                </a:cubicBezTo>
                <a:cubicBezTo>
                  <a:pt x="351626" y="776189"/>
                  <a:pt x="343647" y="777869"/>
                  <a:pt x="336507" y="779129"/>
                </a:cubicBezTo>
                <a:cubicBezTo>
                  <a:pt x="329367" y="780809"/>
                  <a:pt x="323068" y="781649"/>
                  <a:pt x="318028" y="782069"/>
                </a:cubicBezTo>
                <a:cubicBezTo>
                  <a:pt x="317608" y="776609"/>
                  <a:pt x="318868" y="769470"/>
                  <a:pt x="320548" y="761070"/>
                </a:cubicBezTo>
                <a:cubicBezTo>
                  <a:pt x="322648" y="753090"/>
                  <a:pt x="325167" y="744271"/>
                  <a:pt x="327687" y="734611"/>
                </a:cubicBezTo>
                <a:cubicBezTo>
                  <a:pt x="330207" y="725371"/>
                  <a:pt x="333147" y="715712"/>
                  <a:pt x="335667" y="706472"/>
                </a:cubicBezTo>
                <a:cubicBezTo>
                  <a:pt x="338187" y="697233"/>
                  <a:pt x="340287" y="687993"/>
                  <a:pt x="341127" y="679593"/>
                </a:cubicBezTo>
                <a:cubicBezTo>
                  <a:pt x="342387" y="671194"/>
                  <a:pt x="342387" y="663214"/>
                  <a:pt x="341547" y="656494"/>
                </a:cubicBezTo>
                <a:cubicBezTo>
                  <a:pt x="340707" y="649775"/>
                  <a:pt x="338187" y="644315"/>
                  <a:pt x="333987" y="640955"/>
                </a:cubicBezTo>
                <a:cubicBezTo>
                  <a:pt x="328527" y="636335"/>
                  <a:pt x="321388" y="633815"/>
                  <a:pt x="312988" y="632555"/>
                </a:cubicBezTo>
                <a:cubicBezTo>
                  <a:pt x="304588" y="631295"/>
                  <a:pt x="297029" y="631716"/>
                  <a:pt x="290729" y="633395"/>
                </a:cubicBezTo>
                <a:cubicBezTo>
                  <a:pt x="285269" y="635075"/>
                  <a:pt x="281489" y="638435"/>
                  <a:pt x="278549" y="643055"/>
                </a:cubicBezTo>
                <a:cubicBezTo>
                  <a:pt x="275610" y="647675"/>
                  <a:pt x="273930" y="653135"/>
                  <a:pt x="272250" y="659014"/>
                </a:cubicBezTo>
                <a:cubicBezTo>
                  <a:pt x="270990" y="664894"/>
                  <a:pt x="269730" y="670774"/>
                  <a:pt x="268890" y="676653"/>
                </a:cubicBezTo>
                <a:cubicBezTo>
                  <a:pt x="268050" y="682533"/>
                  <a:pt x="267210" y="687573"/>
                  <a:pt x="265950" y="691773"/>
                </a:cubicBezTo>
                <a:cubicBezTo>
                  <a:pt x="259650" y="711092"/>
                  <a:pt x="254610" y="728731"/>
                  <a:pt x="251251" y="745531"/>
                </a:cubicBezTo>
                <a:cubicBezTo>
                  <a:pt x="247891" y="762330"/>
                  <a:pt x="245371" y="780389"/>
                  <a:pt x="244111" y="800128"/>
                </a:cubicBezTo>
                <a:cubicBezTo>
                  <a:pt x="230251" y="802228"/>
                  <a:pt x="217232" y="805168"/>
                  <a:pt x="205053" y="808948"/>
                </a:cubicBezTo>
                <a:cubicBezTo>
                  <a:pt x="192453" y="812728"/>
                  <a:pt x="179434" y="815668"/>
                  <a:pt x="165994" y="818187"/>
                </a:cubicBezTo>
                <a:cubicBezTo>
                  <a:pt x="165154" y="806848"/>
                  <a:pt x="165994" y="796348"/>
                  <a:pt x="168514" y="786269"/>
                </a:cubicBezTo>
                <a:cubicBezTo>
                  <a:pt x="171034" y="776189"/>
                  <a:pt x="173554" y="766110"/>
                  <a:pt x="176494" y="756030"/>
                </a:cubicBezTo>
                <a:cubicBezTo>
                  <a:pt x="179434" y="745950"/>
                  <a:pt x="181954" y="735871"/>
                  <a:pt x="184053" y="725371"/>
                </a:cubicBezTo>
                <a:cubicBezTo>
                  <a:pt x="186153" y="714872"/>
                  <a:pt x="186573" y="703532"/>
                  <a:pt x="185313" y="691773"/>
                </a:cubicBezTo>
                <a:cubicBezTo>
                  <a:pt x="184473" y="685473"/>
                  <a:pt x="182374" y="679593"/>
                  <a:pt x="179014" y="675394"/>
                </a:cubicBezTo>
                <a:cubicBezTo>
                  <a:pt x="175234" y="670774"/>
                  <a:pt x="171454" y="667834"/>
                  <a:pt x="166414" y="666154"/>
                </a:cubicBezTo>
                <a:cubicBezTo>
                  <a:pt x="161794" y="664474"/>
                  <a:pt x="156755" y="664054"/>
                  <a:pt x="151295" y="664894"/>
                </a:cubicBezTo>
                <a:cubicBezTo>
                  <a:pt x="146255" y="666154"/>
                  <a:pt x="141215" y="669094"/>
                  <a:pt x="137016" y="674134"/>
                </a:cubicBezTo>
                <a:cubicBezTo>
                  <a:pt x="133236" y="678753"/>
                  <a:pt x="130716" y="684213"/>
                  <a:pt x="129036" y="690933"/>
                </a:cubicBezTo>
                <a:cubicBezTo>
                  <a:pt x="127776" y="697652"/>
                  <a:pt x="125676" y="703532"/>
                  <a:pt x="123156" y="708992"/>
                </a:cubicBezTo>
                <a:cubicBezTo>
                  <a:pt x="118116" y="717812"/>
                  <a:pt x="114336" y="727891"/>
                  <a:pt x="112237" y="738391"/>
                </a:cubicBezTo>
                <a:cubicBezTo>
                  <a:pt x="110137" y="749310"/>
                  <a:pt x="108457" y="760230"/>
                  <a:pt x="107197" y="770729"/>
                </a:cubicBezTo>
                <a:cubicBezTo>
                  <a:pt x="105937" y="781649"/>
                  <a:pt x="104677" y="792569"/>
                  <a:pt x="103417" y="803068"/>
                </a:cubicBezTo>
                <a:cubicBezTo>
                  <a:pt x="102157" y="813988"/>
                  <a:pt x="99217" y="823647"/>
                  <a:pt x="95437" y="832467"/>
                </a:cubicBezTo>
                <a:cubicBezTo>
                  <a:pt x="88718" y="833307"/>
                  <a:pt x="81998" y="834567"/>
                  <a:pt x="74858" y="835407"/>
                </a:cubicBezTo>
                <a:cubicBezTo>
                  <a:pt x="68138" y="836247"/>
                  <a:pt x="60999" y="837507"/>
                  <a:pt x="53859" y="838767"/>
                </a:cubicBezTo>
                <a:cubicBezTo>
                  <a:pt x="44619" y="840026"/>
                  <a:pt x="37060" y="842546"/>
                  <a:pt x="32020" y="845906"/>
                </a:cubicBezTo>
                <a:cubicBezTo>
                  <a:pt x="26560" y="849266"/>
                  <a:pt x="23200" y="853466"/>
                  <a:pt x="21100" y="858506"/>
                </a:cubicBezTo>
                <a:cubicBezTo>
                  <a:pt x="19421" y="863545"/>
                  <a:pt x="19001" y="868585"/>
                  <a:pt x="19841" y="874465"/>
                </a:cubicBezTo>
                <a:cubicBezTo>
                  <a:pt x="21100" y="879925"/>
                  <a:pt x="23200" y="885805"/>
                  <a:pt x="26980" y="891684"/>
                </a:cubicBezTo>
                <a:cubicBezTo>
                  <a:pt x="29500" y="896724"/>
                  <a:pt x="33280" y="900084"/>
                  <a:pt x="38320" y="901764"/>
                </a:cubicBezTo>
                <a:cubicBezTo>
                  <a:pt x="43360" y="903864"/>
                  <a:pt x="48399" y="905124"/>
                  <a:pt x="54279" y="905544"/>
                </a:cubicBezTo>
                <a:cubicBezTo>
                  <a:pt x="59739" y="905964"/>
                  <a:pt x="65619" y="905964"/>
                  <a:pt x="71078" y="905544"/>
                </a:cubicBezTo>
                <a:cubicBezTo>
                  <a:pt x="76538" y="905124"/>
                  <a:pt x="81578" y="904284"/>
                  <a:pt x="85358" y="903864"/>
                </a:cubicBezTo>
                <a:cubicBezTo>
                  <a:pt x="81998" y="918983"/>
                  <a:pt x="79058" y="933263"/>
                  <a:pt x="76538" y="947542"/>
                </a:cubicBezTo>
                <a:cubicBezTo>
                  <a:pt x="74018" y="961821"/>
                  <a:pt x="71498" y="976101"/>
                  <a:pt x="69398" y="989960"/>
                </a:cubicBezTo>
                <a:cubicBezTo>
                  <a:pt x="62259" y="992060"/>
                  <a:pt x="55539" y="994160"/>
                  <a:pt x="49659" y="995420"/>
                </a:cubicBezTo>
                <a:cubicBezTo>
                  <a:pt x="43360" y="997100"/>
                  <a:pt x="36640" y="998780"/>
                  <a:pt x="29920" y="1000880"/>
                </a:cubicBezTo>
                <a:cubicBezTo>
                  <a:pt x="24880" y="1002560"/>
                  <a:pt x="20261" y="1004659"/>
                  <a:pt x="16061" y="1007179"/>
                </a:cubicBezTo>
                <a:cubicBezTo>
                  <a:pt x="11861" y="1009699"/>
                  <a:pt x="8081" y="1012639"/>
                  <a:pt x="5141" y="1016419"/>
                </a:cubicBezTo>
                <a:cubicBezTo>
                  <a:pt x="2201" y="1020199"/>
                  <a:pt x="521" y="1023979"/>
                  <a:pt x="101" y="1028598"/>
                </a:cubicBezTo>
                <a:cubicBezTo>
                  <a:pt x="-319" y="1033218"/>
                  <a:pt x="521" y="1038258"/>
                  <a:pt x="3461" y="1043718"/>
                </a:cubicBezTo>
                <a:cubicBezTo>
                  <a:pt x="9761" y="1055057"/>
                  <a:pt x="17741" y="1062197"/>
                  <a:pt x="27820" y="1064717"/>
                </a:cubicBezTo>
                <a:cubicBezTo>
                  <a:pt x="37900" y="1067237"/>
                  <a:pt x="48819" y="1068077"/>
                  <a:pt x="60999" y="1066397"/>
                </a:cubicBezTo>
                <a:cubicBezTo>
                  <a:pt x="59319" y="1076056"/>
                  <a:pt x="57639" y="1086976"/>
                  <a:pt x="56379" y="1099155"/>
                </a:cubicBezTo>
                <a:cubicBezTo>
                  <a:pt x="55119" y="1111335"/>
                  <a:pt x="55959" y="1121834"/>
                  <a:pt x="58479" y="1131074"/>
                </a:cubicBezTo>
                <a:cubicBezTo>
                  <a:pt x="63939" y="1141574"/>
                  <a:pt x="71078" y="1148293"/>
                  <a:pt x="79898" y="1151653"/>
                </a:cubicBezTo>
                <a:cubicBezTo>
                  <a:pt x="88718" y="1155013"/>
                  <a:pt x="97957" y="1153333"/>
                  <a:pt x="107617" y="1147033"/>
                </a:cubicBezTo>
                <a:cubicBezTo>
                  <a:pt x="113497" y="1143253"/>
                  <a:pt x="117696" y="1137374"/>
                  <a:pt x="119796" y="1130234"/>
                </a:cubicBezTo>
                <a:cubicBezTo>
                  <a:pt x="122316" y="1122675"/>
                  <a:pt x="123996" y="1115115"/>
                  <a:pt x="124836" y="1106715"/>
                </a:cubicBezTo>
                <a:cubicBezTo>
                  <a:pt x="125676" y="1098315"/>
                  <a:pt x="126096" y="1089916"/>
                  <a:pt x="126096" y="1081516"/>
                </a:cubicBezTo>
                <a:cubicBezTo>
                  <a:pt x="126096" y="1073116"/>
                  <a:pt x="126096" y="1065977"/>
                  <a:pt x="126096" y="1060097"/>
                </a:cubicBezTo>
                <a:cubicBezTo>
                  <a:pt x="139535" y="1056737"/>
                  <a:pt x="152975" y="1053377"/>
                  <a:pt x="166414" y="1049598"/>
                </a:cubicBezTo>
                <a:cubicBezTo>
                  <a:pt x="179854" y="1045818"/>
                  <a:pt x="193293" y="1042878"/>
                  <a:pt x="207152" y="1041198"/>
                </a:cubicBezTo>
                <a:cubicBezTo>
                  <a:pt x="205893" y="1045818"/>
                  <a:pt x="205473" y="1051277"/>
                  <a:pt x="205473" y="1057157"/>
                </a:cubicBezTo>
                <a:cubicBezTo>
                  <a:pt x="205473" y="1063457"/>
                  <a:pt x="205893" y="1069757"/>
                  <a:pt x="206733" y="1076056"/>
                </a:cubicBezTo>
                <a:cubicBezTo>
                  <a:pt x="207572" y="1082356"/>
                  <a:pt x="208412" y="1089076"/>
                  <a:pt x="209672" y="1095375"/>
                </a:cubicBezTo>
                <a:cubicBezTo>
                  <a:pt x="210512" y="1101675"/>
                  <a:pt x="211352" y="1107135"/>
                  <a:pt x="212612" y="1111755"/>
                </a:cubicBezTo>
                <a:cubicBezTo>
                  <a:pt x="213872" y="1122254"/>
                  <a:pt x="218072" y="1129394"/>
                  <a:pt x="224792" y="1132754"/>
                </a:cubicBezTo>
                <a:cubicBezTo>
                  <a:pt x="231511" y="1136534"/>
                  <a:pt x="238651" y="1137794"/>
                  <a:pt x="246211" y="1136954"/>
                </a:cubicBezTo>
                <a:cubicBezTo>
                  <a:pt x="253771" y="1136114"/>
                  <a:pt x="261330" y="1133594"/>
                  <a:pt x="268050" y="1129814"/>
                </a:cubicBezTo>
                <a:cubicBezTo>
                  <a:pt x="274770" y="1125614"/>
                  <a:pt x="279389" y="1121414"/>
                  <a:pt x="281489" y="1116375"/>
                </a:cubicBezTo>
                <a:cubicBezTo>
                  <a:pt x="284009" y="1109655"/>
                  <a:pt x="284849" y="1102095"/>
                  <a:pt x="284429" y="1094116"/>
                </a:cubicBezTo>
                <a:cubicBezTo>
                  <a:pt x="283589" y="1086136"/>
                  <a:pt x="282749" y="1078156"/>
                  <a:pt x="281069" y="1069757"/>
                </a:cubicBezTo>
                <a:cubicBezTo>
                  <a:pt x="279389" y="1061357"/>
                  <a:pt x="278129" y="1052957"/>
                  <a:pt x="276450" y="1045398"/>
                </a:cubicBezTo>
                <a:cubicBezTo>
                  <a:pt x="275190" y="1037418"/>
                  <a:pt x="274770" y="1030278"/>
                  <a:pt x="274770" y="1023979"/>
                </a:cubicBezTo>
                <a:cubicBezTo>
                  <a:pt x="281069" y="1020199"/>
                  <a:pt x="288209" y="1017679"/>
                  <a:pt x="297029" y="1015999"/>
                </a:cubicBezTo>
                <a:cubicBezTo>
                  <a:pt x="305848" y="1013899"/>
                  <a:pt x="314248" y="1012219"/>
                  <a:pt x="323068" y="1010539"/>
                </a:cubicBezTo>
                <a:cubicBezTo>
                  <a:pt x="331887" y="1008859"/>
                  <a:pt x="340287" y="1006759"/>
                  <a:pt x="348266" y="1004659"/>
                </a:cubicBezTo>
                <a:cubicBezTo>
                  <a:pt x="356246" y="1002560"/>
                  <a:pt x="362546" y="999200"/>
                  <a:pt x="367586" y="994580"/>
                </a:cubicBezTo>
                <a:cubicBezTo>
                  <a:pt x="370526" y="992060"/>
                  <a:pt x="373045" y="988700"/>
                  <a:pt x="375145" y="984080"/>
                </a:cubicBezTo>
                <a:cubicBezTo>
                  <a:pt x="376825" y="979461"/>
                  <a:pt x="378085" y="974841"/>
                  <a:pt x="378085" y="969801"/>
                </a:cubicBezTo>
                <a:cubicBezTo>
                  <a:pt x="378085" y="964761"/>
                  <a:pt x="377665" y="960141"/>
                  <a:pt x="376405" y="955522"/>
                </a:cubicBezTo>
                <a:cubicBezTo>
                  <a:pt x="375145" y="950902"/>
                  <a:pt x="372625" y="947122"/>
                  <a:pt x="369266" y="944182"/>
                </a:cubicBezTo>
                <a:cubicBezTo>
                  <a:pt x="364646" y="939982"/>
                  <a:pt x="358346" y="937042"/>
                  <a:pt x="350786" y="935362"/>
                </a:cubicBezTo>
                <a:cubicBezTo>
                  <a:pt x="343227" y="933682"/>
                  <a:pt x="335667" y="932842"/>
                  <a:pt x="327687" y="932842"/>
                </a:cubicBezTo>
                <a:cubicBezTo>
                  <a:pt x="319708" y="932842"/>
                  <a:pt x="311728" y="933263"/>
                  <a:pt x="304168" y="934522"/>
                </a:cubicBezTo>
                <a:cubicBezTo>
                  <a:pt x="296609" y="935782"/>
                  <a:pt x="290309" y="936622"/>
                  <a:pt x="285269" y="937462"/>
                </a:cubicBezTo>
                <a:cubicBezTo>
                  <a:pt x="286109" y="921503"/>
                  <a:pt x="287789" y="907224"/>
                  <a:pt x="290309" y="895464"/>
                </a:cubicBezTo>
                <a:cubicBezTo>
                  <a:pt x="292829" y="883705"/>
                  <a:pt x="295349" y="871945"/>
                  <a:pt x="298289" y="860186"/>
                </a:cubicBezTo>
                <a:cubicBezTo>
                  <a:pt x="318448" y="855146"/>
                  <a:pt x="338187" y="850526"/>
                  <a:pt x="357506" y="845906"/>
                </a:cubicBezTo>
                <a:cubicBezTo>
                  <a:pt x="376825" y="841286"/>
                  <a:pt x="396984" y="837927"/>
                  <a:pt x="417143" y="835827"/>
                </a:cubicBezTo>
                <a:cubicBezTo>
                  <a:pt x="421763" y="835407"/>
                  <a:pt x="426383" y="833307"/>
                  <a:pt x="430583" y="829947"/>
                </a:cubicBezTo>
                <a:cubicBezTo>
                  <a:pt x="434783" y="826587"/>
                  <a:pt x="438143" y="822807"/>
                  <a:pt x="441082" y="818187"/>
                </a:cubicBezTo>
                <a:cubicBezTo>
                  <a:pt x="444022" y="813568"/>
                  <a:pt x="445702" y="808948"/>
                  <a:pt x="446962" y="804328"/>
                </a:cubicBezTo>
                <a:cubicBezTo>
                  <a:pt x="448222" y="799288"/>
                  <a:pt x="447802" y="795088"/>
                  <a:pt x="445702" y="791309"/>
                </a:cubicBezTo>
                <a:cubicBezTo>
                  <a:pt x="443182" y="785849"/>
                  <a:pt x="438563" y="780809"/>
                  <a:pt x="432263" y="777449"/>
                </a:cubicBezTo>
                <a:moveTo>
                  <a:pt x="142055" y="963081"/>
                </a:moveTo>
                <a:cubicBezTo>
                  <a:pt x="143735" y="951322"/>
                  <a:pt x="145415" y="939142"/>
                  <a:pt x="146675" y="926963"/>
                </a:cubicBezTo>
                <a:cubicBezTo>
                  <a:pt x="147935" y="914783"/>
                  <a:pt x="149615" y="903444"/>
                  <a:pt x="151295" y="893364"/>
                </a:cubicBezTo>
                <a:cubicBezTo>
                  <a:pt x="164314" y="891684"/>
                  <a:pt x="176914" y="889584"/>
                  <a:pt x="189093" y="887905"/>
                </a:cubicBezTo>
                <a:cubicBezTo>
                  <a:pt x="201273" y="885805"/>
                  <a:pt x="213872" y="882865"/>
                  <a:pt x="226052" y="879505"/>
                </a:cubicBezTo>
                <a:cubicBezTo>
                  <a:pt x="223112" y="887905"/>
                  <a:pt x="220592" y="894624"/>
                  <a:pt x="218912" y="900504"/>
                </a:cubicBezTo>
                <a:cubicBezTo>
                  <a:pt x="217232" y="905964"/>
                  <a:pt x="215972" y="911423"/>
                  <a:pt x="215552" y="916043"/>
                </a:cubicBezTo>
                <a:cubicBezTo>
                  <a:pt x="214712" y="920663"/>
                  <a:pt x="214292" y="925703"/>
                  <a:pt x="213872" y="931163"/>
                </a:cubicBezTo>
                <a:cubicBezTo>
                  <a:pt x="213452" y="936202"/>
                  <a:pt x="213032" y="942502"/>
                  <a:pt x="212192" y="949222"/>
                </a:cubicBezTo>
                <a:cubicBezTo>
                  <a:pt x="199173" y="952162"/>
                  <a:pt x="187413" y="955102"/>
                  <a:pt x="175654" y="957202"/>
                </a:cubicBezTo>
                <a:cubicBezTo>
                  <a:pt x="164314" y="959721"/>
                  <a:pt x="152975" y="962241"/>
                  <a:pt x="141635" y="965181"/>
                </a:cubicBezTo>
                <a:cubicBezTo>
                  <a:pt x="142055" y="964761"/>
                  <a:pt x="142055" y="963921"/>
                  <a:pt x="142055" y="963081"/>
                </a:cubicBezTo>
                <a:moveTo>
                  <a:pt x="674172" y="656914"/>
                </a:moveTo>
                <a:cubicBezTo>
                  <a:pt x="673332" y="648515"/>
                  <a:pt x="671233" y="640955"/>
                  <a:pt x="667873" y="634235"/>
                </a:cubicBezTo>
                <a:cubicBezTo>
                  <a:pt x="664513" y="627516"/>
                  <a:pt x="659473" y="621636"/>
                  <a:pt x="653173" y="617016"/>
                </a:cubicBezTo>
                <a:cubicBezTo>
                  <a:pt x="646874" y="612396"/>
                  <a:pt x="639314" y="610716"/>
                  <a:pt x="630914" y="612396"/>
                </a:cubicBezTo>
                <a:cubicBezTo>
                  <a:pt x="619155" y="612816"/>
                  <a:pt x="609915" y="617856"/>
                  <a:pt x="604455" y="626676"/>
                </a:cubicBezTo>
                <a:cubicBezTo>
                  <a:pt x="598576" y="635495"/>
                  <a:pt x="594376" y="646415"/>
                  <a:pt x="591856" y="658594"/>
                </a:cubicBezTo>
                <a:cubicBezTo>
                  <a:pt x="589336" y="670774"/>
                  <a:pt x="587656" y="683373"/>
                  <a:pt x="586396" y="696813"/>
                </a:cubicBezTo>
                <a:cubicBezTo>
                  <a:pt x="585556" y="710252"/>
                  <a:pt x="583456" y="721172"/>
                  <a:pt x="580936" y="730831"/>
                </a:cubicBezTo>
                <a:cubicBezTo>
                  <a:pt x="577157" y="743431"/>
                  <a:pt x="574637" y="758130"/>
                  <a:pt x="572537" y="774509"/>
                </a:cubicBezTo>
                <a:cubicBezTo>
                  <a:pt x="570857" y="790889"/>
                  <a:pt x="569177" y="807688"/>
                  <a:pt x="567077" y="824907"/>
                </a:cubicBezTo>
                <a:cubicBezTo>
                  <a:pt x="565397" y="842126"/>
                  <a:pt x="562877" y="858506"/>
                  <a:pt x="559937" y="874465"/>
                </a:cubicBezTo>
                <a:cubicBezTo>
                  <a:pt x="556997" y="890424"/>
                  <a:pt x="552378" y="904284"/>
                  <a:pt x="546498" y="915623"/>
                </a:cubicBezTo>
                <a:cubicBezTo>
                  <a:pt x="544818" y="918143"/>
                  <a:pt x="543558" y="923183"/>
                  <a:pt x="542298" y="929903"/>
                </a:cubicBezTo>
                <a:cubicBezTo>
                  <a:pt x="541038" y="936622"/>
                  <a:pt x="539778" y="944602"/>
                  <a:pt x="538098" y="953422"/>
                </a:cubicBezTo>
                <a:cubicBezTo>
                  <a:pt x="536838" y="962241"/>
                  <a:pt x="535578" y="971481"/>
                  <a:pt x="534318" y="980720"/>
                </a:cubicBezTo>
                <a:cubicBezTo>
                  <a:pt x="533478" y="990380"/>
                  <a:pt x="532219" y="999200"/>
                  <a:pt x="531379" y="1007179"/>
                </a:cubicBezTo>
                <a:cubicBezTo>
                  <a:pt x="530539" y="1015159"/>
                  <a:pt x="529699" y="1022299"/>
                  <a:pt x="529279" y="1028178"/>
                </a:cubicBezTo>
                <a:cubicBezTo>
                  <a:pt x="528859" y="1034058"/>
                  <a:pt x="528439" y="1037838"/>
                  <a:pt x="528439" y="1039098"/>
                </a:cubicBezTo>
                <a:cubicBezTo>
                  <a:pt x="528019" y="1045818"/>
                  <a:pt x="528859" y="1054217"/>
                  <a:pt x="530959" y="1064297"/>
                </a:cubicBezTo>
                <a:cubicBezTo>
                  <a:pt x="533059" y="1074376"/>
                  <a:pt x="535998" y="1084456"/>
                  <a:pt x="540198" y="1094116"/>
                </a:cubicBezTo>
                <a:cubicBezTo>
                  <a:pt x="544398" y="1103775"/>
                  <a:pt x="549858" y="1111755"/>
                  <a:pt x="556577" y="1118054"/>
                </a:cubicBezTo>
                <a:cubicBezTo>
                  <a:pt x="562877" y="1124354"/>
                  <a:pt x="570437" y="1127294"/>
                  <a:pt x="578837" y="1126454"/>
                </a:cubicBezTo>
                <a:cubicBezTo>
                  <a:pt x="587656" y="1125614"/>
                  <a:pt x="594796" y="1122254"/>
                  <a:pt x="600256" y="1116375"/>
                </a:cubicBezTo>
                <a:cubicBezTo>
                  <a:pt x="605295" y="1110495"/>
                  <a:pt x="609495" y="1103775"/>
                  <a:pt x="612015" y="1094956"/>
                </a:cubicBezTo>
                <a:cubicBezTo>
                  <a:pt x="614535" y="1086556"/>
                  <a:pt x="616215" y="1077316"/>
                  <a:pt x="616635" y="1066817"/>
                </a:cubicBezTo>
                <a:cubicBezTo>
                  <a:pt x="617055" y="1056737"/>
                  <a:pt x="617475" y="1046658"/>
                  <a:pt x="617895" y="1036578"/>
                </a:cubicBezTo>
                <a:cubicBezTo>
                  <a:pt x="617895" y="1026918"/>
                  <a:pt x="618315" y="1017259"/>
                  <a:pt x="618315" y="1008859"/>
                </a:cubicBezTo>
                <a:cubicBezTo>
                  <a:pt x="618315" y="1000039"/>
                  <a:pt x="619155" y="992900"/>
                  <a:pt x="620835" y="987440"/>
                </a:cubicBezTo>
                <a:cubicBezTo>
                  <a:pt x="625455" y="969381"/>
                  <a:pt x="628814" y="950902"/>
                  <a:pt x="630494" y="932423"/>
                </a:cubicBezTo>
                <a:cubicBezTo>
                  <a:pt x="632174" y="913523"/>
                  <a:pt x="635114" y="894624"/>
                  <a:pt x="639734" y="875725"/>
                </a:cubicBezTo>
                <a:cubicBezTo>
                  <a:pt x="642254" y="866905"/>
                  <a:pt x="643934" y="856826"/>
                  <a:pt x="646034" y="845906"/>
                </a:cubicBezTo>
                <a:cubicBezTo>
                  <a:pt x="647714" y="834987"/>
                  <a:pt x="649814" y="824067"/>
                  <a:pt x="652753" y="813148"/>
                </a:cubicBezTo>
                <a:cubicBezTo>
                  <a:pt x="655273" y="802228"/>
                  <a:pt x="659053" y="792148"/>
                  <a:pt x="663253" y="782489"/>
                </a:cubicBezTo>
                <a:cubicBezTo>
                  <a:pt x="667453" y="772829"/>
                  <a:pt x="672913" y="765270"/>
                  <a:pt x="679632" y="759390"/>
                </a:cubicBezTo>
                <a:cubicBezTo>
                  <a:pt x="683832" y="756030"/>
                  <a:pt x="689292" y="751410"/>
                  <a:pt x="696012" y="745111"/>
                </a:cubicBezTo>
                <a:cubicBezTo>
                  <a:pt x="703151" y="738811"/>
                  <a:pt x="710711" y="732931"/>
                  <a:pt x="718271" y="727051"/>
                </a:cubicBezTo>
                <a:cubicBezTo>
                  <a:pt x="726250" y="721172"/>
                  <a:pt x="734230" y="716552"/>
                  <a:pt x="742210" y="712352"/>
                </a:cubicBezTo>
                <a:cubicBezTo>
                  <a:pt x="750189" y="708572"/>
                  <a:pt x="756909" y="706892"/>
                  <a:pt x="762369" y="708152"/>
                </a:cubicBezTo>
                <a:cubicBezTo>
                  <a:pt x="768248" y="709412"/>
                  <a:pt x="771188" y="712772"/>
                  <a:pt x="771608" y="718232"/>
                </a:cubicBezTo>
                <a:cubicBezTo>
                  <a:pt x="772028" y="723691"/>
                  <a:pt x="770348" y="730411"/>
                  <a:pt x="766988" y="737551"/>
                </a:cubicBezTo>
                <a:cubicBezTo>
                  <a:pt x="763629" y="745111"/>
                  <a:pt x="759009" y="753090"/>
                  <a:pt x="753129" y="761490"/>
                </a:cubicBezTo>
                <a:cubicBezTo>
                  <a:pt x="747669" y="769889"/>
                  <a:pt x="741790" y="777869"/>
                  <a:pt x="735910" y="785429"/>
                </a:cubicBezTo>
                <a:cubicBezTo>
                  <a:pt x="730030" y="792988"/>
                  <a:pt x="724990" y="799708"/>
                  <a:pt x="720370" y="805168"/>
                </a:cubicBezTo>
                <a:cubicBezTo>
                  <a:pt x="715751" y="810628"/>
                  <a:pt x="712391" y="813988"/>
                  <a:pt x="710711" y="815247"/>
                </a:cubicBezTo>
                <a:cubicBezTo>
                  <a:pt x="703571" y="821547"/>
                  <a:pt x="696851" y="828267"/>
                  <a:pt x="690552" y="834987"/>
                </a:cubicBezTo>
                <a:cubicBezTo>
                  <a:pt x="683832" y="842126"/>
                  <a:pt x="679212" y="849686"/>
                  <a:pt x="675852" y="857246"/>
                </a:cubicBezTo>
                <a:cubicBezTo>
                  <a:pt x="672493" y="865225"/>
                  <a:pt x="672073" y="873205"/>
                  <a:pt x="673752" y="882025"/>
                </a:cubicBezTo>
                <a:cubicBezTo>
                  <a:pt x="675432" y="890844"/>
                  <a:pt x="680892" y="900084"/>
                  <a:pt x="690972" y="910164"/>
                </a:cubicBezTo>
                <a:cubicBezTo>
                  <a:pt x="698531" y="915623"/>
                  <a:pt x="709031" y="922343"/>
                  <a:pt x="722050" y="930742"/>
                </a:cubicBezTo>
                <a:cubicBezTo>
                  <a:pt x="735070" y="939142"/>
                  <a:pt x="748929" y="947122"/>
                  <a:pt x="763209" y="954681"/>
                </a:cubicBezTo>
                <a:cubicBezTo>
                  <a:pt x="777488" y="962241"/>
                  <a:pt x="790927" y="968541"/>
                  <a:pt x="803527" y="974001"/>
                </a:cubicBezTo>
                <a:cubicBezTo>
                  <a:pt x="815706" y="979461"/>
                  <a:pt x="824946" y="981140"/>
                  <a:pt x="831246" y="979880"/>
                </a:cubicBezTo>
                <a:cubicBezTo>
                  <a:pt x="847625" y="991640"/>
                  <a:pt x="864424" y="996680"/>
                  <a:pt x="882483" y="995000"/>
                </a:cubicBezTo>
                <a:cubicBezTo>
                  <a:pt x="900543" y="993320"/>
                  <a:pt x="918602" y="988280"/>
                  <a:pt x="936661" y="979880"/>
                </a:cubicBezTo>
                <a:cubicBezTo>
                  <a:pt x="942961" y="972741"/>
                  <a:pt x="945901" y="966021"/>
                  <a:pt x="945901" y="960141"/>
                </a:cubicBezTo>
                <a:cubicBezTo>
                  <a:pt x="945901" y="954262"/>
                  <a:pt x="944221" y="948802"/>
                  <a:pt x="940441" y="944182"/>
                </a:cubicBezTo>
                <a:cubicBezTo>
                  <a:pt x="936661" y="939562"/>
                  <a:pt x="931621" y="935362"/>
                  <a:pt x="924902" y="932003"/>
                </a:cubicBezTo>
                <a:cubicBezTo>
                  <a:pt x="918182" y="928643"/>
                  <a:pt x="911462" y="926123"/>
                  <a:pt x="904323" y="924863"/>
                </a:cubicBezTo>
                <a:cubicBezTo>
                  <a:pt x="900543" y="924023"/>
                  <a:pt x="895083" y="922763"/>
                  <a:pt x="887103" y="920663"/>
                </a:cubicBezTo>
                <a:cubicBezTo>
                  <a:pt x="879544" y="918983"/>
                  <a:pt x="870724" y="916463"/>
                  <a:pt x="861064" y="913523"/>
                </a:cubicBezTo>
                <a:cubicBezTo>
                  <a:pt x="851405" y="910583"/>
                  <a:pt x="841745" y="907643"/>
                  <a:pt x="831246" y="903864"/>
                </a:cubicBezTo>
                <a:cubicBezTo>
                  <a:pt x="821166" y="900504"/>
                  <a:pt x="811927" y="896724"/>
                  <a:pt x="803527" y="892944"/>
                </a:cubicBezTo>
                <a:cubicBezTo>
                  <a:pt x="795127" y="889164"/>
                  <a:pt x="787988" y="884965"/>
                  <a:pt x="782108" y="880345"/>
                </a:cubicBezTo>
                <a:cubicBezTo>
                  <a:pt x="776648" y="875725"/>
                  <a:pt x="773288" y="871105"/>
                  <a:pt x="772868" y="866485"/>
                </a:cubicBezTo>
                <a:cubicBezTo>
                  <a:pt x="771608" y="855146"/>
                  <a:pt x="774968" y="844226"/>
                  <a:pt x="783368" y="833307"/>
                </a:cubicBezTo>
                <a:cubicBezTo>
                  <a:pt x="791347" y="822387"/>
                  <a:pt x="800587" y="811468"/>
                  <a:pt x="810667" y="799708"/>
                </a:cubicBezTo>
                <a:cubicBezTo>
                  <a:pt x="820326" y="787949"/>
                  <a:pt x="829566" y="775769"/>
                  <a:pt x="837545" y="762750"/>
                </a:cubicBezTo>
                <a:cubicBezTo>
                  <a:pt x="845525" y="749730"/>
                  <a:pt x="848465" y="735451"/>
                  <a:pt x="847205" y="720332"/>
                </a:cubicBezTo>
                <a:cubicBezTo>
                  <a:pt x="845945" y="708992"/>
                  <a:pt x="843005" y="698073"/>
                  <a:pt x="838385" y="686313"/>
                </a:cubicBezTo>
                <a:cubicBezTo>
                  <a:pt x="833766" y="674974"/>
                  <a:pt x="827886" y="664474"/>
                  <a:pt x="820746" y="655234"/>
                </a:cubicBezTo>
                <a:cubicBezTo>
                  <a:pt x="813606" y="645995"/>
                  <a:pt x="805627" y="638435"/>
                  <a:pt x="796807" y="632975"/>
                </a:cubicBezTo>
                <a:cubicBezTo>
                  <a:pt x="787988" y="627516"/>
                  <a:pt x="778748" y="624996"/>
                  <a:pt x="769508" y="625416"/>
                </a:cubicBezTo>
                <a:cubicBezTo>
                  <a:pt x="753129" y="626676"/>
                  <a:pt x="740530" y="629616"/>
                  <a:pt x="731290" y="634655"/>
                </a:cubicBezTo>
                <a:cubicBezTo>
                  <a:pt x="722050" y="639275"/>
                  <a:pt x="714491" y="644735"/>
                  <a:pt x="708191" y="650615"/>
                </a:cubicBezTo>
                <a:cubicBezTo>
                  <a:pt x="702311" y="656494"/>
                  <a:pt x="696432" y="661954"/>
                  <a:pt x="691392" y="667414"/>
                </a:cubicBezTo>
                <a:cubicBezTo>
                  <a:pt x="686352" y="672874"/>
                  <a:pt x="680052" y="676234"/>
                  <a:pt x="672493" y="678333"/>
                </a:cubicBezTo>
                <a:cubicBezTo>
                  <a:pt x="674172" y="672454"/>
                  <a:pt x="675012" y="665314"/>
                  <a:pt x="674172" y="656914"/>
                </a:cubicBezTo>
                <a:moveTo>
                  <a:pt x="1219729" y="678753"/>
                </a:moveTo>
                <a:cubicBezTo>
                  <a:pt x="1224769" y="676234"/>
                  <a:pt x="1229389" y="673294"/>
                  <a:pt x="1233168" y="669934"/>
                </a:cubicBezTo>
                <a:cubicBezTo>
                  <a:pt x="1236948" y="666154"/>
                  <a:pt x="1240308" y="661954"/>
                  <a:pt x="1242408" y="657334"/>
                </a:cubicBezTo>
                <a:cubicBezTo>
                  <a:pt x="1244508" y="652715"/>
                  <a:pt x="1245348" y="647255"/>
                  <a:pt x="1244928" y="641375"/>
                </a:cubicBezTo>
                <a:cubicBezTo>
                  <a:pt x="1244088" y="632975"/>
                  <a:pt x="1241988" y="626676"/>
                  <a:pt x="1238628" y="622896"/>
                </a:cubicBezTo>
                <a:cubicBezTo>
                  <a:pt x="1235268" y="619116"/>
                  <a:pt x="1231489" y="617016"/>
                  <a:pt x="1226449" y="616176"/>
                </a:cubicBezTo>
                <a:cubicBezTo>
                  <a:pt x="1221829" y="615336"/>
                  <a:pt x="1216369" y="615756"/>
                  <a:pt x="1210489" y="617016"/>
                </a:cubicBezTo>
                <a:cubicBezTo>
                  <a:pt x="1204610" y="618276"/>
                  <a:pt x="1198730" y="619956"/>
                  <a:pt x="1192430" y="621216"/>
                </a:cubicBezTo>
                <a:cubicBezTo>
                  <a:pt x="1178151" y="625836"/>
                  <a:pt x="1163451" y="628776"/>
                  <a:pt x="1147912" y="630876"/>
                </a:cubicBezTo>
                <a:cubicBezTo>
                  <a:pt x="1132373" y="632975"/>
                  <a:pt x="1116833" y="636335"/>
                  <a:pt x="1101714" y="640535"/>
                </a:cubicBezTo>
                <a:cubicBezTo>
                  <a:pt x="1094994" y="642635"/>
                  <a:pt x="1089115" y="643475"/>
                  <a:pt x="1083655" y="642635"/>
                </a:cubicBezTo>
                <a:cubicBezTo>
                  <a:pt x="1078195" y="641795"/>
                  <a:pt x="1073155" y="640955"/>
                  <a:pt x="1068116" y="639695"/>
                </a:cubicBezTo>
                <a:cubicBezTo>
                  <a:pt x="1063076" y="638435"/>
                  <a:pt x="1058036" y="638015"/>
                  <a:pt x="1052996" y="638015"/>
                </a:cubicBezTo>
                <a:cubicBezTo>
                  <a:pt x="1047956" y="638015"/>
                  <a:pt x="1042497" y="639695"/>
                  <a:pt x="1036617" y="642635"/>
                </a:cubicBezTo>
                <a:cubicBezTo>
                  <a:pt x="1031157" y="648515"/>
                  <a:pt x="1027377" y="655654"/>
                  <a:pt x="1024857" y="663214"/>
                </a:cubicBezTo>
                <a:cubicBezTo>
                  <a:pt x="1022757" y="670774"/>
                  <a:pt x="1021078" y="678753"/>
                  <a:pt x="1019818" y="687153"/>
                </a:cubicBezTo>
                <a:cubicBezTo>
                  <a:pt x="1018558" y="695553"/>
                  <a:pt x="1017298" y="703952"/>
                  <a:pt x="1016458" y="711932"/>
                </a:cubicBezTo>
                <a:cubicBezTo>
                  <a:pt x="1015198" y="720332"/>
                  <a:pt x="1013098" y="728311"/>
                  <a:pt x="1010158" y="736291"/>
                </a:cubicBezTo>
                <a:cubicBezTo>
                  <a:pt x="1007638" y="741751"/>
                  <a:pt x="1005538" y="750150"/>
                  <a:pt x="1004278" y="761910"/>
                </a:cubicBezTo>
                <a:cubicBezTo>
                  <a:pt x="1002598" y="773249"/>
                  <a:pt x="1001338" y="786269"/>
                  <a:pt x="1000078" y="800968"/>
                </a:cubicBezTo>
                <a:cubicBezTo>
                  <a:pt x="998819" y="815247"/>
                  <a:pt x="998399" y="830367"/>
                  <a:pt x="997979" y="845906"/>
                </a:cubicBezTo>
                <a:cubicBezTo>
                  <a:pt x="997559" y="861445"/>
                  <a:pt x="997559" y="876145"/>
                  <a:pt x="997559" y="890004"/>
                </a:cubicBezTo>
                <a:cubicBezTo>
                  <a:pt x="997559" y="903864"/>
                  <a:pt x="997979" y="915623"/>
                  <a:pt x="998399" y="926123"/>
                </a:cubicBezTo>
                <a:cubicBezTo>
                  <a:pt x="998819" y="936622"/>
                  <a:pt x="999658" y="943342"/>
                  <a:pt x="1000918" y="946282"/>
                </a:cubicBezTo>
                <a:cubicBezTo>
                  <a:pt x="1005958" y="964761"/>
                  <a:pt x="1013938" y="978201"/>
                  <a:pt x="1024857" y="987020"/>
                </a:cubicBezTo>
                <a:cubicBezTo>
                  <a:pt x="1035777" y="995840"/>
                  <a:pt x="1048376" y="1000880"/>
                  <a:pt x="1062656" y="1002560"/>
                </a:cubicBezTo>
                <a:cubicBezTo>
                  <a:pt x="1076935" y="1004239"/>
                  <a:pt x="1092054" y="1002979"/>
                  <a:pt x="1107594" y="998780"/>
                </a:cubicBezTo>
                <a:cubicBezTo>
                  <a:pt x="1123133" y="994580"/>
                  <a:pt x="1138673" y="988700"/>
                  <a:pt x="1152952" y="981140"/>
                </a:cubicBezTo>
                <a:cubicBezTo>
                  <a:pt x="1167651" y="973581"/>
                  <a:pt x="1180671" y="965181"/>
                  <a:pt x="1192430" y="955941"/>
                </a:cubicBezTo>
                <a:cubicBezTo>
                  <a:pt x="1204190" y="946702"/>
                  <a:pt x="1213429" y="937882"/>
                  <a:pt x="1219729" y="929063"/>
                </a:cubicBezTo>
                <a:cubicBezTo>
                  <a:pt x="1222669" y="925283"/>
                  <a:pt x="1225609" y="922343"/>
                  <a:pt x="1228969" y="918983"/>
                </a:cubicBezTo>
                <a:cubicBezTo>
                  <a:pt x="1231909" y="916043"/>
                  <a:pt x="1234848" y="912683"/>
                  <a:pt x="1236948" y="909324"/>
                </a:cubicBezTo>
                <a:cubicBezTo>
                  <a:pt x="1239048" y="905964"/>
                  <a:pt x="1240308" y="901764"/>
                  <a:pt x="1240728" y="897144"/>
                </a:cubicBezTo>
                <a:cubicBezTo>
                  <a:pt x="1241148" y="892524"/>
                  <a:pt x="1240308" y="886644"/>
                  <a:pt x="1238208" y="879505"/>
                </a:cubicBezTo>
                <a:cubicBezTo>
                  <a:pt x="1233168" y="864385"/>
                  <a:pt x="1222249" y="858086"/>
                  <a:pt x="1206710" y="859766"/>
                </a:cubicBezTo>
                <a:cubicBezTo>
                  <a:pt x="1198730" y="865645"/>
                  <a:pt x="1189490" y="873625"/>
                  <a:pt x="1179831" y="883285"/>
                </a:cubicBezTo>
                <a:cubicBezTo>
                  <a:pt x="1170171" y="892944"/>
                  <a:pt x="1159672" y="901764"/>
                  <a:pt x="1149172" y="909743"/>
                </a:cubicBezTo>
                <a:cubicBezTo>
                  <a:pt x="1138252" y="917723"/>
                  <a:pt x="1126913" y="923603"/>
                  <a:pt x="1115153" y="927383"/>
                </a:cubicBezTo>
                <a:cubicBezTo>
                  <a:pt x="1103394" y="931163"/>
                  <a:pt x="1090795" y="929903"/>
                  <a:pt x="1077775" y="924023"/>
                </a:cubicBezTo>
                <a:cubicBezTo>
                  <a:pt x="1073575" y="922343"/>
                  <a:pt x="1070635" y="918143"/>
                  <a:pt x="1068535" y="912263"/>
                </a:cubicBezTo>
                <a:cubicBezTo>
                  <a:pt x="1066436" y="906384"/>
                  <a:pt x="1065176" y="899244"/>
                  <a:pt x="1064756" y="891684"/>
                </a:cubicBezTo>
                <a:cubicBezTo>
                  <a:pt x="1064336" y="884125"/>
                  <a:pt x="1064336" y="876565"/>
                  <a:pt x="1064756" y="869845"/>
                </a:cubicBezTo>
                <a:cubicBezTo>
                  <a:pt x="1065596" y="862706"/>
                  <a:pt x="1066436" y="857246"/>
                  <a:pt x="1068116" y="853886"/>
                </a:cubicBezTo>
                <a:cubicBezTo>
                  <a:pt x="1069795" y="850106"/>
                  <a:pt x="1073995" y="847166"/>
                  <a:pt x="1080295" y="844646"/>
                </a:cubicBezTo>
                <a:cubicBezTo>
                  <a:pt x="1086175" y="842126"/>
                  <a:pt x="1093315" y="840446"/>
                  <a:pt x="1101294" y="839186"/>
                </a:cubicBezTo>
                <a:cubicBezTo>
                  <a:pt x="1109274" y="837927"/>
                  <a:pt x="1116833" y="836667"/>
                  <a:pt x="1123973" y="835827"/>
                </a:cubicBezTo>
                <a:cubicBezTo>
                  <a:pt x="1131533" y="834987"/>
                  <a:pt x="1136993" y="834147"/>
                  <a:pt x="1141612" y="833307"/>
                </a:cubicBezTo>
                <a:cubicBezTo>
                  <a:pt x="1147072" y="832467"/>
                  <a:pt x="1152532" y="831207"/>
                  <a:pt x="1157152" y="829947"/>
                </a:cubicBezTo>
                <a:cubicBezTo>
                  <a:pt x="1161772" y="828267"/>
                  <a:pt x="1165971" y="826167"/>
                  <a:pt x="1169751" y="823647"/>
                </a:cubicBezTo>
                <a:cubicBezTo>
                  <a:pt x="1173531" y="820707"/>
                  <a:pt x="1176051" y="817347"/>
                  <a:pt x="1177731" y="812728"/>
                </a:cubicBezTo>
                <a:cubicBezTo>
                  <a:pt x="1179411" y="808108"/>
                  <a:pt x="1179831" y="802228"/>
                  <a:pt x="1178991" y="795088"/>
                </a:cubicBezTo>
                <a:cubicBezTo>
                  <a:pt x="1178571" y="789629"/>
                  <a:pt x="1176891" y="784589"/>
                  <a:pt x="1174791" y="779969"/>
                </a:cubicBezTo>
                <a:cubicBezTo>
                  <a:pt x="1172271" y="775349"/>
                  <a:pt x="1169331" y="771989"/>
                  <a:pt x="1165131" y="769889"/>
                </a:cubicBezTo>
                <a:cubicBezTo>
                  <a:pt x="1156732" y="765690"/>
                  <a:pt x="1147912" y="764430"/>
                  <a:pt x="1139513" y="766530"/>
                </a:cubicBezTo>
                <a:cubicBezTo>
                  <a:pt x="1130693" y="768210"/>
                  <a:pt x="1121453" y="769889"/>
                  <a:pt x="1111374" y="770729"/>
                </a:cubicBezTo>
                <a:cubicBezTo>
                  <a:pt x="1108434" y="771149"/>
                  <a:pt x="1104234" y="771569"/>
                  <a:pt x="1099194" y="772829"/>
                </a:cubicBezTo>
                <a:cubicBezTo>
                  <a:pt x="1094154" y="773669"/>
                  <a:pt x="1089535" y="773669"/>
                  <a:pt x="1085335" y="771989"/>
                </a:cubicBezTo>
                <a:cubicBezTo>
                  <a:pt x="1081135" y="770310"/>
                  <a:pt x="1078615" y="766950"/>
                  <a:pt x="1077775" y="761490"/>
                </a:cubicBezTo>
                <a:cubicBezTo>
                  <a:pt x="1076515" y="756030"/>
                  <a:pt x="1078615" y="746790"/>
                  <a:pt x="1083655" y="733351"/>
                </a:cubicBezTo>
                <a:cubicBezTo>
                  <a:pt x="1089115" y="719912"/>
                  <a:pt x="1096674" y="711092"/>
                  <a:pt x="1106334" y="706892"/>
                </a:cubicBezTo>
                <a:cubicBezTo>
                  <a:pt x="1115994" y="703112"/>
                  <a:pt x="1126493" y="700592"/>
                  <a:pt x="1137832" y="700173"/>
                </a:cubicBezTo>
                <a:cubicBezTo>
                  <a:pt x="1149172" y="699333"/>
                  <a:pt x="1160931" y="698493"/>
                  <a:pt x="1172691" y="697652"/>
                </a:cubicBezTo>
                <a:cubicBezTo>
                  <a:pt x="1184451" y="696813"/>
                  <a:pt x="1195370" y="692613"/>
                  <a:pt x="1205030" y="685053"/>
                </a:cubicBezTo>
                <a:cubicBezTo>
                  <a:pt x="1209649" y="682533"/>
                  <a:pt x="1214689" y="680853"/>
                  <a:pt x="1219729" y="678753"/>
                </a:cubicBezTo>
                <a:moveTo>
                  <a:pt x="1370083" y="654394"/>
                </a:moveTo>
                <a:cubicBezTo>
                  <a:pt x="1365463" y="669934"/>
                  <a:pt x="1364623" y="685893"/>
                  <a:pt x="1367563" y="702272"/>
                </a:cubicBezTo>
                <a:cubicBezTo>
                  <a:pt x="1370503" y="718232"/>
                  <a:pt x="1375962" y="735451"/>
                  <a:pt x="1383522" y="753090"/>
                </a:cubicBezTo>
                <a:cubicBezTo>
                  <a:pt x="1391082" y="770729"/>
                  <a:pt x="1397801" y="790469"/>
                  <a:pt x="1403681" y="812308"/>
                </a:cubicBezTo>
                <a:cubicBezTo>
                  <a:pt x="1404101" y="815247"/>
                  <a:pt x="1405781" y="819447"/>
                  <a:pt x="1407881" y="825327"/>
                </a:cubicBezTo>
                <a:cubicBezTo>
                  <a:pt x="1409981" y="831207"/>
                  <a:pt x="1412081" y="837507"/>
                  <a:pt x="1414181" y="845066"/>
                </a:cubicBezTo>
                <a:cubicBezTo>
                  <a:pt x="1416281" y="852626"/>
                  <a:pt x="1418381" y="860186"/>
                  <a:pt x="1420060" y="868585"/>
                </a:cubicBezTo>
                <a:cubicBezTo>
                  <a:pt x="1421740" y="876985"/>
                  <a:pt x="1423000" y="884544"/>
                  <a:pt x="1423000" y="891264"/>
                </a:cubicBezTo>
                <a:cubicBezTo>
                  <a:pt x="1423000" y="898404"/>
                  <a:pt x="1422580" y="904704"/>
                  <a:pt x="1420480" y="909743"/>
                </a:cubicBezTo>
                <a:cubicBezTo>
                  <a:pt x="1418801" y="915203"/>
                  <a:pt x="1415021" y="918563"/>
                  <a:pt x="1409981" y="920243"/>
                </a:cubicBezTo>
                <a:cubicBezTo>
                  <a:pt x="1406621" y="921503"/>
                  <a:pt x="1403261" y="921503"/>
                  <a:pt x="1400321" y="920243"/>
                </a:cubicBezTo>
                <a:cubicBezTo>
                  <a:pt x="1397381" y="918983"/>
                  <a:pt x="1394861" y="917303"/>
                  <a:pt x="1391922" y="914783"/>
                </a:cubicBezTo>
                <a:cubicBezTo>
                  <a:pt x="1389402" y="912263"/>
                  <a:pt x="1386882" y="909743"/>
                  <a:pt x="1384362" y="906804"/>
                </a:cubicBezTo>
                <a:cubicBezTo>
                  <a:pt x="1382262" y="903864"/>
                  <a:pt x="1380162" y="901344"/>
                  <a:pt x="1378062" y="899664"/>
                </a:cubicBezTo>
                <a:cubicBezTo>
                  <a:pt x="1372182" y="892944"/>
                  <a:pt x="1365883" y="890004"/>
                  <a:pt x="1360003" y="890004"/>
                </a:cubicBezTo>
                <a:cubicBezTo>
                  <a:pt x="1354123" y="890424"/>
                  <a:pt x="1348663" y="892524"/>
                  <a:pt x="1344044" y="896724"/>
                </a:cubicBezTo>
                <a:cubicBezTo>
                  <a:pt x="1339424" y="901344"/>
                  <a:pt x="1335644" y="906804"/>
                  <a:pt x="1333124" y="913943"/>
                </a:cubicBezTo>
                <a:cubicBezTo>
                  <a:pt x="1330184" y="921083"/>
                  <a:pt x="1329344" y="927803"/>
                  <a:pt x="1330184" y="934522"/>
                </a:cubicBezTo>
                <a:cubicBezTo>
                  <a:pt x="1331024" y="942082"/>
                  <a:pt x="1333124" y="950062"/>
                  <a:pt x="1336484" y="958041"/>
                </a:cubicBezTo>
                <a:cubicBezTo>
                  <a:pt x="1339844" y="966021"/>
                  <a:pt x="1344464" y="973581"/>
                  <a:pt x="1349923" y="980301"/>
                </a:cubicBezTo>
                <a:cubicBezTo>
                  <a:pt x="1355383" y="987020"/>
                  <a:pt x="1362103" y="992480"/>
                  <a:pt x="1369663" y="996680"/>
                </a:cubicBezTo>
                <a:cubicBezTo>
                  <a:pt x="1377222" y="1000880"/>
                  <a:pt x="1385622" y="1002560"/>
                  <a:pt x="1394441" y="1002560"/>
                </a:cubicBezTo>
                <a:cubicBezTo>
                  <a:pt x="1417540" y="1002139"/>
                  <a:pt x="1435600" y="996680"/>
                  <a:pt x="1449879" y="986600"/>
                </a:cubicBezTo>
                <a:cubicBezTo>
                  <a:pt x="1463739" y="976521"/>
                  <a:pt x="1474658" y="963921"/>
                  <a:pt x="1481798" y="949222"/>
                </a:cubicBezTo>
                <a:cubicBezTo>
                  <a:pt x="1488937" y="934522"/>
                  <a:pt x="1493137" y="918563"/>
                  <a:pt x="1493557" y="901344"/>
                </a:cubicBezTo>
                <a:cubicBezTo>
                  <a:pt x="1494397" y="884125"/>
                  <a:pt x="1492717" y="867745"/>
                  <a:pt x="1488517" y="852626"/>
                </a:cubicBezTo>
                <a:cubicBezTo>
                  <a:pt x="1485578" y="840866"/>
                  <a:pt x="1481378" y="829107"/>
                  <a:pt x="1475918" y="817347"/>
                </a:cubicBezTo>
                <a:cubicBezTo>
                  <a:pt x="1470458" y="805588"/>
                  <a:pt x="1464999" y="793828"/>
                  <a:pt x="1459959" y="781649"/>
                </a:cubicBezTo>
                <a:cubicBezTo>
                  <a:pt x="1454919" y="769470"/>
                  <a:pt x="1449879" y="757710"/>
                  <a:pt x="1446099" y="745531"/>
                </a:cubicBezTo>
                <a:cubicBezTo>
                  <a:pt x="1441900" y="733351"/>
                  <a:pt x="1439800" y="721172"/>
                  <a:pt x="1439380" y="709412"/>
                </a:cubicBezTo>
                <a:cubicBezTo>
                  <a:pt x="1438540" y="692193"/>
                  <a:pt x="1439800" y="679173"/>
                  <a:pt x="1443159" y="671194"/>
                </a:cubicBezTo>
                <a:cubicBezTo>
                  <a:pt x="1446099" y="663214"/>
                  <a:pt x="1451139" y="656914"/>
                  <a:pt x="1457859" y="653135"/>
                </a:cubicBezTo>
                <a:cubicBezTo>
                  <a:pt x="1464579" y="649355"/>
                  <a:pt x="1472978" y="646415"/>
                  <a:pt x="1483058" y="644315"/>
                </a:cubicBezTo>
                <a:cubicBezTo>
                  <a:pt x="1493137" y="642215"/>
                  <a:pt x="1504897" y="638855"/>
                  <a:pt x="1518336" y="633815"/>
                </a:cubicBezTo>
                <a:cubicBezTo>
                  <a:pt x="1523376" y="632135"/>
                  <a:pt x="1528836" y="629616"/>
                  <a:pt x="1533876" y="625836"/>
                </a:cubicBezTo>
                <a:cubicBezTo>
                  <a:pt x="1538915" y="622056"/>
                  <a:pt x="1542275" y="617436"/>
                  <a:pt x="1543115" y="610716"/>
                </a:cubicBezTo>
                <a:cubicBezTo>
                  <a:pt x="1541855" y="604417"/>
                  <a:pt x="1540175" y="598537"/>
                  <a:pt x="1538075" y="593497"/>
                </a:cubicBezTo>
                <a:cubicBezTo>
                  <a:pt x="1535975" y="588457"/>
                  <a:pt x="1533456" y="584257"/>
                  <a:pt x="1530096" y="580478"/>
                </a:cubicBezTo>
                <a:cubicBezTo>
                  <a:pt x="1526736" y="577118"/>
                  <a:pt x="1522116" y="574598"/>
                  <a:pt x="1516656" y="572918"/>
                </a:cubicBezTo>
                <a:cubicBezTo>
                  <a:pt x="1511197" y="571238"/>
                  <a:pt x="1504477" y="570818"/>
                  <a:pt x="1496077" y="571658"/>
                </a:cubicBezTo>
                <a:cubicBezTo>
                  <a:pt x="1488937" y="572498"/>
                  <a:pt x="1480958" y="573758"/>
                  <a:pt x="1472558" y="575018"/>
                </a:cubicBezTo>
                <a:cubicBezTo>
                  <a:pt x="1464159" y="576698"/>
                  <a:pt x="1455759" y="578798"/>
                  <a:pt x="1447359" y="581318"/>
                </a:cubicBezTo>
                <a:cubicBezTo>
                  <a:pt x="1438960" y="583837"/>
                  <a:pt x="1431400" y="587197"/>
                  <a:pt x="1423840" y="590977"/>
                </a:cubicBezTo>
                <a:cubicBezTo>
                  <a:pt x="1416281" y="594757"/>
                  <a:pt x="1409981" y="599377"/>
                  <a:pt x="1404941" y="604837"/>
                </a:cubicBezTo>
                <a:cubicBezTo>
                  <a:pt x="1386462" y="621636"/>
                  <a:pt x="1374702" y="638435"/>
                  <a:pt x="1370083" y="654394"/>
                </a:cubicBezTo>
                <a:moveTo>
                  <a:pt x="1784185" y="569138"/>
                </a:moveTo>
                <a:cubicBezTo>
                  <a:pt x="1781665" y="569558"/>
                  <a:pt x="1778725" y="569558"/>
                  <a:pt x="1776205" y="569978"/>
                </a:cubicBezTo>
                <a:cubicBezTo>
                  <a:pt x="1765286" y="571238"/>
                  <a:pt x="1756466" y="572918"/>
                  <a:pt x="1748906" y="575858"/>
                </a:cubicBezTo>
                <a:cubicBezTo>
                  <a:pt x="1741767" y="578378"/>
                  <a:pt x="1734627" y="581318"/>
                  <a:pt x="1727907" y="585097"/>
                </a:cubicBezTo>
                <a:cubicBezTo>
                  <a:pt x="1721188" y="588877"/>
                  <a:pt x="1714468" y="592657"/>
                  <a:pt x="1707328" y="596857"/>
                </a:cubicBezTo>
                <a:cubicBezTo>
                  <a:pt x="1700188" y="601057"/>
                  <a:pt x="1691369" y="605256"/>
                  <a:pt x="1680869" y="609876"/>
                </a:cubicBezTo>
                <a:cubicBezTo>
                  <a:pt x="1677929" y="611136"/>
                  <a:pt x="1674989" y="611976"/>
                  <a:pt x="1672050" y="611976"/>
                </a:cubicBezTo>
                <a:cubicBezTo>
                  <a:pt x="1668690" y="611976"/>
                  <a:pt x="1665330" y="611976"/>
                  <a:pt x="1662390" y="612396"/>
                </a:cubicBezTo>
                <a:cubicBezTo>
                  <a:pt x="1659030" y="612816"/>
                  <a:pt x="1656090" y="613236"/>
                  <a:pt x="1652730" y="614496"/>
                </a:cubicBezTo>
                <a:cubicBezTo>
                  <a:pt x="1649791" y="615756"/>
                  <a:pt x="1646851" y="617856"/>
                  <a:pt x="1644751" y="620796"/>
                </a:cubicBezTo>
                <a:cubicBezTo>
                  <a:pt x="1634671" y="655234"/>
                  <a:pt x="1626692" y="688833"/>
                  <a:pt x="1621652" y="722851"/>
                </a:cubicBezTo>
                <a:cubicBezTo>
                  <a:pt x="1616612" y="756450"/>
                  <a:pt x="1615772" y="790889"/>
                  <a:pt x="1619552" y="825747"/>
                </a:cubicBezTo>
                <a:cubicBezTo>
                  <a:pt x="1620392" y="835407"/>
                  <a:pt x="1622072" y="844646"/>
                  <a:pt x="1623752" y="853886"/>
                </a:cubicBezTo>
                <a:cubicBezTo>
                  <a:pt x="1625432" y="863125"/>
                  <a:pt x="1627531" y="872365"/>
                  <a:pt x="1630051" y="881605"/>
                </a:cubicBezTo>
                <a:cubicBezTo>
                  <a:pt x="1634671" y="896724"/>
                  <a:pt x="1640971" y="910583"/>
                  <a:pt x="1649791" y="922343"/>
                </a:cubicBezTo>
                <a:cubicBezTo>
                  <a:pt x="1658610" y="934103"/>
                  <a:pt x="1670370" y="943762"/>
                  <a:pt x="1684649" y="950482"/>
                </a:cubicBezTo>
                <a:cubicBezTo>
                  <a:pt x="1701028" y="958461"/>
                  <a:pt x="1718248" y="961821"/>
                  <a:pt x="1736307" y="959721"/>
                </a:cubicBezTo>
                <a:cubicBezTo>
                  <a:pt x="1746386" y="958881"/>
                  <a:pt x="1756466" y="955941"/>
                  <a:pt x="1766546" y="951742"/>
                </a:cubicBezTo>
                <a:cubicBezTo>
                  <a:pt x="1776625" y="947962"/>
                  <a:pt x="1785865" y="942922"/>
                  <a:pt x="1793844" y="936622"/>
                </a:cubicBezTo>
                <a:cubicBezTo>
                  <a:pt x="1801824" y="930323"/>
                  <a:pt x="1807704" y="921923"/>
                  <a:pt x="1811484" y="911004"/>
                </a:cubicBezTo>
                <a:cubicBezTo>
                  <a:pt x="1814003" y="905544"/>
                  <a:pt x="1816523" y="899664"/>
                  <a:pt x="1819883" y="892524"/>
                </a:cubicBezTo>
                <a:cubicBezTo>
                  <a:pt x="1822823" y="885384"/>
                  <a:pt x="1824083" y="878245"/>
                  <a:pt x="1823243" y="871525"/>
                </a:cubicBezTo>
                <a:cubicBezTo>
                  <a:pt x="1822403" y="863545"/>
                  <a:pt x="1819043" y="856826"/>
                  <a:pt x="1812324" y="851786"/>
                </a:cubicBezTo>
                <a:cubicBezTo>
                  <a:pt x="1806024" y="846326"/>
                  <a:pt x="1798044" y="843806"/>
                  <a:pt x="1789225" y="843806"/>
                </a:cubicBezTo>
                <a:cubicBezTo>
                  <a:pt x="1785025" y="843806"/>
                  <a:pt x="1781245" y="844226"/>
                  <a:pt x="1778725" y="845066"/>
                </a:cubicBezTo>
                <a:cubicBezTo>
                  <a:pt x="1776205" y="845906"/>
                  <a:pt x="1774105" y="847166"/>
                  <a:pt x="1772425" y="848846"/>
                </a:cubicBezTo>
                <a:cubicBezTo>
                  <a:pt x="1770745" y="850526"/>
                  <a:pt x="1769485" y="853046"/>
                  <a:pt x="1768225" y="855146"/>
                </a:cubicBezTo>
                <a:cubicBezTo>
                  <a:pt x="1766966" y="857666"/>
                  <a:pt x="1765286" y="860606"/>
                  <a:pt x="1763186" y="863545"/>
                </a:cubicBezTo>
                <a:cubicBezTo>
                  <a:pt x="1759826" y="867745"/>
                  <a:pt x="1756466" y="871105"/>
                  <a:pt x="1752266" y="873625"/>
                </a:cubicBezTo>
                <a:cubicBezTo>
                  <a:pt x="1748066" y="875725"/>
                  <a:pt x="1743867" y="877405"/>
                  <a:pt x="1739247" y="877825"/>
                </a:cubicBezTo>
                <a:cubicBezTo>
                  <a:pt x="1728747" y="878665"/>
                  <a:pt x="1719088" y="876145"/>
                  <a:pt x="1710268" y="869425"/>
                </a:cubicBezTo>
                <a:cubicBezTo>
                  <a:pt x="1701448" y="862706"/>
                  <a:pt x="1697248" y="853046"/>
                  <a:pt x="1697668" y="840026"/>
                </a:cubicBezTo>
                <a:cubicBezTo>
                  <a:pt x="1702708" y="835407"/>
                  <a:pt x="1708168" y="830787"/>
                  <a:pt x="1714888" y="827427"/>
                </a:cubicBezTo>
                <a:cubicBezTo>
                  <a:pt x="1721607" y="823647"/>
                  <a:pt x="1728327" y="820287"/>
                  <a:pt x="1735047" y="816508"/>
                </a:cubicBezTo>
                <a:cubicBezTo>
                  <a:pt x="1741767" y="812728"/>
                  <a:pt x="1748486" y="808948"/>
                  <a:pt x="1754786" y="804328"/>
                </a:cubicBezTo>
                <a:cubicBezTo>
                  <a:pt x="1761086" y="800128"/>
                  <a:pt x="1766546" y="794668"/>
                  <a:pt x="1770745" y="788369"/>
                </a:cubicBezTo>
                <a:cubicBezTo>
                  <a:pt x="1774525" y="783749"/>
                  <a:pt x="1777045" y="778289"/>
                  <a:pt x="1779145" y="771989"/>
                </a:cubicBezTo>
                <a:cubicBezTo>
                  <a:pt x="1781245" y="765690"/>
                  <a:pt x="1782085" y="759390"/>
                  <a:pt x="1781245" y="753510"/>
                </a:cubicBezTo>
                <a:cubicBezTo>
                  <a:pt x="1780405" y="746371"/>
                  <a:pt x="1777465" y="740071"/>
                  <a:pt x="1771585" y="735451"/>
                </a:cubicBezTo>
                <a:cubicBezTo>
                  <a:pt x="1766126" y="730411"/>
                  <a:pt x="1758986" y="728731"/>
                  <a:pt x="1751006" y="729571"/>
                </a:cubicBezTo>
                <a:cubicBezTo>
                  <a:pt x="1744287" y="730411"/>
                  <a:pt x="1737147" y="732091"/>
                  <a:pt x="1730007" y="734611"/>
                </a:cubicBezTo>
                <a:cubicBezTo>
                  <a:pt x="1722867" y="737131"/>
                  <a:pt x="1716988" y="740071"/>
                  <a:pt x="1712368" y="742591"/>
                </a:cubicBezTo>
                <a:cubicBezTo>
                  <a:pt x="1707748" y="745111"/>
                  <a:pt x="1704388" y="746790"/>
                  <a:pt x="1702288" y="746790"/>
                </a:cubicBezTo>
                <a:cubicBezTo>
                  <a:pt x="1699768" y="747211"/>
                  <a:pt x="1698089" y="746790"/>
                  <a:pt x="1697248" y="745531"/>
                </a:cubicBezTo>
                <a:cubicBezTo>
                  <a:pt x="1696408" y="744271"/>
                  <a:pt x="1695569" y="742591"/>
                  <a:pt x="1695569" y="740491"/>
                </a:cubicBezTo>
                <a:cubicBezTo>
                  <a:pt x="1695569" y="738391"/>
                  <a:pt x="1695149" y="736291"/>
                  <a:pt x="1694729" y="734191"/>
                </a:cubicBezTo>
                <a:cubicBezTo>
                  <a:pt x="1694309" y="730411"/>
                  <a:pt x="1694729" y="726211"/>
                  <a:pt x="1695569" y="721172"/>
                </a:cubicBezTo>
                <a:cubicBezTo>
                  <a:pt x="1696408" y="716132"/>
                  <a:pt x="1697668" y="711092"/>
                  <a:pt x="1698928" y="706472"/>
                </a:cubicBezTo>
                <a:cubicBezTo>
                  <a:pt x="1700188" y="701852"/>
                  <a:pt x="1701448" y="697652"/>
                  <a:pt x="1702708" y="693453"/>
                </a:cubicBezTo>
                <a:cubicBezTo>
                  <a:pt x="1703968" y="689673"/>
                  <a:pt x="1704808" y="686733"/>
                  <a:pt x="1705228" y="684633"/>
                </a:cubicBezTo>
                <a:cubicBezTo>
                  <a:pt x="1706488" y="680013"/>
                  <a:pt x="1710268" y="675814"/>
                  <a:pt x="1716568" y="671194"/>
                </a:cubicBezTo>
                <a:cubicBezTo>
                  <a:pt x="1722867" y="666994"/>
                  <a:pt x="1730007" y="662794"/>
                  <a:pt x="1737567" y="659014"/>
                </a:cubicBezTo>
                <a:cubicBezTo>
                  <a:pt x="1745546" y="655234"/>
                  <a:pt x="1753106" y="651875"/>
                  <a:pt x="1761086" y="648935"/>
                </a:cubicBezTo>
                <a:cubicBezTo>
                  <a:pt x="1768645" y="645995"/>
                  <a:pt x="1774525" y="643895"/>
                  <a:pt x="1779145" y="642635"/>
                </a:cubicBezTo>
                <a:cubicBezTo>
                  <a:pt x="1791325" y="638855"/>
                  <a:pt x="1802244" y="633815"/>
                  <a:pt x="1811484" y="627516"/>
                </a:cubicBezTo>
                <a:cubicBezTo>
                  <a:pt x="1820723" y="621216"/>
                  <a:pt x="1825763" y="610716"/>
                  <a:pt x="1826603" y="595597"/>
                </a:cubicBezTo>
                <a:cubicBezTo>
                  <a:pt x="1827023" y="591817"/>
                  <a:pt x="1826183" y="588457"/>
                  <a:pt x="1823663" y="585518"/>
                </a:cubicBezTo>
                <a:cubicBezTo>
                  <a:pt x="1821143" y="582578"/>
                  <a:pt x="1818623" y="579638"/>
                  <a:pt x="1815263" y="577538"/>
                </a:cubicBezTo>
                <a:cubicBezTo>
                  <a:pt x="1811904" y="575018"/>
                  <a:pt x="1808124" y="573338"/>
                  <a:pt x="1804344" y="572078"/>
                </a:cubicBezTo>
                <a:cubicBezTo>
                  <a:pt x="1800564" y="570818"/>
                  <a:pt x="1796784" y="570398"/>
                  <a:pt x="1793844" y="569978"/>
                </a:cubicBezTo>
                <a:cubicBezTo>
                  <a:pt x="1789645" y="568718"/>
                  <a:pt x="1786705" y="568718"/>
                  <a:pt x="1784185" y="569138"/>
                </a:cubicBezTo>
                <a:moveTo>
                  <a:pt x="1963097" y="933263"/>
                </a:moveTo>
                <a:cubicBezTo>
                  <a:pt x="1968977" y="931582"/>
                  <a:pt x="1974017" y="928223"/>
                  <a:pt x="1977796" y="923183"/>
                </a:cubicBezTo>
                <a:cubicBezTo>
                  <a:pt x="1981996" y="917723"/>
                  <a:pt x="1984936" y="911004"/>
                  <a:pt x="1987456" y="902604"/>
                </a:cubicBezTo>
                <a:cubicBezTo>
                  <a:pt x="1989556" y="894204"/>
                  <a:pt x="1992076" y="885384"/>
                  <a:pt x="1993756" y="876985"/>
                </a:cubicBezTo>
                <a:cubicBezTo>
                  <a:pt x="1995436" y="868165"/>
                  <a:pt x="1997116" y="859766"/>
                  <a:pt x="1998376" y="851786"/>
                </a:cubicBezTo>
                <a:cubicBezTo>
                  <a:pt x="1999635" y="843806"/>
                  <a:pt x="2001316" y="837087"/>
                  <a:pt x="2003415" y="832047"/>
                </a:cubicBezTo>
                <a:cubicBezTo>
                  <a:pt x="2005515" y="823227"/>
                  <a:pt x="2008035" y="817767"/>
                  <a:pt x="2011815" y="816087"/>
                </a:cubicBezTo>
                <a:cubicBezTo>
                  <a:pt x="2015595" y="814408"/>
                  <a:pt x="2021475" y="813568"/>
                  <a:pt x="2029874" y="813568"/>
                </a:cubicBezTo>
                <a:cubicBezTo>
                  <a:pt x="2040374" y="813148"/>
                  <a:pt x="2049193" y="812728"/>
                  <a:pt x="2057173" y="811888"/>
                </a:cubicBezTo>
                <a:cubicBezTo>
                  <a:pt x="2064733" y="811468"/>
                  <a:pt x="2071872" y="810208"/>
                  <a:pt x="2078172" y="808528"/>
                </a:cubicBezTo>
                <a:cubicBezTo>
                  <a:pt x="2084472" y="806848"/>
                  <a:pt x="2091192" y="804328"/>
                  <a:pt x="2097491" y="801388"/>
                </a:cubicBezTo>
                <a:cubicBezTo>
                  <a:pt x="2103791" y="798448"/>
                  <a:pt x="2111351" y="793828"/>
                  <a:pt x="2119330" y="788789"/>
                </a:cubicBezTo>
                <a:cubicBezTo>
                  <a:pt x="2124790" y="796348"/>
                  <a:pt x="2128150" y="806008"/>
                  <a:pt x="2129830" y="818187"/>
                </a:cubicBezTo>
                <a:cubicBezTo>
                  <a:pt x="2131090" y="830367"/>
                  <a:pt x="2133190" y="842546"/>
                  <a:pt x="2135290" y="854306"/>
                </a:cubicBezTo>
                <a:cubicBezTo>
                  <a:pt x="2137390" y="866065"/>
                  <a:pt x="2141170" y="876565"/>
                  <a:pt x="2146209" y="885384"/>
                </a:cubicBezTo>
                <a:cubicBezTo>
                  <a:pt x="2151249" y="894204"/>
                  <a:pt x="2160069" y="899244"/>
                  <a:pt x="2173088" y="900084"/>
                </a:cubicBezTo>
                <a:cubicBezTo>
                  <a:pt x="2182328" y="900924"/>
                  <a:pt x="2190727" y="899664"/>
                  <a:pt x="2197867" y="895884"/>
                </a:cubicBezTo>
                <a:cubicBezTo>
                  <a:pt x="2205007" y="892104"/>
                  <a:pt x="2211307" y="887065"/>
                  <a:pt x="2215926" y="880765"/>
                </a:cubicBezTo>
                <a:cubicBezTo>
                  <a:pt x="2220546" y="874465"/>
                  <a:pt x="2223906" y="866905"/>
                  <a:pt x="2226006" y="858926"/>
                </a:cubicBezTo>
                <a:cubicBezTo>
                  <a:pt x="2227686" y="850526"/>
                  <a:pt x="2228106" y="842126"/>
                  <a:pt x="2226846" y="833727"/>
                </a:cubicBezTo>
                <a:cubicBezTo>
                  <a:pt x="2226426" y="829527"/>
                  <a:pt x="2224746" y="825327"/>
                  <a:pt x="2221386" y="819867"/>
                </a:cubicBezTo>
                <a:cubicBezTo>
                  <a:pt x="2218446" y="814828"/>
                  <a:pt x="2214666" y="808948"/>
                  <a:pt x="2210886" y="803068"/>
                </a:cubicBezTo>
                <a:cubicBezTo>
                  <a:pt x="2206687" y="797188"/>
                  <a:pt x="2203327" y="790469"/>
                  <a:pt x="2199547" y="783749"/>
                </a:cubicBezTo>
                <a:cubicBezTo>
                  <a:pt x="2196187" y="777029"/>
                  <a:pt x="2193667" y="769889"/>
                  <a:pt x="2191987" y="762330"/>
                </a:cubicBezTo>
                <a:cubicBezTo>
                  <a:pt x="2191147" y="756870"/>
                  <a:pt x="2189467" y="749730"/>
                  <a:pt x="2187787" y="742171"/>
                </a:cubicBezTo>
                <a:cubicBezTo>
                  <a:pt x="2185688" y="734191"/>
                  <a:pt x="2184008" y="726211"/>
                  <a:pt x="2181908" y="718652"/>
                </a:cubicBezTo>
                <a:cubicBezTo>
                  <a:pt x="2179808" y="710672"/>
                  <a:pt x="2177708" y="702692"/>
                  <a:pt x="2175608" y="695133"/>
                </a:cubicBezTo>
                <a:cubicBezTo>
                  <a:pt x="2173508" y="687573"/>
                  <a:pt x="2171828" y="680853"/>
                  <a:pt x="2170568" y="674553"/>
                </a:cubicBezTo>
                <a:cubicBezTo>
                  <a:pt x="2168048" y="663634"/>
                  <a:pt x="2165948" y="653135"/>
                  <a:pt x="2163848" y="643475"/>
                </a:cubicBezTo>
                <a:cubicBezTo>
                  <a:pt x="2161748" y="633815"/>
                  <a:pt x="2159229" y="624156"/>
                  <a:pt x="2156289" y="614916"/>
                </a:cubicBezTo>
                <a:cubicBezTo>
                  <a:pt x="2153349" y="605677"/>
                  <a:pt x="2149989" y="596017"/>
                  <a:pt x="2146209" y="586777"/>
                </a:cubicBezTo>
                <a:cubicBezTo>
                  <a:pt x="2142429" y="577538"/>
                  <a:pt x="2137390" y="567458"/>
                  <a:pt x="2131930" y="556539"/>
                </a:cubicBezTo>
                <a:cubicBezTo>
                  <a:pt x="2129410" y="551079"/>
                  <a:pt x="2125210" y="545199"/>
                  <a:pt x="2120590" y="538479"/>
                </a:cubicBezTo>
                <a:cubicBezTo>
                  <a:pt x="2115971" y="531760"/>
                  <a:pt x="2110091" y="525460"/>
                  <a:pt x="2103791" y="520420"/>
                </a:cubicBezTo>
                <a:cubicBezTo>
                  <a:pt x="2097491" y="514960"/>
                  <a:pt x="2090772" y="511601"/>
                  <a:pt x="2083632" y="509501"/>
                </a:cubicBezTo>
                <a:cubicBezTo>
                  <a:pt x="2076492" y="507821"/>
                  <a:pt x="2069352" y="509501"/>
                  <a:pt x="2062213" y="514540"/>
                </a:cubicBezTo>
                <a:cubicBezTo>
                  <a:pt x="2058853" y="517060"/>
                  <a:pt x="2055493" y="522100"/>
                  <a:pt x="2051713" y="529240"/>
                </a:cubicBezTo>
                <a:cubicBezTo>
                  <a:pt x="2047933" y="536380"/>
                  <a:pt x="2044574" y="544359"/>
                  <a:pt x="2041634" y="553179"/>
                </a:cubicBezTo>
                <a:cubicBezTo>
                  <a:pt x="2038274" y="561579"/>
                  <a:pt x="2035334" y="569978"/>
                  <a:pt x="2032394" y="577958"/>
                </a:cubicBezTo>
                <a:cubicBezTo>
                  <a:pt x="2029454" y="585937"/>
                  <a:pt x="2027354" y="591817"/>
                  <a:pt x="2025674" y="596017"/>
                </a:cubicBezTo>
                <a:cubicBezTo>
                  <a:pt x="2023154" y="601897"/>
                  <a:pt x="2019375" y="609876"/>
                  <a:pt x="2014755" y="619116"/>
                </a:cubicBezTo>
                <a:cubicBezTo>
                  <a:pt x="2010135" y="628776"/>
                  <a:pt x="2005515" y="638435"/>
                  <a:pt x="2001316" y="648515"/>
                </a:cubicBezTo>
                <a:cubicBezTo>
                  <a:pt x="1997116" y="658594"/>
                  <a:pt x="1993336" y="668674"/>
                  <a:pt x="1990396" y="678333"/>
                </a:cubicBezTo>
                <a:cubicBezTo>
                  <a:pt x="1987456" y="687993"/>
                  <a:pt x="1986196" y="695553"/>
                  <a:pt x="1986196" y="701432"/>
                </a:cubicBezTo>
                <a:cubicBezTo>
                  <a:pt x="1980736" y="714452"/>
                  <a:pt x="1974437" y="727891"/>
                  <a:pt x="1966457" y="742171"/>
                </a:cubicBezTo>
                <a:cubicBezTo>
                  <a:pt x="1958477" y="756450"/>
                  <a:pt x="1950918" y="771149"/>
                  <a:pt x="1943778" y="786269"/>
                </a:cubicBezTo>
                <a:cubicBezTo>
                  <a:pt x="1936638" y="801388"/>
                  <a:pt x="1930758" y="816927"/>
                  <a:pt x="1926139" y="832887"/>
                </a:cubicBezTo>
                <a:cubicBezTo>
                  <a:pt x="1921519" y="848846"/>
                  <a:pt x="1919839" y="865225"/>
                  <a:pt x="1921519" y="881605"/>
                </a:cubicBezTo>
                <a:cubicBezTo>
                  <a:pt x="1922359" y="890424"/>
                  <a:pt x="1924459" y="898824"/>
                  <a:pt x="1927819" y="906804"/>
                </a:cubicBezTo>
                <a:cubicBezTo>
                  <a:pt x="1931178" y="914783"/>
                  <a:pt x="1935798" y="921923"/>
                  <a:pt x="1941678" y="927803"/>
                </a:cubicBezTo>
                <a:cubicBezTo>
                  <a:pt x="1950078" y="933263"/>
                  <a:pt x="1957217" y="934942"/>
                  <a:pt x="1963097" y="933263"/>
                </a:cubicBezTo>
                <a:moveTo>
                  <a:pt x="2089512" y="624576"/>
                </a:moveTo>
                <a:cubicBezTo>
                  <a:pt x="2089092" y="630036"/>
                  <a:pt x="2089932" y="638015"/>
                  <a:pt x="2092451" y="648095"/>
                </a:cubicBezTo>
                <a:cubicBezTo>
                  <a:pt x="2094971" y="658174"/>
                  <a:pt x="2097491" y="668674"/>
                  <a:pt x="2100011" y="679173"/>
                </a:cubicBezTo>
                <a:cubicBezTo>
                  <a:pt x="2102531" y="689673"/>
                  <a:pt x="2104631" y="699752"/>
                  <a:pt x="2106311" y="709412"/>
                </a:cubicBezTo>
                <a:cubicBezTo>
                  <a:pt x="2107571" y="719072"/>
                  <a:pt x="2107571" y="725791"/>
                  <a:pt x="2105891" y="730411"/>
                </a:cubicBezTo>
                <a:cubicBezTo>
                  <a:pt x="2103791" y="731671"/>
                  <a:pt x="2099171" y="732931"/>
                  <a:pt x="2091192" y="734191"/>
                </a:cubicBezTo>
                <a:cubicBezTo>
                  <a:pt x="2083632" y="735451"/>
                  <a:pt x="2075652" y="736711"/>
                  <a:pt x="2067673" y="737551"/>
                </a:cubicBezTo>
                <a:cubicBezTo>
                  <a:pt x="2059693" y="738391"/>
                  <a:pt x="2052133" y="738811"/>
                  <a:pt x="2045834" y="738811"/>
                </a:cubicBezTo>
                <a:cubicBezTo>
                  <a:pt x="2039534" y="738811"/>
                  <a:pt x="2036594" y="737971"/>
                  <a:pt x="2037014" y="735871"/>
                </a:cubicBezTo>
                <a:cubicBezTo>
                  <a:pt x="2042474" y="718652"/>
                  <a:pt x="2049193" y="700173"/>
                  <a:pt x="2056333" y="679593"/>
                </a:cubicBezTo>
                <a:cubicBezTo>
                  <a:pt x="2063893" y="659014"/>
                  <a:pt x="2072292" y="640955"/>
                  <a:pt x="2081532" y="624996"/>
                </a:cubicBezTo>
                <a:lnTo>
                  <a:pt x="2089512" y="624576"/>
                </a:lnTo>
                <a:close/>
                <a:moveTo>
                  <a:pt x="2428437" y="757710"/>
                </a:moveTo>
                <a:cubicBezTo>
                  <a:pt x="2432637" y="758550"/>
                  <a:pt x="2436417" y="759390"/>
                  <a:pt x="2439777" y="760650"/>
                </a:cubicBezTo>
                <a:cubicBezTo>
                  <a:pt x="2449016" y="763590"/>
                  <a:pt x="2459096" y="767370"/>
                  <a:pt x="2470435" y="771989"/>
                </a:cubicBezTo>
                <a:cubicBezTo>
                  <a:pt x="2481775" y="776609"/>
                  <a:pt x="2491014" y="782489"/>
                  <a:pt x="2498574" y="790049"/>
                </a:cubicBezTo>
                <a:cubicBezTo>
                  <a:pt x="2505294" y="796348"/>
                  <a:pt x="2512854" y="803068"/>
                  <a:pt x="2521253" y="809368"/>
                </a:cubicBezTo>
                <a:cubicBezTo>
                  <a:pt x="2529653" y="815668"/>
                  <a:pt x="2538472" y="821547"/>
                  <a:pt x="2548132" y="826167"/>
                </a:cubicBezTo>
                <a:cubicBezTo>
                  <a:pt x="2557372" y="830787"/>
                  <a:pt x="2567451" y="834567"/>
                  <a:pt x="2577531" y="837087"/>
                </a:cubicBezTo>
                <a:cubicBezTo>
                  <a:pt x="2587610" y="839607"/>
                  <a:pt x="2598110" y="840446"/>
                  <a:pt x="2608609" y="839186"/>
                </a:cubicBezTo>
                <a:cubicBezTo>
                  <a:pt x="2617849" y="838346"/>
                  <a:pt x="2626669" y="835407"/>
                  <a:pt x="2634648" y="830787"/>
                </a:cubicBezTo>
                <a:cubicBezTo>
                  <a:pt x="2642208" y="826587"/>
                  <a:pt x="2647668" y="821967"/>
                  <a:pt x="2651027" y="816087"/>
                </a:cubicBezTo>
                <a:cubicBezTo>
                  <a:pt x="2654388" y="810208"/>
                  <a:pt x="2655227" y="804328"/>
                  <a:pt x="2654388" y="798868"/>
                </a:cubicBezTo>
                <a:cubicBezTo>
                  <a:pt x="2653547" y="792988"/>
                  <a:pt x="2650608" y="787529"/>
                  <a:pt x="2645988" y="782489"/>
                </a:cubicBezTo>
                <a:cubicBezTo>
                  <a:pt x="2641368" y="777449"/>
                  <a:pt x="2635488" y="773249"/>
                  <a:pt x="2627509" y="769889"/>
                </a:cubicBezTo>
                <a:cubicBezTo>
                  <a:pt x="2624149" y="768630"/>
                  <a:pt x="2620789" y="768630"/>
                  <a:pt x="2616589" y="769049"/>
                </a:cubicBezTo>
                <a:cubicBezTo>
                  <a:pt x="2612809" y="769889"/>
                  <a:pt x="2609449" y="768630"/>
                  <a:pt x="2606509" y="766110"/>
                </a:cubicBezTo>
                <a:cubicBezTo>
                  <a:pt x="2597270" y="758970"/>
                  <a:pt x="2588030" y="752670"/>
                  <a:pt x="2577951" y="746790"/>
                </a:cubicBezTo>
                <a:cubicBezTo>
                  <a:pt x="2567871" y="740911"/>
                  <a:pt x="2557792" y="735451"/>
                  <a:pt x="2547712" y="729991"/>
                </a:cubicBezTo>
                <a:cubicBezTo>
                  <a:pt x="2537212" y="724531"/>
                  <a:pt x="2527133" y="719492"/>
                  <a:pt x="2516633" y="714032"/>
                </a:cubicBezTo>
                <a:cubicBezTo>
                  <a:pt x="2506554" y="708572"/>
                  <a:pt x="2496474" y="702692"/>
                  <a:pt x="2487234" y="695973"/>
                </a:cubicBezTo>
                <a:cubicBezTo>
                  <a:pt x="2498994" y="695553"/>
                  <a:pt x="2509914" y="690933"/>
                  <a:pt x="2519573" y="682953"/>
                </a:cubicBezTo>
                <a:cubicBezTo>
                  <a:pt x="2529233" y="674553"/>
                  <a:pt x="2537212" y="664054"/>
                  <a:pt x="2543932" y="650615"/>
                </a:cubicBezTo>
                <a:cubicBezTo>
                  <a:pt x="2550652" y="637175"/>
                  <a:pt x="2555692" y="622476"/>
                  <a:pt x="2559471" y="606517"/>
                </a:cubicBezTo>
                <a:cubicBezTo>
                  <a:pt x="2563251" y="590557"/>
                  <a:pt x="2564931" y="574598"/>
                  <a:pt x="2565351" y="558639"/>
                </a:cubicBezTo>
                <a:cubicBezTo>
                  <a:pt x="2565771" y="542679"/>
                  <a:pt x="2564091" y="527980"/>
                  <a:pt x="2560731" y="514121"/>
                </a:cubicBezTo>
                <a:cubicBezTo>
                  <a:pt x="2557372" y="500261"/>
                  <a:pt x="2551912" y="489342"/>
                  <a:pt x="2543932" y="480522"/>
                </a:cubicBezTo>
                <a:cubicBezTo>
                  <a:pt x="2536372" y="472122"/>
                  <a:pt x="2526713" y="467083"/>
                  <a:pt x="2514533" y="465403"/>
                </a:cubicBezTo>
                <a:cubicBezTo>
                  <a:pt x="2502354" y="463723"/>
                  <a:pt x="2488075" y="467502"/>
                  <a:pt x="2471695" y="476742"/>
                </a:cubicBezTo>
                <a:cubicBezTo>
                  <a:pt x="2468335" y="476322"/>
                  <a:pt x="2464556" y="477582"/>
                  <a:pt x="2460776" y="480522"/>
                </a:cubicBezTo>
                <a:cubicBezTo>
                  <a:pt x="2456996" y="483462"/>
                  <a:pt x="2453216" y="487242"/>
                  <a:pt x="2449856" y="491441"/>
                </a:cubicBezTo>
                <a:cubicBezTo>
                  <a:pt x="2446076" y="495641"/>
                  <a:pt x="2442717" y="500261"/>
                  <a:pt x="2439357" y="504881"/>
                </a:cubicBezTo>
                <a:cubicBezTo>
                  <a:pt x="2435997" y="509501"/>
                  <a:pt x="2432637" y="513281"/>
                  <a:pt x="2430117" y="515800"/>
                </a:cubicBezTo>
                <a:cubicBezTo>
                  <a:pt x="2427177" y="518740"/>
                  <a:pt x="2423817" y="520840"/>
                  <a:pt x="2420037" y="522100"/>
                </a:cubicBezTo>
                <a:cubicBezTo>
                  <a:pt x="2416258" y="523780"/>
                  <a:pt x="2412898" y="525040"/>
                  <a:pt x="2409958" y="526720"/>
                </a:cubicBezTo>
                <a:cubicBezTo>
                  <a:pt x="2407018" y="528400"/>
                  <a:pt x="2404078" y="530080"/>
                  <a:pt x="2401558" y="532600"/>
                </a:cubicBezTo>
                <a:cubicBezTo>
                  <a:pt x="2399038" y="534700"/>
                  <a:pt x="2397359" y="538479"/>
                  <a:pt x="2396938" y="543099"/>
                </a:cubicBezTo>
                <a:cubicBezTo>
                  <a:pt x="2394838" y="554859"/>
                  <a:pt x="2392319" y="566198"/>
                  <a:pt x="2388959" y="576698"/>
                </a:cubicBezTo>
                <a:cubicBezTo>
                  <a:pt x="2385599" y="587197"/>
                  <a:pt x="2382239" y="597697"/>
                  <a:pt x="2378459" y="608196"/>
                </a:cubicBezTo>
                <a:cubicBezTo>
                  <a:pt x="2374679" y="618696"/>
                  <a:pt x="2370900" y="629195"/>
                  <a:pt x="2367120" y="639695"/>
                </a:cubicBezTo>
                <a:cubicBezTo>
                  <a:pt x="2363340" y="650195"/>
                  <a:pt x="2359980" y="661114"/>
                  <a:pt x="2356620" y="672454"/>
                </a:cubicBezTo>
                <a:cubicBezTo>
                  <a:pt x="2352420" y="685893"/>
                  <a:pt x="2349061" y="700173"/>
                  <a:pt x="2346961" y="714452"/>
                </a:cubicBezTo>
                <a:cubicBezTo>
                  <a:pt x="2344861" y="728731"/>
                  <a:pt x="2342341" y="742591"/>
                  <a:pt x="2338561" y="755610"/>
                </a:cubicBezTo>
                <a:cubicBezTo>
                  <a:pt x="2337301" y="760230"/>
                  <a:pt x="2335201" y="767790"/>
                  <a:pt x="2332261" y="779129"/>
                </a:cubicBezTo>
                <a:cubicBezTo>
                  <a:pt x="2329321" y="790469"/>
                  <a:pt x="2325962" y="803068"/>
                  <a:pt x="2323022" y="817347"/>
                </a:cubicBezTo>
                <a:cubicBezTo>
                  <a:pt x="2319662" y="831627"/>
                  <a:pt x="2317142" y="846326"/>
                  <a:pt x="2315042" y="861445"/>
                </a:cubicBezTo>
                <a:cubicBezTo>
                  <a:pt x="2312942" y="876565"/>
                  <a:pt x="2312522" y="890424"/>
                  <a:pt x="2313782" y="902604"/>
                </a:cubicBezTo>
                <a:cubicBezTo>
                  <a:pt x="2315042" y="914783"/>
                  <a:pt x="2317982" y="924863"/>
                  <a:pt x="2323022" y="932003"/>
                </a:cubicBezTo>
                <a:cubicBezTo>
                  <a:pt x="2328061" y="939562"/>
                  <a:pt x="2336461" y="942502"/>
                  <a:pt x="2347381" y="941662"/>
                </a:cubicBezTo>
                <a:cubicBezTo>
                  <a:pt x="2355780" y="940822"/>
                  <a:pt x="2362080" y="937882"/>
                  <a:pt x="2367120" y="932842"/>
                </a:cubicBezTo>
                <a:cubicBezTo>
                  <a:pt x="2372160" y="927803"/>
                  <a:pt x="2375939" y="921923"/>
                  <a:pt x="2378459" y="914783"/>
                </a:cubicBezTo>
                <a:cubicBezTo>
                  <a:pt x="2381399" y="907643"/>
                  <a:pt x="2382659" y="899664"/>
                  <a:pt x="2383499" y="891264"/>
                </a:cubicBezTo>
                <a:cubicBezTo>
                  <a:pt x="2384339" y="882865"/>
                  <a:pt x="2384759" y="874465"/>
                  <a:pt x="2384339" y="866485"/>
                </a:cubicBezTo>
                <a:cubicBezTo>
                  <a:pt x="2384339" y="859766"/>
                  <a:pt x="2385599" y="850946"/>
                  <a:pt x="2388119" y="840446"/>
                </a:cubicBezTo>
                <a:cubicBezTo>
                  <a:pt x="2390639" y="829947"/>
                  <a:pt x="2393579" y="819027"/>
                  <a:pt x="2396938" y="808108"/>
                </a:cubicBezTo>
                <a:cubicBezTo>
                  <a:pt x="2400718" y="796768"/>
                  <a:pt x="2404498" y="786269"/>
                  <a:pt x="2408698" y="775349"/>
                </a:cubicBezTo>
                <a:cubicBezTo>
                  <a:pt x="2412898" y="764850"/>
                  <a:pt x="2416678" y="755610"/>
                  <a:pt x="2420458" y="748470"/>
                </a:cubicBezTo>
                <a:cubicBezTo>
                  <a:pt x="2421717" y="754350"/>
                  <a:pt x="2424237" y="756870"/>
                  <a:pt x="2428437" y="757710"/>
                </a:cubicBezTo>
                <a:moveTo>
                  <a:pt x="2460776" y="649355"/>
                </a:moveTo>
                <a:cubicBezTo>
                  <a:pt x="2458256" y="653135"/>
                  <a:pt x="2455316" y="656494"/>
                  <a:pt x="2452376" y="659434"/>
                </a:cubicBezTo>
                <a:cubicBezTo>
                  <a:pt x="2449436" y="661954"/>
                  <a:pt x="2446496" y="664054"/>
                  <a:pt x="2443976" y="664894"/>
                </a:cubicBezTo>
                <a:cubicBezTo>
                  <a:pt x="2441036" y="665734"/>
                  <a:pt x="2438937" y="665314"/>
                  <a:pt x="2437257" y="663214"/>
                </a:cubicBezTo>
                <a:cubicBezTo>
                  <a:pt x="2433477" y="659434"/>
                  <a:pt x="2432637" y="653554"/>
                  <a:pt x="2434317" y="645995"/>
                </a:cubicBezTo>
                <a:cubicBezTo>
                  <a:pt x="2435997" y="638435"/>
                  <a:pt x="2438937" y="630876"/>
                  <a:pt x="2443557" y="622476"/>
                </a:cubicBezTo>
                <a:cubicBezTo>
                  <a:pt x="2447756" y="614076"/>
                  <a:pt x="2452796" y="606937"/>
                  <a:pt x="2458256" y="600217"/>
                </a:cubicBezTo>
                <a:cubicBezTo>
                  <a:pt x="2463716" y="593497"/>
                  <a:pt x="2468335" y="588877"/>
                  <a:pt x="2472115" y="586357"/>
                </a:cubicBezTo>
                <a:cubicBezTo>
                  <a:pt x="2472115" y="595177"/>
                  <a:pt x="2472535" y="603997"/>
                  <a:pt x="2472955" y="612396"/>
                </a:cubicBezTo>
                <a:cubicBezTo>
                  <a:pt x="2473375" y="620796"/>
                  <a:pt x="2471275" y="629195"/>
                  <a:pt x="2467075" y="638015"/>
                </a:cubicBezTo>
                <a:cubicBezTo>
                  <a:pt x="2465396" y="641375"/>
                  <a:pt x="2463296" y="645575"/>
                  <a:pt x="2460776" y="649355"/>
                </a:cubicBezTo>
                <a:moveTo>
                  <a:pt x="2831200" y="496901"/>
                </a:moveTo>
                <a:cubicBezTo>
                  <a:pt x="2816500" y="506141"/>
                  <a:pt x="2803061" y="517480"/>
                  <a:pt x="2790882" y="531340"/>
                </a:cubicBezTo>
                <a:cubicBezTo>
                  <a:pt x="2778702" y="545199"/>
                  <a:pt x="2767783" y="560738"/>
                  <a:pt x="2758543" y="578378"/>
                </a:cubicBezTo>
                <a:cubicBezTo>
                  <a:pt x="2748883" y="595597"/>
                  <a:pt x="2741324" y="613656"/>
                  <a:pt x="2735444" y="631716"/>
                </a:cubicBezTo>
                <a:cubicBezTo>
                  <a:pt x="2729564" y="650195"/>
                  <a:pt x="2725784" y="668254"/>
                  <a:pt x="2723685" y="685893"/>
                </a:cubicBezTo>
                <a:cubicBezTo>
                  <a:pt x="2722004" y="703532"/>
                  <a:pt x="2722424" y="719492"/>
                  <a:pt x="2725364" y="734191"/>
                </a:cubicBezTo>
                <a:cubicBezTo>
                  <a:pt x="2728304" y="752250"/>
                  <a:pt x="2735864" y="769049"/>
                  <a:pt x="2748043" y="784169"/>
                </a:cubicBezTo>
                <a:cubicBezTo>
                  <a:pt x="2760223" y="799288"/>
                  <a:pt x="2774082" y="810208"/>
                  <a:pt x="2790882" y="817767"/>
                </a:cubicBezTo>
                <a:cubicBezTo>
                  <a:pt x="2807261" y="825327"/>
                  <a:pt x="2824900" y="828267"/>
                  <a:pt x="2843799" y="826587"/>
                </a:cubicBezTo>
                <a:cubicBezTo>
                  <a:pt x="2862698" y="824907"/>
                  <a:pt x="2880338" y="816927"/>
                  <a:pt x="2896297" y="802648"/>
                </a:cubicBezTo>
                <a:cubicBezTo>
                  <a:pt x="2901757" y="798028"/>
                  <a:pt x="2908056" y="793409"/>
                  <a:pt x="2915616" y="788789"/>
                </a:cubicBezTo>
                <a:cubicBezTo>
                  <a:pt x="2923176" y="784169"/>
                  <a:pt x="2930315" y="779129"/>
                  <a:pt x="2937455" y="773669"/>
                </a:cubicBezTo>
                <a:cubicBezTo>
                  <a:pt x="2944175" y="768210"/>
                  <a:pt x="2950055" y="761910"/>
                  <a:pt x="2954254" y="755190"/>
                </a:cubicBezTo>
                <a:cubicBezTo>
                  <a:pt x="2958454" y="748470"/>
                  <a:pt x="2960134" y="740071"/>
                  <a:pt x="2959294" y="730831"/>
                </a:cubicBezTo>
                <a:cubicBezTo>
                  <a:pt x="2958454" y="724112"/>
                  <a:pt x="2955514" y="719492"/>
                  <a:pt x="2949635" y="717392"/>
                </a:cubicBezTo>
                <a:cubicBezTo>
                  <a:pt x="2943755" y="715292"/>
                  <a:pt x="2937035" y="714872"/>
                  <a:pt x="2929056" y="715712"/>
                </a:cubicBezTo>
                <a:cubicBezTo>
                  <a:pt x="2921076" y="716552"/>
                  <a:pt x="2912256" y="718652"/>
                  <a:pt x="2903017" y="721592"/>
                </a:cubicBezTo>
                <a:cubicBezTo>
                  <a:pt x="2893777" y="724531"/>
                  <a:pt x="2884538" y="727471"/>
                  <a:pt x="2876138" y="731251"/>
                </a:cubicBezTo>
                <a:cubicBezTo>
                  <a:pt x="2867738" y="734611"/>
                  <a:pt x="2860599" y="737971"/>
                  <a:pt x="2854299" y="740911"/>
                </a:cubicBezTo>
                <a:cubicBezTo>
                  <a:pt x="2847999" y="743851"/>
                  <a:pt x="2844219" y="745111"/>
                  <a:pt x="2842539" y="745531"/>
                </a:cubicBezTo>
                <a:cubicBezTo>
                  <a:pt x="2831200" y="748050"/>
                  <a:pt x="2822380" y="746790"/>
                  <a:pt x="2816081" y="743011"/>
                </a:cubicBezTo>
                <a:cubicBezTo>
                  <a:pt x="2809781" y="739231"/>
                  <a:pt x="2805161" y="733351"/>
                  <a:pt x="2802641" y="726211"/>
                </a:cubicBezTo>
                <a:cubicBezTo>
                  <a:pt x="2800121" y="718652"/>
                  <a:pt x="2798861" y="710252"/>
                  <a:pt x="2798861" y="700173"/>
                </a:cubicBezTo>
                <a:cubicBezTo>
                  <a:pt x="2799281" y="690093"/>
                  <a:pt x="2800541" y="680013"/>
                  <a:pt x="2802641" y="670354"/>
                </a:cubicBezTo>
                <a:cubicBezTo>
                  <a:pt x="2804741" y="660694"/>
                  <a:pt x="2807681" y="651035"/>
                  <a:pt x="2810621" y="642635"/>
                </a:cubicBezTo>
                <a:cubicBezTo>
                  <a:pt x="2813561" y="633815"/>
                  <a:pt x="2816920" y="627096"/>
                  <a:pt x="2819860" y="622056"/>
                </a:cubicBezTo>
                <a:cubicBezTo>
                  <a:pt x="2826160" y="610716"/>
                  <a:pt x="2832880" y="600217"/>
                  <a:pt x="2838759" y="590137"/>
                </a:cubicBezTo>
                <a:cubicBezTo>
                  <a:pt x="2844639" y="580058"/>
                  <a:pt x="2851779" y="572078"/>
                  <a:pt x="2860179" y="566198"/>
                </a:cubicBezTo>
                <a:cubicBezTo>
                  <a:pt x="2868158" y="559898"/>
                  <a:pt x="2877818" y="556539"/>
                  <a:pt x="2889157" y="555279"/>
                </a:cubicBezTo>
                <a:cubicBezTo>
                  <a:pt x="2900497" y="554439"/>
                  <a:pt x="2914356" y="556959"/>
                  <a:pt x="2931576" y="563258"/>
                </a:cubicBezTo>
                <a:cubicBezTo>
                  <a:pt x="2938295" y="561998"/>
                  <a:pt x="2943335" y="559058"/>
                  <a:pt x="2946275" y="554859"/>
                </a:cubicBezTo>
                <a:cubicBezTo>
                  <a:pt x="2949215" y="550659"/>
                  <a:pt x="2950895" y="546039"/>
                  <a:pt x="2951735" y="540579"/>
                </a:cubicBezTo>
                <a:cubicBezTo>
                  <a:pt x="2952155" y="535120"/>
                  <a:pt x="2951735" y="529240"/>
                  <a:pt x="2950475" y="523360"/>
                </a:cubicBezTo>
                <a:cubicBezTo>
                  <a:pt x="2949215" y="517480"/>
                  <a:pt x="2947115" y="511601"/>
                  <a:pt x="2945015" y="506561"/>
                </a:cubicBezTo>
                <a:cubicBezTo>
                  <a:pt x="2942495" y="501101"/>
                  <a:pt x="2939135" y="496481"/>
                  <a:pt x="2933676" y="493121"/>
                </a:cubicBezTo>
                <a:cubicBezTo>
                  <a:pt x="2928636" y="489761"/>
                  <a:pt x="2922756" y="486822"/>
                  <a:pt x="2916456" y="485142"/>
                </a:cubicBezTo>
                <a:cubicBezTo>
                  <a:pt x="2910156" y="483462"/>
                  <a:pt x="2903437" y="482202"/>
                  <a:pt x="2896717" y="481362"/>
                </a:cubicBezTo>
                <a:cubicBezTo>
                  <a:pt x="2889997" y="480942"/>
                  <a:pt x="2883698" y="480942"/>
                  <a:pt x="2878238" y="481362"/>
                </a:cubicBezTo>
                <a:cubicBezTo>
                  <a:pt x="2861018" y="482202"/>
                  <a:pt x="2845899" y="487662"/>
                  <a:pt x="2831200" y="496901"/>
                </a:cubicBezTo>
                <a:moveTo>
                  <a:pt x="3248662" y="421725"/>
                </a:moveTo>
                <a:cubicBezTo>
                  <a:pt x="3238582" y="427604"/>
                  <a:pt x="3232283" y="437264"/>
                  <a:pt x="3229763" y="451543"/>
                </a:cubicBezTo>
                <a:cubicBezTo>
                  <a:pt x="3227663" y="461623"/>
                  <a:pt x="3226403" y="471702"/>
                  <a:pt x="3225983" y="481362"/>
                </a:cubicBezTo>
                <a:cubicBezTo>
                  <a:pt x="3225563" y="491022"/>
                  <a:pt x="3225143" y="500681"/>
                  <a:pt x="3224723" y="510341"/>
                </a:cubicBezTo>
                <a:cubicBezTo>
                  <a:pt x="3224303" y="520000"/>
                  <a:pt x="3223883" y="529660"/>
                  <a:pt x="3223043" y="539739"/>
                </a:cubicBezTo>
                <a:cubicBezTo>
                  <a:pt x="3222203" y="549399"/>
                  <a:pt x="3220103" y="559058"/>
                  <a:pt x="3217163" y="568298"/>
                </a:cubicBezTo>
                <a:cubicBezTo>
                  <a:pt x="3213383" y="569138"/>
                  <a:pt x="3207924" y="569978"/>
                  <a:pt x="3201204" y="571238"/>
                </a:cubicBezTo>
                <a:cubicBezTo>
                  <a:pt x="3194484" y="572078"/>
                  <a:pt x="3187344" y="573338"/>
                  <a:pt x="3180625" y="574178"/>
                </a:cubicBezTo>
                <a:cubicBezTo>
                  <a:pt x="3173485" y="575018"/>
                  <a:pt x="3167185" y="575858"/>
                  <a:pt x="3160466" y="576278"/>
                </a:cubicBezTo>
                <a:cubicBezTo>
                  <a:pt x="3154166" y="576698"/>
                  <a:pt x="3149546" y="576698"/>
                  <a:pt x="3146186" y="576278"/>
                </a:cubicBezTo>
                <a:cubicBezTo>
                  <a:pt x="3143246" y="566198"/>
                  <a:pt x="3141567" y="556539"/>
                  <a:pt x="3141567" y="547719"/>
                </a:cubicBezTo>
                <a:cubicBezTo>
                  <a:pt x="3141146" y="538899"/>
                  <a:pt x="3141567" y="530500"/>
                  <a:pt x="3142406" y="522520"/>
                </a:cubicBezTo>
                <a:cubicBezTo>
                  <a:pt x="3143246" y="514540"/>
                  <a:pt x="3144086" y="506141"/>
                  <a:pt x="3144926" y="497741"/>
                </a:cubicBezTo>
                <a:cubicBezTo>
                  <a:pt x="3145766" y="489342"/>
                  <a:pt x="3146186" y="480102"/>
                  <a:pt x="3145766" y="470442"/>
                </a:cubicBezTo>
                <a:cubicBezTo>
                  <a:pt x="3145766" y="466243"/>
                  <a:pt x="3143666" y="462043"/>
                  <a:pt x="3139887" y="458683"/>
                </a:cubicBezTo>
                <a:cubicBezTo>
                  <a:pt x="3136107" y="454903"/>
                  <a:pt x="3131907" y="451963"/>
                  <a:pt x="3126867" y="449863"/>
                </a:cubicBezTo>
                <a:cubicBezTo>
                  <a:pt x="3121827" y="447763"/>
                  <a:pt x="3116788" y="446083"/>
                  <a:pt x="3111328" y="445663"/>
                </a:cubicBezTo>
                <a:cubicBezTo>
                  <a:pt x="3105868" y="444824"/>
                  <a:pt x="3101668" y="445243"/>
                  <a:pt x="3098728" y="446923"/>
                </a:cubicBezTo>
                <a:cubicBezTo>
                  <a:pt x="3092849" y="449443"/>
                  <a:pt x="3088229" y="454483"/>
                  <a:pt x="3085289" y="462043"/>
                </a:cubicBezTo>
                <a:cubicBezTo>
                  <a:pt x="3082349" y="469602"/>
                  <a:pt x="3080249" y="478002"/>
                  <a:pt x="3078989" y="487242"/>
                </a:cubicBezTo>
                <a:cubicBezTo>
                  <a:pt x="3077729" y="496481"/>
                  <a:pt x="3077309" y="505301"/>
                  <a:pt x="3077729" y="514121"/>
                </a:cubicBezTo>
                <a:cubicBezTo>
                  <a:pt x="3078149" y="522940"/>
                  <a:pt x="3078569" y="529660"/>
                  <a:pt x="3078989" y="534280"/>
                </a:cubicBezTo>
                <a:cubicBezTo>
                  <a:pt x="3080249" y="544359"/>
                  <a:pt x="3080669" y="554439"/>
                  <a:pt x="3079829" y="564098"/>
                </a:cubicBezTo>
                <a:cubicBezTo>
                  <a:pt x="3078989" y="574178"/>
                  <a:pt x="3077729" y="583837"/>
                  <a:pt x="3076049" y="593917"/>
                </a:cubicBezTo>
                <a:cubicBezTo>
                  <a:pt x="3074789" y="603997"/>
                  <a:pt x="3073109" y="614076"/>
                  <a:pt x="3072270" y="624576"/>
                </a:cubicBezTo>
                <a:cubicBezTo>
                  <a:pt x="3071009" y="634655"/>
                  <a:pt x="3071009" y="645155"/>
                  <a:pt x="3071430" y="655234"/>
                </a:cubicBezTo>
                <a:cubicBezTo>
                  <a:pt x="3071849" y="659854"/>
                  <a:pt x="3072270" y="665734"/>
                  <a:pt x="3072689" y="672034"/>
                </a:cubicBezTo>
                <a:cubicBezTo>
                  <a:pt x="3073109" y="678333"/>
                  <a:pt x="3073109" y="685053"/>
                  <a:pt x="3073529" y="691353"/>
                </a:cubicBezTo>
                <a:cubicBezTo>
                  <a:pt x="3073529" y="698073"/>
                  <a:pt x="3073529" y="703952"/>
                  <a:pt x="3073949" y="709412"/>
                </a:cubicBezTo>
                <a:cubicBezTo>
                  <a:pt x="3073949" y="714872"/>
                  <a:pt x="3073529" y="719072"/>
                  <a:pt x="3072689" y="722012"/>
                </a:cubicBezTo>
                <a:cubicBezTo>
                  <a:pt x="3071849" y="724951"/>
                  <a:pt x="3071430" y="729151"/>
                  <a:pt x="3071849" y="734611"/>
                </a:cubicBezTo>
                <a:cubicBezTo>
                  <a:pt x="3071849" y="740071"/>
                  <a:pt x="3072689" y="745950"/>
                  <a:pt x="3073529" y="752250"/>
                </a:cubicBezTo>
                <a:cubicBezTo>
                  <a:pt x="3074369" y="758550"/>
                  <a:pt x="3075209" y="764430"/>
                  <a:pt x="3076469" y="769889"/>
                </a:cubicBezTo>
                <a:cubicBezTo>
                  <a:pt x="3077729" y="775349"/>
                  <a:pt x="3078989" y="779549"/>
                  <a:pt x="3080249" y="781649"/>
                </a:cubicBezTo>
                <a:cubicBezTo>
                  <a:pt x="3085289" y="791729"/>
                  <a:pt x="3092008" y="798868"/>
                  <a:pt x="3100408" y="803908"/>
                </a:cubicBezTo>
                <a:cubicBezTo>
                  <a:pt x="3108808" y="808528"/>
                  <a:pt x="3116788" y="810628"/>
                  <a:pt x="3125187" y="809788"/>
                </a:cubicBezTo>
                <a:cubicBezTo>
                  <a:pt x="3133167" y="808948"/>
                  <a:pt x="3140306" y="805168"/>
                  <a:pt x="3145766" y="798868"/>
                </a:cubicBezTo>
                <a:cubicBezTo>
                  <a:pt x="3151646" y="792569"/>
                  <a:pt x="3154166" y="782489"/>
                  <a:pt x="3153746" y="769470"/>
                </a:cubicBezTo>
                <a:cubicBezTo>
                  <a:pt x="3153746" y="764850"/>
                  <a:pt x="3153326" y="761490"/>
                  <a:pt x="3152486" y="758970"/>
                </a:cubicBezTo>
                <a:cubicBezTo>
                  <a:pt x="3152066" y="756870"/>
                  <a:pt x="3150806" y="754770"/>
                  <a:pt x="3149966" y="753090"/>
                </a:cubicBezTo>
                <a:cubicBezTo>
                  <a:pt x="3148706" y="751410"/>
                  <a:pt x="3147866" y="749730"/>
                  <a:pt x="3147026" y="747630"/>
                </a:cubicBezTo>
                <a:cubicBezTo>
                  <a:pt x="3146186" y="745531"/>
                  <a:pt x="3145346" y="742591"/>
                  <a:pt x="3144926" y="738391"/>
                </a:cubicBezTo>
                <a:cubicBezTo>
                  <a:pt x="3140727" y="710252"/>
                  <a:pt x="3139887" y="683373"/>
                  <a:pt x="3141986" y="657334"/>
                </a:cubicBezTo>
                <a:cubicBezTo>
                  <a:pt x="3155006" y="649775"/>
                  <a:pt x="3168025" y="644315"/>
                  <a:pt x="3181045" y="640955"/>
                </a:cubicBezTo>
                <a:cubicBezTo>
                  <a:pt x="3194064" y="637595"/>
                  <a:pt x="3207924" y="635495"/>
                  <a:pt x="3222623" y="634655"/>
                </a:cubicBezTo>
                <a:cubicBezTo>
                  <a:pt x="3223043" y="639275"/>
                  <a:pt x="3223463" y="643475"/>
                  <a:pt x="3224303" y="646835"/>
                </a:cubicBezTo>
                <a:cubicBezTo>
                  <a:pt x="3224723" y="650195"/>
                  <a:pt x="3224723" y="652715"/>
                  <a:pt x="3224723" y="653554"/>
                </a:cubicBezTo>
                <a:cubicBezTo>
                  <a:pt x="3226403" y="659434"/>
                  <a:pt x="3227243" y="665734"/>
                  <a:pt x="3226823" y="671614"/>
                </a:cubicBezTo>
                <a:cubicBezTo>
                  <a:pt x="3226403" y="677493"/>
                  <a:pt x="3225983" y="683793"/>
                  <a:pt x="3225563" y="689673"/>
                </a:cubicBezTo>
                <a:cubicBezTo>
                  <a:pt x="3225143" y="695553"/>
                  <a:pt x="3224723" y="701852"/>
                  <a:pt x="3224303" y="708152"/>
                </a:cubicBezTo>
                <a:cubicBezTo>
                  <a:pt x="3224303" y="714452"/>
                  <a:pt x="3225563" y="720332"/>
                  <a:pt x="3228503" y="726211"/>
                </a:cubicBezTo>
                <a:cubicBezTo>
                  <a:pt x="3230603" y="730411"/>
                  <a:pt x="3232702" y="735871"/>
                  <a:pt x="3235222" y="742171"/>
                </a:cubicBezTo>
                <a:cubicBezTo>
                  <a:pt x="3237742" y="748890"/>
                  <a:pt x="3241102" y="755190"/>
                  <a:pt x="3245302" y="760650"/>
                </a:cubicBezTo>
                <a:cubicBezTo>
                  <a:pt x="3249502" y="766530"/>
                  <a:pt x="3254122" y="771149"/>
                  <a:pt x="3260001" y="774089"/>
                </a:cubicBezTo>
                <a:cubicBezTo>
                  <a:pt x="3265461" y="777449"/>
                  <a:pt x="3272181" y="777449"/>
                  <a:pt x="3280161" y="774509"/>
                </a:cubicBezTo>
                <a:cubicBezTo>
                  <a:pt x="3282261" y="774089"/>
                  <a:pt x="3284780" y="772409"/>
                  <a:pt x="3287720" y="769889"/>
                </a:cubicBezTo>
                <a:cubicBezTo>
                  <a:pt x="3290660" y="767370"/>
                  <a:pt x="3293600" y="764010"/>
                  <a:pt x="3295700" y="759810"/>
                </a:cubicBezTo>
                <a:cubicBezTo>
                  <a:pt x="3298220" y="755610"/>
                  <a:pt x="3299900" y="750570"/>
                  <a:pt x="3301160" y="744271"/>
                </a:cubicBezTo>
                <a:cubicBezTo>
                  <a:pt x="3302420" y="738391"/>
                  <a:pt x="3302420" y="731251"/>
                  <a:pt x="3301160" y="723691"/>
                </a:cubicBezTo>
                <a:cubicBezTo>
                  <a:pt x="3299900" y="714872"/>
                  <a:pt x="3298640" y="707312"/>
                  <a:pt x="3298220" y="701432"/>
                </a:cubicBezTo>
                <a:cubicBezTo>
                  <a:pt x="3297380" y="695553"/>
                  <a:pt x="3296960" y="690093"/>
                  <a:pt x="3296540" y="685053"/>
                </a:cubicBezTo>
                <a:cubicBezTo>
                  <a:pt x="3296120" y="680013"/>
                  <a:pt x="3296120" y="674974"/>
                  <a:pt x="3295700" y="669514"/>
                </a:cubicBezTo>
                <a:cubicBezTo>
                  <a:pt x="3295700" y="664054"/>
                  <a:pt x="3295700" y="657754"/>
                  <a:pt x="3295700" y="650195"/>
                </a:cubicBezTo>
                <a:cubicBezTo>
                  <a:pt x="3295700" y="640535"/>
                  <a:pt x="3295280" y="631295"/>
                  <a:pt x="3294440" y="622056"/>
                </a:cubicBezTo>
                <a:cubicBezTo>
                  <a:pt x="3293600" y="612816"/>
                  <a:pt x="3292760" y="603157"/>
                  <a:pt x="3291920" y="593917"/>
                </a:cubicBezTo>
                <a:cubicBezTo>
                  <a:pt x="3291080" y="584678"/>
                  <a:pt x="3290660" y="575438"/>
                  <a:pt x="3290240" y="565778"/>
                </a:cubicBezTo>
                <a:cubicBezTo>
                  <a:pt x="3289820" y="556539"/>
                  <a:pt x="3289820" y="547299"/>
                  <a:pt x="3290660" y="537639"/>
                </a:cubicBezTo>
                <a:cubicBezTo>
                  <a:pt x="3290660" y="535120"/>
                  <a:pt x="3290660" y="530080"/>
                  <a:pt x="3290660" y="522940"/>
                </a:cubicBezTo>
                <a:cubicBezTo>
                  <a:pt x="3290660" y="515800"/>
                  <a:pt x="3290660" y="508241"/>
                  <a:pt x="3290240" y="500261"/>
                </a:cubicBezTo>
                <a:cubicBezTo>
                  <a:pt x="3290240" y="492281"/>
                  <a:pt x="3290240" y="484722"/>
                  <a:pt x="3290660" y="478422"/>
                </a:cubicBezTo>
                <a:cubicBezTo>
                  <a:pt x="3291080" y="471702"/>
                  <a:pt x="3291920" y="467923"/>
                  <a:pt x="3293180" y="466662"/>
                </a:cubicBezTo>
                <a:cubicBezTo>
                  <a:pt x="3296540" y="463303"/>
                  <a:pt x="3298640" y="459523"/>
                  <a:pt x="3299900" y="454903"/>
                </a:cubicBezTo>
                <a:cubicBezTo>
                  <a:pt x="3301160" y="450283"/>
                  <a:pt x="3301580" y="445663"/>
                  <a:pt x="3301160" y="441044"/>
                </a:cubicBezTo>
                <a:cubicBezTo>
                  <a:pt x="3300740" y="436424"/>
                  <a:pt x="3299060" y="432224"/>
                  <a:pt x="3296540" y="428864"/>
                </a:cubicBezTo>
                <a:cubicBezTo>
                  <a:pt x="3294020" y="425084"/>
                  <a:pt x="3290660" y="422564"/>
                  <a:pt x="3286040" y="420464"/>
                </a:cubicBezTo>
                <a:cubicBezTo>
                  <a:pt x="3271341" y="415425"/>
                  <a:pt x="3258741" y="415845"/>
                  <a:pt x="3248662" y="421725"/>
                </a:cubicBezTo>
                <a:moveTo>
                  <a:pt x="3685023" y="666994"/>
                </a:moveTo>
                <a:cubicBezTo>
                  <a:pt x="3686703" y="660694"/>
                  <a:pt x="3688383" y="653975"/>
                  <a:pt x="3689643" y="647675"/>
                </a:cubicBezTo>
                <a:cubicBezTo>
                  <a:pt x="3690903" y="641375"/>
                  <a:pt x="3691743" y="634235"/>
                  <a:pt x="3692163" y="626676"/>
                </a:cubicBezTo>
                <a:cubicBezTo>
                  <a:pt x="3693003" y="619116"/>
                  <a:pt x="3693423" y="609876"/>
                  <a:pt x="3693843" y="598957"/>
                </a:cubicBezTo>
                <a:cubicBezTo>
                  <a:pt x="3695523" y="592237"/>
                  <a:pt x="3697203" y="585097"/>
                  <a:pt x="3698463" y="578378"/>
                </a:cubicBezTo>
                <a:cubicBezTo>
                  <a:pt x="3699722" y="571658"/>
                  <a:pt x="3700982" y="564518"/>
                  <a:pt x="3701822" y="557379"/>
                </a:cubicBezTo>
                <a:cubicBezTo>
                  <a:pt x="3702662" y="553179"/>
                  <a:pt x="3702662" y="547719"/>
                  <a:pt x="3703082" y="541419"/>
                </a:cubicBezTo>
                <a:cubicBezTo>
                  <a:pt x="3703082" y="535120"/>
                  <a:pt x="3703502" y="528820"/>
                  <a:pt x="3703502" y="522520"/>
                </a:cubicBezTo>
                <a:cubicBezTo>
                  <a:pt x="3703502" y="516220"/>
                  <a:pt x="3704342" y="509921"/>
                  <a:pt x="3705602" y="504041"/>
                </a:cubicBezTo>
                <a:cubicBezTo>
                  <a:pt x="3706442" y="498161"/>
                  <a:pt x="3708122" y="493121"/>
                  <a:pt x="3710642" y="488922"/>
                </a:cubicBezTo>
                <a:cubicBezTo>
                  <a:pt x="3716522" y="477582"/>
                  <a:pt x="3719462" y="467083"/>
                  <a:pt x="3719042" y="456583"/>
                </a:cubicBezTo>
                <a:cubicBezTo>
                  <a:pt x="3718622" y="446503"/>
                  <a:pt x="3715682" y="437264"/>
                  <a:pt x="3711062" y="429284"/>
                </a:cubicBezTo>
                <a:cubicBezTo>
                  <a:pt x="3706022" y="421304"/>
                  <a:pt x="3699722" y="415425"/>
                  <a:pt x="3692163" y="410385"/>
                </a:cubicBezTo>
                <a:cubicBezTo>
                  <a:pt x="3684603" y="405765"/>
                  <a:pt x="3676623" y="403665"/>
                  <a:pt x="3668644" y="403665"/>
                </a:cubicBezTo>
                <a:cubicBezTo>
                  <a:pt x="3660664" y="404085"/>
                  <a:pt x="3653524" y="407025"/>
                  <a:pt x="3646805" y="412905"/>
                </a:cubicBezTo>
                <a:cubicBezTo>
                  <a:pt x="3640085" y="418785"/>
                  <a:pt x="3635045" y="428024"/>
                  <a:pt x="3632525" y="441044"/>
                </a:cubicBezTo>
                <a:cubicBezTo>
                  <a:pt x="3631685" y="457843"/>
                  <a:pt x="3630006" y="474642"/>
                  <a:pt x="3627485" y="491022"/>
                </a:cubicBezTo>
                <a:cubicBezTo>
                  <a:pt x="3624966" y="507401"/>
                  <a:pt x="3622866" y="524200"/>
                  <a:pt x="3622026" y="540999"/>
                </a:cubicBezTo>
                <a:cubicBezTo>
                  <a:pt x="3621606" y="546039"/>
                  <a:pt x="3621606" y="551079"/>
                  <a:pt x="3621186" y="556539"/>
                </a:cubicBezTo>
                <a:cubicBezTo>
                  <a:pt x="3621186" y="561998"/>
                  <a:pt x="3619926" y="566618"/>
                  <a:pt x="3617826" y="571238"/>
                </a:cubicBezTo>
                <a:cubicBezTo>
                  <a:pt x="3616566" y="574178"/>
                  <a:pt x="3614886" y="577118"/>
                  <a:pt x="3613626" y="579218"/>
                </a:cubicBezTo>
                <a:cubicBezTo>
                  <a:pt x="3612366" y="581738"/>
                  <a:pt x="3611526" y="584257"/>
                  <a:pt x="3611526" y="587617"/>
                </a:cubicBezTo>
                <a:cubicBezTo>
                  <a:pt x="3605226" y="579218"/>
                  <a:pt x="3599767" y="571658"/>
                  <a:pt x="3595147" y="565358"/>
                </a:cubicBezTo>
                <a:cubicBezTo>
                  <a:pt x="3590527" y="559058"/>
                  <a:pt x="3586747" y="553179"/>
                  <a:pt x="3583387" y="548139"/>
                </a:cubicBezTo>
                <a:cubicBezTo>
                  <a:pt x="3580028" y="542679"/>
                  <a:pt x="3576668" y="537220"/>
                  <a:pt x="3574148" y="532180"/>
                </a:cubicBezTo>
                <a:cubicBezTo>
                  <a:pt x="3571208" y="526720"/>
                  <a:pt x="3568688" y="520840"/>
                  <a:pt x="3565748" y="513700"/>
                </a:cubicBezTo>
                <a:cubicBezTo>
                  <a:pt x="3561549" y="504881"/>
                  <a:pt x="3557769" y="495221"/>
                  <a:pt x="3554409" y="485562"/>
                </a:cubicBezTo>
                <a:cubicBezTo>
                  <a:pt x="3551049" y="475902"/>
                  <a:pt x="3546009" y="467083"/>
                  <a:pt x="3539709" y="459103"/>
                </a:cubicBezTo>
                <a:cubicBezTo>
                  <a:pt x="3526690" y="441884"/>
                  <a:pt x="3514090" y="433064"/>
                  <a:pt x="3502331" y="432224"/>
                </a:cubicBezTo>
                <a:cubicBezTo>
                  <a:pt x="3490571" y="431804"/>
                  <a:pt x="3480492" y="436004"/>
                  <a:pt x="3472092" y="445663"/>
                </a:cubicBezTo>
                <a:cubicBezTo>
                  <a:pt x="3463693" y="455323"/>
                  <a:pt x="3457393" y="467923"/>
                  <a:pt x="3452773" y="483462"/>
                </a:cubicBezTo>
                <a:cubicBezTo>
                  <a:pt x="3448573" y="499001"/>
                  <a:pt x="3446893" y="514121"/>
                  <a:pt x="3448573" y="529660"/>
                </a:cubicBezTo>
                <a:cubicBezTo>
                  <a:pt x="3448573" y="533020"/>
                  <a:pt x="3448993" y="536380"/>
                  <a:pt x="3449833" y="539739"/>
                </a:cubicBezTo>
                <a:cubicBezTo>
                  <a:pt x="3450673" y="543099"/>
                  <a:pt x="3451513" y="546879"/>
                  <a:pt x="3451933" y="550239"/>
                </a:cubicBezTo>
                <a:cubicBezTo>
                  <a:pt x="3452353" y="553599"/>
                  <a:pt x="3452353" y="556959"/>
                  <a:pt x="3451513" y="560319"/>
                </a:cubicBezTo>
                <a:cubicBezTo>
                  <a:pt x="3450673" y="563678"/>
                  <a:pt x="3448993" y="566618"/>
                  <a:pt x="3446053" y="569558"/>
                </a:cubicBezTo>
                <a:cubicBezTo>
                  <a:pt x="3442693" y="575018"/>
                  <a:pt x="3441434" y="581318"/>
                  <a:pt x="3441854" y="588037"/>
                </a:cubicBezTo>
                <a:cubicBezTo>
                  <a:pt x="3442693" y="594757"/>
                  <a:pt x="3442274" y="601057"/>
                  <a:pt x="3441854" y="607356"/>
                </a:cubicBezTo>
                <a:cubicBezTo>
                  <a:pt x="3441434" y="610296"/>
                  <a:pt x="3440594" y="616596"/>
                  <a:pt x="3439334" y="626256"/>
                </a:cubicBezTo>
                <a:cubicBezTo>
                  <a:pt x="3438074" y="635915"/>
                  <a:pt x="3436814" y="645995"/>
                  <a:pt x="3435134" y="656494"/>
                </a:cubicBezTo>
                <a:cubicBezTo>
                  <a:pt x="3433454" y="666994"/>
                  <a:pt x="3431774" y="676653"/>
                  <a:pt x="3429674" y="685893"/>
                </a:cubicBezTo>
                <a:cubicBezTo>
                  <a:pt x="3427574" y="694713"/>
                  <a:pt x="3425894" y="700592"/>
                  <a:pt x="3424214" y="702272"/>
                </a:cubicBezTo>
                <a:cubicBezTo>
                  <a:pt x="3421694" y="705212"/>
                  <a:pt x="3420434" y="709412"/>
                  <a:pt x="3419175" y="714872"/>
                </a:cubicBezTo>
                <a:cubicBezTo>
                  <a:pt x="3418335" y="720752"/>
                  <a:pt x="3417494" y="726631"/>
                  <a:pt x="3417494" y="732931"/>
                </a:cubicBezTo>
                <a:cubicBezTo>
                  <a:pt x="3417494" y="739231"/>
                  <a:pt x="3417494" y="745531"/>
                  <a:pt x="3417915" y="751830"/>
                </a:cubicBezTo>
                <a:cubicBezTo>
                  <a:pt x="3418335" y="758130"/>
                  <a:pt x="3418335" y="762750"/>
                  <a:pt x="3418755" y="766530"/>
                </a:cubicBezTo>
                <a:cubicBezTo>
                  <a:pt x="3419175" y="771569"/>
                  <a:pt x="3419594" y="777029"/>
                  <a:pt x="3420855" y="782909"/>
                </a:cubicBezTo>
                <a:cubicBezTo>
                  <a:pt x="3422114" y="788789"/>
                  <a:pt x="3423794" y="794248"/>
                  <a:pt x="3426314" y="798868"/>
                </a:cubicBezTo>
                <a:cubicBezTo>
                  <a:pt x="3428834" y="803488"/>
                  <a:pt x="3432194" y="807268"/>
                  <a:pt x="3436814" y="810208"/>
                </a:cubicBezTo>
                <a:cubicBezTo>
                  <a:pt x="3441434" y="813148"/>
                  <a:pt x="3447313" y="814408"/>
                  <a:pt x="3454033" y="814408"/>
                </a:cubicBezTo>
                <a:cubicBezTo>
                  <a:pt x="3463273" y="813988"/>
                  <a:pt x="3471252" y="811048"/>
                  <a:pt x="3477132" y="805588"/>
                </a:cubicBezTo>
                <a:cubicBezTo>
                  <a:pt x="3483012" y="800128"/>
                  <a:pt x="3486372" y="792569"/>
                  <a:pt x="3486792" y="782909"/>
                </a:cubicBezTo>
                <a:cubicBezTo>
                  <a:pt x="3486792" y="773249"/>
                  <a:pt x="3487632" y="764010"/>
                  <a:pt x="3488891" y="754350"/>
                </a:cubicBezTo>
                <a:cubicBezTo>
                  <a:pt x="3490152" y="745111"/>
                  <a:pt x="3491411" y="735451"/>
                  <a:pt x="3492251" y="725791"/>
                </a:cubicBezTo>
                <a:cubicBezTo>
                  <a:pt x="3493931" y="710252"/>
                  <a:pt x="3497291" y="693873"/>
                  <a:pt x="3501491" y="677074"/>
                </a:cubicBezTo>
                <a:cubicBezTo>
                  <a:pt x="3506111" y="659854"/>
                  <a:pt x="3508631" y="643895"/>
                  <a:pt x="3509471" y="628355"/>
                </a:cubicBezTo>
                <a:cubicBezTo>
                  <a:pt x="3509891" y="621636"/>
                  <a:pt x="3510311" y="614916"/>
                  <a:pt x="3511151" y="608196"/>
                </a:cubicBezTo>
                <a:cubicBezTo>
                  <a:pt x="3511990" y="601057"/>
                  <a:pt x="3512830" y="594337"/>
                  <a:pt x="3514510" y="587617"/>
                </a:cubicBezTo>
                <a:cubicBezTo>
                  <a:pt x="3514090" y="589297"/>
                  <a:pt x="3514510" y="591397"/>
                  <a:pt x="3515770" y="593497"/>
                </a:cubicBezTo>
                <a:cubicBezTo>
                  <a:pt x="3517030" y="595597"/>
                  <a:pt x="3518710" y="598117"/>
                  <a:pt x="3520810" y="600217"/>
                </a:cubicBezTo>
                <a:cubicBezTo>
                  <a:pt x="3522910" y="602317"/>
                  <a:pt x="3525010" y="604417"/>
                  <a:pt x="3527110" y="606517"/>
                </a:cubicBezTo>
                <a:cubicBezTo>
                  <a:pt x="3529210" y="608617"/>
                  <a:pt x="3530890" y="610296"/>
                  <a:pt x="3531730" y="611556"/>
                </a:cubicBezTo>
                <a:cubicBezTo>
                  <a:pt x="3539289" y="621636"/>
                  <a:pt x="3546849" y="633395"/>
                  <a:pt x="3553989" y="647255"/>
                </a:cubicBezTo>
                <a:cubicBezTo>
                  <a:pt x="3561128" y="661114"/>
                  <a:pt x="3569108" y="673714"/>
                  <a:pt x="3578348" y="685893"/>
                </a:cubicBezTo>
                <a:cubicBezTo>
                  <a:pt x="3587167" y="698073"/>
                  <a:pt x="3597247" y="707732"/>
                  <a:pt x="3609006" y="715712"/>
                </a:cubicBezTo>
                <a:cubicBezTo>
                  <a:pt x="3620766" y="723691"/>
                  <a:pt x="3634625" y="726631"/>
                  <a:pt x="3651424" y="724951"/>
                </a:cubicBezTo>
                <a:cubicBezTo>
                  <a:pt x="3656044" y="724531"/>
                  <a:pt x="3659824" y="722851"/>
                  <a:pt x="3662764" y="720332"/>
                </a:cubicBezTo>
                <a:cubicBezTo>
                  <a:pt x="3665704" y="717812"/>
                  <a:pt x="3667804" y="714872"/>
                  <a:pt x="3669904" y="711512"/>
                </a:cubicBezTo>
                <a:cubicBezTo>
                  <a:pt x="3671584" y="708152"/>
                  <a:pt x="3673264" y="704372"/>
                  <a:pt x="3674523" y="700592"/>
                </a:cubicBezTo>
                <a:cubicBezTo>
                  <a:pt x="3675783" y="696813"/>
                  <a:pt x="3677044" y="693033"/>
                  <a:pt x="3678303" y="689673"/>
                </a:cubicBezTo>
                <a:cubicBezTo>
                  <a:pt x="3680823" y="680853"/>
                  <a:pt x="3682923" y="673294"/>
                  <a:pt x="3685023" y="666994"/>
                </a:cubicBezTo>
                <a:moveTo>
                  <a:pt x="3998330" y="336468"/>
                </a:moveTo>
                <a:cubicBezTo>
                  <a:pt x="3995390" y="336888"/>
                  <a:pt x="3992870" y="336888"/>
                  <a:pt x="3990350" y="337308"/>
                </a:cubicBezTo>
                <a:cubicBezTo>
                  <a:pt x="3979431" y="338568"/>
                  <a:pt x="3970611" y="340248"/>
                  <a:pt x="3963051" y="342768"/>
                </a:cubicBezTo>
                <a:cubicBezTo>
                  <a:pt x="3955491" y="345288"/>
                  <a:pt x="3948772" y="348648"/>
                  <a:pt x="3942052" y="352007"/>
                </a:cubicBezTo>
                <a:cubicBezTo>
                  <a:pt x="3935332" y="355787"/>
                  <a:pt x="3928613" y="359567"/>
                  <a:pt x="3921473" y="363767"/>
                </a:cubicBezTo>
                <a:cubicBezTo>
                  <a:pt x="3914333" y="367967"/>
                  <a:pt x="3905514" y="372166"/>
                  <a:pt x="3895014" y="376786"/>
                </a:cubicBezTo>
                <a:cubicBezTo>
                  <a:pt x="3892074" y="378046"/>
                  <a:pt x="3889134" y="378886"/>
                  <a:pt x="3885774" y="378886"/>
                </a:cubicBezTo>
                <a:cubicBezTo>
                  <a:pt x="3882415" y="378886"/>
                  <a:pt x="3879055" y="378886"/>
                  <a:pt x="3875695" y="379306"/>
                </a:cubicBezTo>
                <a:cubicBezTo>
                  <a:pt x="3872335" y="379726"/>
                  <a:pt x="3869395" y="380566"/>
                  <a:pt x="3866035" y="381406"/>
                </a:cubicBezTo>
                <a:cubicBezTo>
                  <a:pt x="3863095" y="382666"/>
                  <a:pt x="3860156" y="384766"/>
                  <a:pt x="3858056" y="387706"/>
                </a:cubicBezTo>
                <a:cubicBezTo>
                  <a:pt x="3847976" y="421725"/>
                  <a:pt x="3839996" y="455743"/>
                  <a:pt x="3834957" y="489342"/>
                </a:cubicBezTo>
                <a:cubicBezTo>
                  <a:pt x="3829917" y="522940"/>
                  <a:pt x="3829077" y="557379"/>
                  <a:pt x="3832437" y="592237"/>
                </a:cubicBezTo>
                <a:cubicBezTo>
                  <a:pt x="3833277" y="601477"/>
                  <a:pt x="3834957" y="610716"/>
                  <a:pt x="3836637" y="619956"/>
                </a:cubicBezTo>
                <a:cubicBezTo>
                  <a:pt x="3838316" y="629195"/>
                  <a:pt x="3840416" y="638435"/>
                  <a:pt x="3842936" y="647675"/>
                </a:cubicBezTo>
                <a:cubicBezTo>
                  <a:pt x="3847556" y="662794"/>
                  <a:pt x="3854276" y="676653"/>
                  <a:pt x="3862675" y="688413"/>
                </a:cubicBezTo>
                <a:cubicBezTo>
                  <a:pt x="3871495" y="700592"/>
                  <a:pt x="3882835" y="709832"/>
                  <a:pt x="3897534" y="716972"/>
                </a:cubicBezTo>
                <a:cubicBezTo>
                  <a:pt x="3913913" y="724951"/>
                  <a:pt x="3931133" y="728311"/>
                  <a:pt x="3949192" y="726211"/>
                </a:cubicBezTo>
                <a:cubicBezTo>
                  <a:pt x="3959271" y="724951"/>
                  <a:pt x="3969351" y="722432"/>
                  <a:pt x="3979431" y="718232"/>
                </a:cubicBezTo>
                <a:cubicBezTo>
                  <a:pt x="3989510" y="714032"/>
                  <a:pt x="3998750" y="709412"/>
                  <a:pt x="4006729" y="703112"/>
                </a:cubicBezTo>
                <a:cubicBezTo>
                  <a:pt x="4014709" y="696813"/>
                  <a:pt x="4020588" y="688413"/>
                  <a:pt x="4024368" y="677493"/>
                </a:cubicBezTo>
                <a:cubicBezTo>
                  <a:pt x="4026888" y="672034"/>
                  <a:pt x="4029408" y="665734"/>
                  <a:pt x="4032348" y="659014"/>
                </a:cubicBezTo>
                <a:cubicBezTo>
                  <a:pt x="4035288" y="651875"/>
                  <a:pt x="4036548" y="645155"/>
                  <a:pt x="4035708" y="638015"/>
                </a:cubicBezTo>
                <a:cubicBezTo>
                  <a:pt x="4034868" y="630036"/>
                  <a:pt x="4031088" y="623316"/>
                  <a:pt x="4024788" y="618276"/>
                </a:cubicBezTo>
                <a:cubicBezTo>
                  <a:pt x="4018489" y="612816"/>
                  <a:pt x="4010509" y="610296"/>
                  <a:pt x="4001689" y="609876"/>
                </a:cubicBezTo>
                <a:cubicBezTo>
                  <a:pt x="3997489" y="609876"/>
                  <a:pt x="3993710" y="610296"/>
                  <a:pt x="3991190" y="611136"/>
                </a:cubicBezTo>
                <a:cubicBezTo>
                  <a:pt x="3988670" y="611976"/>
                  <a:pt x="3986150" y="613236"/>
                  <a:pt x="3984890" y="614916"/>
                </a:cubicBezTo>
                <a:cubicBezTo>
                  <a:pt x="3983210" y="616596"/>
                  <a:pt x="3981950" y="619116"/>
                  <a:pt x="3980690" y="621216"/>
                </a:cubicBezTo>
                <a:cubicBezTo>
                  <a:pt x="3979431" y="623736"/>
                  <a:pt x="3977751" y="626676"/>
                  <a:pt x="3975651" y="629616"/>
                </a:cubicBezTo>
                <a:cubicBezTo>
                  <a:pt x="3972711" y="634235"/>
                  <a:pt x="3968931" y="637175"/>
                  <a:pt x="3964731" y="639695"/>
                </a:cubicBezTo>
                <a:cubicBezTo>
                  <a:pt x="3960531" y="641795"/>
                  <a:pt x="3956332" y="643475"/>
                  <a:pt x="3951291" y="643895"/>
                </a:cubicBezTo>
                <a:cubicBezTo>
                  <a:pt x="3940792" y="645155"/>
                  <a:pt x="3931133" y="642215"/>
                  <a:pt x="3922313" y="635495"/>
                </a:cubicBezTo>
                <a:cubicBezTo>
                  <a:pt x="3913493" y="628776"/>
                  <a:pt x="3909294" y="619116"/>
                  <a:pt x="3909713" y="606096"/>
                </a:cubicBezTo>
                <a:cubicBezTo>
                  <a:pt x="3914753" y="601057"/>
                  <a:pt x="3920213" y="596857"/>
                  <a:pt x="3926933" y="593497"/>
                </a:cubicBezTo>
                <a:cubicBezTo>
                  <a:pt x="3933652" y="589717"/>
                  <a:pt x="3939952" y="586357"/>
                  <a:pt x="3947092" y="582578"/>
                </a:cubicBezTo>
                <a:cubicBezTo>
                  <a:pt x="3953812" y="578798"/>
                  <a:pt x="3960531" y="575018"/>
                  <a:pt x="3966831" y="570398"/>
                </a:cubicBezTo>
                <a:cubicBezTo>
                  <a:pt x="3973131" y="566198"/>
                  <a:pt x="3978590" y="560738"/>
                  <a:pt x="3982790" y="554439"/>
                </a:cubicBezTo>
                <a:cubicBezTo>
                  <a:pt x="3986150" y="549819"/>
                  <a:pt x="3989090" y="544359"/>
                  <a:pt x="3991190" y="538059"/>
                </a:cubicBezTo>
                <a:cubicBezTo>
                  <a:pt x="3993290" y="531760"/>
                  <a:pt x="3994130" y="525880"/>
                  <a:pt x="3993290" y="519580"/>
                </a:cubicBezTo>
                <a:cubicBezTo>
                  <a:pt x="3992450" y="512441"/>
                  <a:pt x="3989510" y="506561"/>
                  <a:pt x="3983630" y="501521"/>
                </a:cubicBezTo>
                <a:cubicBezTo>
                  <a:pt x="3978170" y="496901"/>
                  <a:pt x="3971031" y="494801"/>
                  <a:pt x="3962631" y="495641"/>
                </a:cubicBezTo>
                <a:cubicBezTo>
                  <a:pt x="3955912" y="496481"/>
                  <a:pt x="3948772" y="498161"/>
                  <a:pt x="3942052" y="500681"/>
                </a:cubicBezTo>
                <a:cubicBezTo>
                  <a:pt x="3934913" y="503201"/>
                  <a:pt x="3929033" y="505721"/>
                  <a:pt x="3924413" y="508661"/>
                </a:cubicBezTo>
                <a:cubicBezTo>
                  <a:pt x="3920213" y="511181"/>
                  <a:pt x="3916433" y="512860"/>
                  <a:pt x="3914333" y="512860"/>
                </a:cubicBezTo>
                <a:cubicBezTo>
                  <a:pt x="3911813" y="513281"/>
                  <a:pt x="3910134" y="512860"/>
                  <a:pt x="3909294" y="511601"/>
                </a:cubicBezTo>
                <a:cubicBezTo>
                  <a:pt x="3908453" y="510341"/>
                  <a:pt x="3907613" y="508661"/>
                  <a:pt x="3907613" y="506561"/>
                </a:cubicBezTo>
                <a:cubicBezTo>
                  <a:pt x="3907194" y="504461"/>
                  <a:pt x="3907194" y="502361"/>
                  <a:pt x="3906773" y="500261"/>
                </a:cubicBezTo>
                <a:cubicBezTo>
                  <a:pt x="3906354" y="496481"/>
                  <a:pt x="3906773" y="492281"/>
                  <a:pt x="3907613" y="487242"/>
                </a:cubicBezTo>
                <a:cubicBezTo>
                  <a:pt x="3908453" y="482202"/>
                  <a:pt x="3909713" y="477162"/>
                  <a:pt x="3910973" y="472542"/>
                </a:cubicBezTo>
                <a:cubicBezTo>
                  <a:pt x="3912233" y="467923"/>
                  <a:pt x="3913493" y="463723"/>
                  <a:pt x="3914753" y="459523"/>
                </a:cubicBezTo>
                <a:cubicBezTo>
                  <a:pt x="3916013" y="455323"/>
                  <a:pt x="3916853" y="452803"/>
                  <a:pt x="3917273" y="450703"/>
                </a:cubicBezTo>
                <a:cubicBezTo>
                  <a:pt x="3918533" y="446083"/>
                  <a:pt x="3922313" y="441884"/>
                  <a:pt x="3928613" y="437684"/>
                </a:cubicBezTo>
                <a:cubicBezTo>
                  <a:pt x="3934913" y="433484"/>
                  <a:pt x="3942052" y="429284"/>
                  <a:pt x="3949612" y="425504"/>
                </a:cubicBezTo>
                <a:cubicBezTo>
                  <a:pt x="3957591" y="421725"/>
                  <a:pt x="3965151" y="418364"/>
                  <a:pt x="3973131" y="415425"/>
                </a:cubicBezTo>
                <a:cubicBezTo>
                  <a:pt x="3980690" y="412485"/>
                  <a:pt x="3986990" y="410385"/>
                  <a:pt x="3991190" y="408705"/>
                </a:cubicBezTo>
                <a:cubicBezTo>
                  <a:pt x="4003369" y="404925"/>
                  <a:pt x="4014289" y="399885"/>
                  <a:pt x="4023529" y="393586"/>
                </a:cubicBezTo>
                <a:cubicBezTo>
                  <a:pt x="4032768" y="387286"/>
                  <a:pt x="4037808" y="376786"/>
                  <a:pt x="4038648" y="361667"/>
                </a:cubicBezTo>
                <a:cubicBezTo>
                  <a:pt x="4039068" y="357887"/>
                  <a:pt x="4037808" y="354527"/>
                  <a:pt x="4035708" y="351588"/>
                </a:cubicBezTo>
                <a:cubicBezTo>
                  <a:pt x="4033188" y="348648"/>
                  <a:pt x="4030668" y="345708"/>
                  <a:pt x="4027309" y="343608"/>
                </a:cubicBezTo>
                <a:cubicBezTo>
                  <a:pt x="4023949" y="341508"/>
                  <a:pt x="4020169" y="339408"/>
                  <a:pt x="4016389" y="338148"/>
                </a:cubicBezTo>
                <a:cubicBezTo>
                  <a:pt x="4012609" y="336888"/>
                  <a:pt x="4008829" y="336468"/>
                  <a:pt x="4006309" y="336468"/>
                </a:cubicBezTo>
                <a:cubicBezTo>
                  <a:pt x="4003789" y="336048"/>
                  <a:pt x="4000850" y="336048"/>
                  <a:pt x="3998330" y="336468"/>
                </a:cubicBezTo>
                <a:moveTo>
                  <a:pt x="4295677" y="480522"/>
                </a:moveTo>
                <a:cubicBezTo>
                  <a:pt x="4291477" y="490601"/>
                  <a:pt x="4286857" y="500681"/>
                  <a:pt x="4281818" y="511601"/>
                </a:cubicBezTo>
                <a:cubicBezTo>
                  <a:pt x="4276778" y="522520"/>
                  <a:pt x="4271738" y="532180"/>
                  <a:pt x="4266278" y="540999"/>
                </a:cubicBezTo>
                <a:cubicBezTo>
                  <a:pt x="4260819" y="549819"/>
                  <a:pt x="4256619" y="555279"/>
                  <a:pt x="4252839" y="557379"/>
                </a:cubicBezTo>
                <a:cubicBezTo>
                  <a:pt x="4251159" y="546879"/>
                  <a:pt x="4249479" y="536380"/>
                  <a:pt x="4247799" y="525460"/>
                </a:cubicBezTo>
                <a:cubicBezTo>
                  <a:pt x="4246119" y="514540"/>
                  <a:pt x="4245279" y="504041"/>
                  <a:pt x="4245279" y="494381"/>
                </a:cubicBezTo>
                <a:cubicBezTo>
                  <a:pt x="4245279" y="486402"/>
                  <a:pt x="4244439" y="478002"/>
                  <a:pt x="4242759" y="469182"/>
                </a:cubicBezTo>
                <a:cubicBezTo>
                  <a:pt x="4241079" y="460363"/>
                  <a:pt x="4239819" y="451543"/>
                  <a:pt x="4238559" y="443144"/>
                </a:cubicBezTo>
                <a:cubicBezTo>
                  <a:pt x="4236879" y="434744"/>
                  <a:pt x="4236040" y="426344"/>
                  <a:pt x="4234779" y="418785"/>
                </a:cubicBezTo>
                <a:cubicBezTo>
                  <a:pt x="4233940" y="411225"/>
                  <a:pt x="4233520" y="404085"/>
                  <a:pt x="4233940" y="397786"/>
                </a:cubicBezTo>
                <a:cubicBezTo>
                  <a:pt x="4231840" y="391066"/>
                  <a:pt x="4230160" y="383086"/>
                  <a:pt x="4229320" y="373847"/>
                </a:cubicBezTo>
                <a:cubicBezTo>
                  <a:pt x="4228480" y="364607"/>
                  <a:pt x="4227640" y="355367"/>
                  <a:pt x="4226800" y="345288"/>
                </a:cubicBezTo>
                <a:cubicBezTo>
                  <a:pt x="4225960" y="335628"/>
                  <a:pt x="4224700" y="325968"/>
                  <a:pt x="4223020" y="317149"/>
                </a:cubicBezTo>
                <a:cubicBezTo>
                  <a:pt x="4221340" y="307909"/>
                  <a:pt x="4218820" y="299930"/>
                  <a:pt x="4214621" y="293210"/>
                </a:cubicBezTo>
                <a:cubicBezTo>
                  <a:pt x="4210841" y="286490"/>
                  <a:pt x="4205381" y="281450"/>
                  <a:pt x="4198661" y="278511"/>
                </a:cubicBezTo>
                <a:cubicBezTo>
                  <a:pt x="4191941" y="275571"/>
                  <a:pt x="4182702" y="274731"/>
                  <a:pt x="4171782" y="276831"/>
                </a:cubicBezTo>
                <a:cubicBezTo>
                  <a:pt x="4167582" y="278091"/>
                  <a:pt x="4163382" y="279351"/>
                  <a:pt x="4160023" y="280610"/>
                </a:cubicBezTo>
                <a:cubicBezTo>
                  <a:pt x="4156243" y="281870"/>
                  <a:pt x="4152883" y="283550"/>
                  <a:pt x="4150363" y="285650"/>
                </a:cubicBezTo>
                <a:cubicBezTo>
                  <a:pt x="4147843" y="287750"/>
                  <a:pt x="4145743" y="290270"/>
                  <a:pt x="4144483" y="293630"/>
                </a:cubicBezTo>
                <a:cubicBezTo>
                  <a:pt x="4143224" y="296990"/>
                  <a:pt x="4142804" y="301190"/>
                  <a:pt x="4143643" y="306649"/>
                </a:cubicBezTo>
                <a:cubicBezTo>
                  <a:pt x="4144904" y="317569"/>
                  <a:pt x="4147003" y="328489"/>
                  <a:pt x="4150363" y="339408"/>
                </a:cubicBezTo>
                <a:cubicBezTo>
                  <a:pt x="4153723" y="350328"/>
                  <a:pt x="4156243" y="361667"/>
                  <a:pt x="4158343" y="373847"/>
                </a:cubicBezTo>
                <a:cubicBezTo>
                  <a:pt x="4158763" y="376786"/>
                  <a:pt x="4159603" y="383926"/>
                  <a:pt x="4160863" y="394006"/>
                </a:cubicBezTo>
                <a:cubicBezTo>
                  <a:pt x="4162123" y="404085"/>
                  <a:pt x="4163382" y="416685"/>
                  <a:pt x="4165062" y="430964"/>
                </a:cubicBezTo>
                <a:cubicBezTo>
                  <a:pt x="4166742" y="445243"/>
                  <a:pt x="4168842" y="461203"/>
                  <a:pt x="4170942" y="478002"/>
                </a:cubicBezTo>
                <a:cubicBezTo>
                  <a:pt x="4173042" y="494801"/>
                  <a:pt x="4175142" y="511601"/>
                  <a:pt x="4177662" y="528820"/>
                </a:cubicBezTo>
                <a:cubicBezTo>
                  <a:pt x="4180182" y="545619"/>
                  <a:pt x="4182702" y="561579"/>
                  <a:pt x="4185222" y="577118"/>
                </a:cubicBezTo>
                <a:cubicBezTo>
                  <a:pt x="4187741" y="592237"/>
                  <a:pt x="4190681" y="605256"/>
                  <a:pt x="4193201" y="616176"/>
                </a:cubicBezTo>
                <a:cubicBezTo>
                  <a:pt x="4194881" y="626256"/>
                  <a:pt x="4196141" y="636335"/>
                  <a:pt x="4196981" y="646415"/>
                </a:cubicBezTo>
                <a:cubicBezTo>
                  <a:pt x="4197821" y="656914"/>
                  <a:pt x="4199921" y="666994"/>
                  <a:pt x="4204121" y="677074"/>
                </a:cubicBezTo>
                <a:cubicBezTo>
                  <a:pt x="4208741" y="685473"/>
                  <a:pt x="4214621" y="690513"/>
                  <a:pt x="4222180" y="691353"/>
                </a:cubicBezTo>
                <a:cubicBezTo>
                  <a:pt x="4229740" y="692193"/>
                  <a:pt x="4237300" y="691773"/>
                  <a:pt x="4245699" y="690093"/>
                </a:cubicBezTo>
                <a:cubicBezTo>
                  <a:pt x="4251999" y="688833"/>
                  <a:pt x="4258719" y="684633"/>
                  <a:pt x="4266278" y="677493"/>
                </a:cubicBezTo>
                <a:cubicBezTo>
                  <a:pt x="4273838" y="670354"/>
                  <a:pt x="4280977" y="661954"/>
                  <a:pt x="4287698" y="651875"/>
                </a:cubicBezTo>
                <a:cubicBezTo>
                  <a:pt x="4294837" y="641795"/>
                  <a:pt x="4301557" y="630455"/>
                  <a:pt x="4308276" y="618276"/>
                </a:cubicBezTo>
                <a:cubicBezTo>
                  <a:pt x="4314996" y="605677"/>
                  <a:pt x="4320876" y="593917"/>
                  <a:pt x="4326336" y="581738"/>
                </a:cubicBezTo>
                <a:cubicBezTo>
                  <a:pt x="4331375" y="569978"/>
                  <a:pt x="4335995" y="558639"/>
                  <a:pt x="4339775" y="548559"/>
                </a:cubicBezTo>
                <a:cubicBezTo>
                  <a:pt x="4343555" y="538059"/>
                  <a:pt x="4345655" y="529660"/>
                  <a:pt x="4346915" y="523780"/>
                </a:cubicBezTo>
                <a:cubicBezTo>
                  <a:pt x="4348175" y="514960"/>
                  <a:pt x="4350695" y="505301"/>
                  <a:pt x="4354895" y="495641"/>
                </a:cubicBezTo>
                <a:cubicBezTo>
                  <a:pt x="4359094" y="485982"/>
                  <a:pt x="4363294" y="476322"/>
                  <a:pt x="4367914" y="466662"/>
                </a:cubicBezTo>
                <a:cubicBezTo>
                  <a:pt x="4372534" y="457003"/>
                  <a:pt x="4377153" y="447763"/>
                  <a:pt x="4382193" y="438104"/>
                </a:cubicBezTo>
                <a:cubicBezTo>
                  <a:pt x="4386813" y="428864"/>
                  <a:pt x="4391013" y="419625"/>
                  <a:pt x="4393953" y="410805"/>
                </a:cubicBezTo>
                <a:cubicBezTo>
                  <a:pt x="4395633" y="404925"/>
                  <a:pt x="4398572" y="399885"/>
                  <a:pt x="4401932" y="394846"/>
                </a:cubicBezTo>
                <a:cubicBezTo>
                  <a:pt x="4405292" y="389806"/>
                  <a:pt x="4409072" y="384766"/>
                  <a:pt x="4412852" y="380146"/>
                </a:cubicBezTo>
                <a:cubicBezTo>
                  <a:pt x="4416632" y="375106"/>
                  <a:pt x="4419992" y="370067"/>
                  <a:pt x="4423351" y="365027"/>
                </a:cubicBezTo>
                <a:cubicBezTo>
                  <a:pt x="4426711" y="359987"/>
                  <a:pt x="4428811" y="354527"/>
                  <a:pt x="4430491" y="349067"/>
                </a:cubicBezTo>
                <a:cubicBezTo>
                  <a:pt x="4433011" y="340668"/>
                  <a:pt x="4433851" y="331428"/>
                  <a:pt x="4433431" y="322189"/>
                </a:cubicBezTo>
                <a:cubicBezTo>
                  <a:pt x="4433011" y="312949"/>
                  <a:pt x="4430911" y="304549"/>
                  <a:pt x="4427131" y="297410"/>
                </a:cubicBezTo>
                <a:cubicBezTo>
                  <a:pt x="4423351" y="289850"/>
                  <a:pt x="4417892" y="283970"/>
                  <a:pt x="4410332" y="279770"/>
                </a:cubicBezTo>
                <a:cubicBezTo>
                  <a:pt x="4403193" y="275571"/>
                  <a:pt x="4393533" y="273891"/>
                  <a:pt x="4382193" y="275151"/>
                </a:cubicBezTo>
                <a:cubicBezTo>
                  <a:pt x="4376733" y="275571"/>
                  <a:pt x="4372114" y="277671"/>
                  <a:pt x="4367914" y="280610"/>
                </a:cubicBezTo>
                <a:cubicBezTo>
                  <a:pt x="4363714" y="283550"/>
                  <a:pt x="4360354" y="287330"/>
                  <a:pt x="4357834" y="291530"/>
                </a:cubicBezTo>
                <a:cubicBezTo>
                  <a:pt x="4354895" y="295730"/>
                  <a:pt x="4352374" y="300770"/>
                  <a:pt x="4350695" y="305809"/>
                </a:cubicBezTo>
                <a:cubicBezTo>
                  <a:pt x="4348595" y="311269"/>
                  <a:pt x="4346915" y="316309"/>
                  <a:pt x="4345235" y="320929"/>
                </a:cubicBezTo>
                <a:cubicBezTo>
                  <a:pt x="4340195" y="344868"/>
                  <a:pt x="4333896" y="367967"/>
                  <a:pt x="4326756" y="390226"/>
                </a:cubicBezTo>
                <a:cubicBezTo>
                  <a:pt x="4319616" y="412905"/>
                  <a:pt x="4312056" y="436004"/>
                  <a:pt x="4304497" y="459523"/>
                </a:cubicBezTo>
                <a:cubicBezTo>
                  <a:pt x="4302817" y="463303"/>
                  <a:pt x="4300297" y="470442"/>
                  <a:pt x="4295677" y="480522"/>
                </a:cubicBezTo>
                <a:moveTo>
                  <a:pt x="4768156" y="305809"/>
                </a:moveTo>
                <a:cubicBezTo>
                  <a:pt x="4773197" y="303290"/>
                  <a:pt x="4777816" y="300350"/>
                  <a:pt x="4781596" y="296570"/>
                </a:cubicBezTo>
                <a:cubicBezTo>
                  <a:pt x="4785796" y="292790"/>
                  <a:pt x="4788736" y="288590"/>
                  <a:pt x="4790836" y="283970"/>
                </a:cubicBezTo>
                <a:cubicBezTo>
                  <a:pt x="4792935" y="279351"/>
                  <a:pt x="4793776" y="273891"/>
                  <a:pt x="4793355" y="268011"/>
                </a:cubicBezTo>
                <a:cubicBezTo>
                  <a:pt x="4792516" y="259611"/>
                  <a:pt x="4790416" y="253312"/>
                  <a:pt x="4787056" y="249532"/>
                </a:cubicBezTo>
                <a:cubicBezTo>
                  <a:pt x="4783696" y="245752"/>
                  <a:pt x="4779496" y="243652"/>
                  <a:pt x="4774877" y="242812"/>
                </a:cubicBezTo>
                <a:cubicBezTo>
                  <a:pt x="4770256" y="241972"/>
                  <a:pt x="4764797" y="242392"/>
                  <a:pt x="4758917" y="243652"/>
                </a:cubicBezTo>
                <a:cubicBezTo>
                  <a:pt x="4753037" y="244912"/>
                  <a:pt x="4747157" y="246172"/>
                  <a:pt x="4740858" y="247852"/>
                </a:cubicBezTo>
                <a:cubicBezTo>
                  <a:pt x="4726579" y="252052"/>
                  <a:pt x="4711879" y="255412"/>
                  <a:pt x="4696340" y="257511"/>
                </a:cubicBezTo>
                <a:cubicBezTo>
                  <a:pt x="4680801" y="259611"/>
                  <a:pt x="4665261" y="262971"/>
                  <a:pt x="4650142" y="267171"/>
                </a:cubicBezTo>
                <a:cubicBezTo>
                  <a:pt x="4643422" y="269271"/>
                  <a:pt x="4637542" y="270111"/>
                  <a:pt x="4632083" y="269271"/>
                </a:cubicBezTo>
                <a:cubicBezTo>
                  <a:pt x="4626623" y="268851"/>
                  <a:pt x="4621583" y="267591"/>
                  <a:pt x="4616543" y="266751"/>
                </a:cubicBezTo>
                <a:cubicBezTo>
                  <a:pt x="4611503" y="265491"/>
                  <a:pt x="4606463" y="265071"/>
                  <a:pt x="4601424" y="265071"/>
                </a:cubicBezTo>
                <a:cubicBezTo>
                  <a:pt x="4596384" y="265071"/>
                  <a:pt x="4590924" y="266751"/>
                  <a:pt x="4585044" y="269691"/>
                </a:cubicBezTo>
                <a:cubicBezTo>
                  <a:pt x="4579585" y="275571"/>
                  <a:pt x="4575805" y="282710"/>
                  <a:pt x="4573285" y="290270"/>
                </a:cubicBezTo>
                <a:cubicBezTo>
                  <a:pt x="4570765" y="297830"/>
                  <a:pt x="4569505" y="305809"/>
                  <a:pt x="4568245" y="314209"/>
                </a:cubicBezTo>
                <a:cubicBezTo>
                  <a:pt x="4566986" y="322609"/>
                  <a:pt x="4566145" y="331008"/>
                  <a:pt x="4564886" y="339408"/>
                </a:cubicBezTo>
                <a:cubicBezTo>
                  <a:pt x="4563625" y="347808"/>
                  <a:pt x="4561526" y="355787"/>
                  <a:pt x="4558586" y="363767"/>
                </a:cubicBezTo>
                <a:cubicBezTo>
                  <a:pt x="4556066" y="369227"/>
                  <a:pt x="4554386" y="377626"/>
                  <a:pt x="4552706" y="388966"/>
                </a:cubicBezTo>
                <a:cubicBezTo>
                  <a:pt x="4551026" y="400725"/>
                  <a:pt x="4549766" y="413745"/>
                  <a:pt x="4548506" y="428024"/>
                </a:cubicBezTo>
                <a:cubicBezTo>
                  <a:pt x="4547246" y="442304"/>
                  <a:pt x="4546826" y="457423"/>
                  <a:pt x="4546406" y="472962"/>
                </a:cubicBezTo>
                <a:cubicBezTo>
                  <a:pt x="4545986" y="488502"/>
                  <a:pt x="4545986" y="503201"/>
                  <a:pt x="4545986" y="517060"/>
                </a:cubicBezTo>
                <a:cubicBezTo>
                  <a:pt x="4545986" y="530920"/>
                  <a:pt x="4546406" y="542679"/>
                  <a:pt x="4546826" y="553179"/>
                </a:cubicBezTo>
                <a:cubicBezTo>
                  <a:pt x="4547246" y="563258"/>
                  <a:pt x="4548086" y="570398"/>
                  <a:pt x="4549346" y="573338"/>
                </a:cubicBezTo>
                <a:cubicBezTo>
                  <a:pt x="4553966" y="591817"/>
                  <a:pt x="4561945" y="605256"/>
                  <a:pt x="4573285" y="614076"/>
                </a:cubicBezTo>
                <a:cubicBezTo>
                  <a:pt x="4584205" y="622896"/>
                  <a:pt x="4597224" y="627936"/>
                  <a:pt x="4611084" y="629616"/>
                </a:cubicBezTo>
                <a:cubicBezTo>
                  <a:pt x="4625363" y="631295"/>
                  <a:pt x="4640482" y="630036"/>
                  <a:pt x="4656021" y="625416"/>
                </a:cubicBezTo>
                <a:cubicBezTo>
                  <a:pt x="4671981" y="621216"/>
                  <a:pt x="4687100" y="615336"/>
                  <a:pt x="4701380" y="607777"/>
                </a:cubicBezTo>
                <a:cubicBezTo>
                  <a:pt x="4716079" y="600217"/>
                  <a:pt x="4729098" y="591817"/>
                  <a:pt x="4740858" y="582578"/>
                </a:cubicBezTo>
                <a:cubicBezTo>
                  <a:pt x="4753037" y="573338"/>
                  <a:pt x="4761857" y="564518"/>
                  <a:pt x="4768156" y="555699"/>
                </a:cubicBezTo>
                <a:cubicBezTo>
                  <a:pt x="4771097" y="551919"/>
                  <a:pt x="4774036" y="548559"/>
                  <a:pt x="4777396" y="545619"/>
                </a:cubicBezTo>
                <a:cubicBezTo>
                  <a:pt x="4780336" y="542679"/>
                  <a:pt x="4783276" y="539320"/>
                  <a:pt x="4785376" y="535540"/>
                </a:cubicBezTo>
                <a:cubicBezTo>
                  <a:pt x="4787476" y="532180"/>
                  <a:pt x="4788736" y="527980"/>
                  <a:pt x="4789156" y="523360"/>
                </a:cubicBezTo>
                <a:cubicBezTo>
                  <a:pt x="4789576" y="518740"/>
                  <a:pt x="4788736" y="512860"/>
                  <a:pt x="4786636" y="505721"/>
                </a:cubicBezTo>
                <a:cubicBezTo>
                  <a:pt x="4781596" y="490601"/>
                  <a:pt x="4771097" y="484302"/>
                  <a:pt x="4755137" y="485982"/>
                </a:cubicBezTo>
                <a:cubicBezTo>
                  <a:pt x="4747157" y="491861"/>
                  <a:pt x="4737918" y="499841"/>
                  <a:pt x="4728258" y="509501"/>
                </a:cubicBezTo>
                <a:cubicBezTo>
                  <a:pt x="4718599" y="519160"/>
                  <a:pt x="4708099" y="527980"/>
                  <a:pt x="4697600" y="535959"/>
                </a:cubicBezTo>
                <a:cubicBezTo>
                  <a:pt x="4686680" y="543939"/>
                  <a:pt x="4675341" y="549819"/>
                  <a:pt x="4663581" y="553599"/>
                </a:cubicBezTo>
                <a:cubicBezTo>
                  <a:pt x="4651822" y="557379"/>
                  <a:pt x="4639222" y="556119"/>
                  <a:pt x="4626203" y="550239"/>
                </a:cubicBezTo>
                <a:cubicBezTo>
                  <a:pt x="4622003" y="548559"/>
                  <a:pt x="4619063" y="544359"/>
                  <a:pt x="4616963" y="538479"/>
                </a:cubicBezTo>
                <a:cubicBezTo>
                  <a:pt x="4615283" y="532600"/>
                  <a:pt x="4614023" y="525460"/>
                  <a:pt x="4613184" y="517900"/>
                </a:cubicBezTo>
                <a:cubicBezTo>
                  <a:pt x="4612343" y="510341"/>
                  <a:pt x="4612763" y="502781"/>
                  <a:pt x="4613184" y="495641"/>
                </a:cubicBezTo>
                <a:cubicBezTo>
                  <a:pt x="4613603" y="488502"/>
                  <a:pt x="4614863" y="483042"/>
                  <a:pt x="4616123" y="479682"/>
                </a:cubicBezTo>
                <a:cubicBezTo>
                  <a:pt x="4617803" y="475902"/>
                  <a:pt x="4622003" y="472962"/>
                  <a:pt x="4627883" y="470442"/>
                </a:cubicBezTo>
                <a:cubicBezTo>
                  <a:pt x="4634183" y="468342"/>
                  <a:pt x="4640902" y="466243"/>
                  <a:pt x="4648882" y="464983"/>
                </a:cubicBezTo>
                <a:cubicBezTo>
                  <a:pt x="4656861" y="463723"/>
                  <a:pt x="4664421" y="462463"/>
                  <a:pt x="4671561" y="461203"/>
                </a:cubicBezTo>
                <a:cubicBezTo>
                  <a:pt x="4679120" y="460363"/>
                  <a:pt x="4684580" y="459523"/>
                  <a:pt x="4689200" y="458683"/>
                </a:cubicBezTo>
                <a:cubicBezTo>
                  <a:pt x="4695080" y="457843"/>
                  <a:pt x="4700120" y="456583"/>
                  <a:pt x="4704739" y="455323"/>
                </a:cubicBezTo>
                <a:cubicBezTo>
                  <a:pt x="4709359" y="453643"/>
                  <a:pt x="4713559" y="451543"/>
                  <a:pt x="4717339" y="449023"/>
                </a:cubicBezTo>
                <a:cubicBezTo>
                  <a:pt x="4720699" y="446083"/>
                  <a:pt x="4723638" y="442724"/>
                  <a:pt x="4725318" y="438104"/>
                </a:cubicBezTo>
                <a:cubicBezTo>
                  <a:pt x="4726999" y="433484"/>
                  <a:pt x="4727418" y="427604"/>
                  <a:pt x="4726579" y="420464"/>
                </a:cubicBezTo>
                <a:cubicBezTo>
                  <a:pt x="4726158" y="415005"/>
                  <a:pt x="4724479" y="409965"/>
                  <a:pt x="4722379" y="405345"/>
                </a:cubicBezTo>
                <a:cubicBezTo>
                  <a:pt x="4719859" y="400725"/>
                  <a:pt x="4716919" y="397365"/>
                  <a:pt x="4712719" y="395265"/>
                </a:cubicBezTo>
                <a:cubicBezTo>
                  <a:pt x="4704319" y="391066"/>
                  <a:pt x="4695500" y="389806"/>
                  <a:pt x="4687100" y="391486"/>
                </a:cubicBezTo>
                <a:cubicBezTo>
                  <a:pt x="4678281" y="393166"/>
                  <a:pt x="4669041" y="394846"/>
                  <a:pt x="4658961" y="395686"/>
                </a:cubicBezTo>
                <a:cubicBezTo>
                  <a:pt x="4656021" y="396105"/>
                  <a:pt x="4652242" y="396526"/>
                  <a:pt x="4646782" y="397786"/>
                </a:cubicBezTo>
                <a:cubicBezTo>
                  <a:pt x="4641742" y="398626"/>
                  <a:pt x="4637122" y="398626"/>
                  <a:pt x="4632922" y="396946"/>
                </a:cubicBezTo>
                <a:cubicBezTo>
                  <a:pt x="4629143" y="395265"/>
                  <a:pt x="4626203" y="391906"/>
                  <a:pt x="4625363" y="386446"/>
                </a:cubicBezTo>
                <a:cubicBezTo>
                  <a:pt x="4624103" y="380986"/>
                  <a:pt x="4626203" y="371327"/>
                  <a:pt x="4631242" y="358307"/>
                </a:cubicBezTo>
                <a:cubicBezTo>
                  <a:pt x="4636702" y="344448"/>
                  <a:pt x="4644262" y="335628"/>
                  <a:pt x="4653922" y="331848"/>
                </a:cubicBezTo>
                <a:cubicBezTo>
                  <a:pt x="4663581" y="328068"/>
                  <a:pt x="4674081" y="325549"/>
                  <a:pt x="4685420" y="325129"/>
                </a:cubicBezTo>
                <a:cubicBezTo>
                  <a:pt x="4696760" y="324289"/>
                  <a:pt x="4708519" y="323869"/>
                  <a:pt x="4720279" y="323029"/>
                </a:cubicBezTo>
                <a:cubicBezTo>
                  <a:pt x="4732038" y="322189"/>
                  <a:pt x="4742958" y="317989"/>
                  <a:pt x="4752617" y="310009"/>
                </a:cubicBezTo>
                <a:cubicBezTo>
                  <a:pt x="4758077" y="309589"/>
                  <a:pt x="4763117" y="307909"/>
                  <a:pt x="4768156" y="305809"/>
                </a:cubicBezTo>
                <a:moveTo>
                  <a:pt x="4989067" y="488502"/>
                </a:moveTo>
                <a:cubicBezTo>
                  <a:pt x="4993267" y="489342"/>
                  <a:pt x="4997047" y="490182"/>
                  <a:pt x="5000407" y="491861"/>
                </a:cubicBezTo>
                <a:cubicBezTo>
                  <a:pt x="5009226" y="494801"/>
                  <a:pt x="5019726" y="498581"/>
                  <a:pt x="5031066" y="503201"/>
                </a:cubicBezTo>
                <a:cubicBezTo>
                  <a:pt x="5042405" y="507821"/>
                  <a:pt x="5052065" y="513700"/>
                  <a:pt x="5059204" y="521260"/>
                </a:cubicBezTo>
                <a:cubicBezTo>
                  <a:pt x="5065924" y="527980"/>
                  <a:pt x="5073484" y="534280"/>
                  <a:pt x="5081883" y="540579"/>
                </a:cubicBezTo>
                <a:cubicBezTo>
                  <a:pt x="5090283" y="546879"/>
                  <a:pt x="5099102" y="552759"/>
                  <a:pt x="5108342" y="557379"/>
                </a:cubicBezTo>
                <a:cubicBezTo>
                  <a:pt x="5118002" y="561998"/>
                  <a:pt x="5127661" y="565778"/>
                  <a:pt x="5137741" y="568298"/>
                </a:cubicBezTo>
                <a:cubicBezTo>
                  <a:pt x="5147820" y="570818"/>
                  <a:pt x="5158320" y="571658"/>
                  <a:pt x="5169239" y="570398"/>
                </a:cubicBezTo>
                <a:cubicBezTo>
                  <a:pt x="5178479" y="569558"/>
                  <a:pt x="5187299" y="566618"/>
                  <a:pt x="5195278" y="561998"/>
                </a:cubicBezTo>
                <a:cubicBezTo>
                  <a:pt x="5202838" y="557799"/>
                  <a:pt x="5208298" y="552759"/>
                  <a:pt x="5211658" y="547299"/>
                </a:cubicBezTo>
                <a:cubicBezTo>
                  <a:pt x="5214597" y="541419"/>
                  <a:pt x="5215858" y="535540"/>
                  <a:pt x="5215017" y="530080"/>
                </a:cubicBezTo>
                <a:cubicBezTo>
                  <a:pt x="5214178" y="524200"/>
                  <a:pt x="5211237" y="518740"/>
                  <a:pt x="5206618" y="513700"/>
                </a:cubicBezTo>
                <a:cubicBezTo>
                  <a:pt x="5201998" y="508661"/>
                  <a:pt x="5196118" y="504461"/>
                  <a:pt x="5188138" y="501101"/>
                </a:cubicBezTo>
                <a:cubicBezTo>
                  <a:pt x="5184779" y="499841"/>
                  <a:pt x="5180999" y="499841"/>
                  <a:pt x="5177639" y="500261"/>
                </a:cubicBezTo>
                <a:cubicBezTo>
                  <a:pt x="5173859" y="500681"/>
                  <a:pt x="5170499" y="499841"/>
                  <a:pt x="5167560" y="497321"/>
                </a:cubicBezTo>
                <a:cubicBezTo>
                  <a:pt x="5158320" y="490182"/>
                  <a:pt x="5149080" y="483882"/>
                  <a:pt x="5139001" y="478002"/>
                </a:cubicBezTo>
                <a:cubicBezTo>
                  <a:pt x="5128921" y="472122"/>
                  <a:pt x="5118841" y="466662"/>
                  <a:pt x="5108762" y="461203"/>
                </a:cubicBezTo>
                <a:cubicBezTo>
                  <a:pt x="5098263" y="455743"/>
                  <a:pt x="5088183" y="450703"/>
                  <a:pt x="5077683" y="445243"/>
                </a:cubicBezTo>
                <a:cubicBezTo>
                  <a:pt x="5067604" y="439784"/>
                  <a:pt x="5057944" y="433904"/>
                  <a:pt x="5048285" y="427184"/>
                </a:cubicBezTo>
                <a:cubicBezTo>
                  <a:pt x="5060464" y="426764"/>
                  <a:pt x="5070964" y="422144"/>
                  <a:pt x="5080623" y="413745"/>
                </a:cubicBezTo>
                <a:cubicBezTo>
                  <a:pt x="5090283" y="405345"/>
                  <a:pt x="5098263" y="394846"/>
                  <a:pt x="5104982" y="381406"/>
                </a:cubicBezTo>
                <a:cubicBezTo>
                  <a:pt x="5111702" y="368387"/>
                  <a:pt x="5116741" y="353687"/>
                  <a:pt x="5120102" y="337308"/>
                </a:cubicBezTo>
                <a:cubicBezTo>
                  <a:pt x="5123881" y="321349"/>
                  <a:pt x="5125561" y="305390"/>
                  <a:pt x="5125981" y="289430"/>
                </a:cubicBezTo>
                <a:cubicBezTo>
                  <a:pt x="5126401" y="273471"/>
                  <a:pt x="5124721" y="258771"/>
                  <a:pt x="5121362" y="244912"/>
                </a:cubicBezTo>
                <a:cubicBezTo>
                  <a:pt x="5118002" y="231053"/>
                  <a:pt x="5112122" y="219713"/>
                  <a:pt x="5104562" y="211313"/>
                </a:cubicBezTo>
                <a:cubicBezTo>
                  <a:pt x="5097003" y="202914"/>
                  <a:pt x="5086923" y="197874"/>
                  <a:pt x="5075164" y="196194"/>
                </a:cubicBezTo>
                <a:cubicBezTo>
                  <a:pt x="5062984" y="194934"/>
                  <a:pt x="5048705" y="198294"/>
                  <a:pt x="5032325" y="207534"/>
                </a:cubicBezTo>
                <a:cubicBezTo>
                  <a:pt x="5028966" y="207114"/>
                  <a:pt x="5025606" y="208374"/>
                  <a:pt x="5021826" y="211313"/>
                </a:cubicBezTo>
                <a:cubicBezTo>
                  <a:pt x="5018046" y="214253"/>
                  <a:pt x="5014266" y="218033"/>
                  <a:pt x="5010486" y="222233"/>
                </a:cubicBezTo>
                <a:cubicBezTo>
                  <a:pt x="5007126" y="226433"/>
                  <a:pt x="5003346" y="231053"/>
                  <a:pt x="4999987" y="235672"/>
                </a:cubicBezTo>
                <a:cubicBezTo>
                  <a:pt x="4996627" y="240292"/>
                  <a:pt x="4993267" y="244072"/>
                  <a:pt x="4990747" y="246592"/>
                </a:cubicBezTo>
                <a:cubicBezTo>
                  <a:pt x="4987807" y="249532"/>
                  <a:pt x="4984447" y="251632"/>
                  <a:pt x="4980668" y="252892"/>
                </a:cubicBezTo>
                <a:cubicBezTo>
                  <a:pt x="4976888" y="254152"/>
                  <a:pt x="4973528" y="255832"/>
                  <a:pt x="4970588" y="257511"/>
                </a:cubicBezTo>
                <a:cubicBezTo>
                  <a:pt x="4967648" y="259191"/>
                  <a:pt x="4964708" y="260871"/>
                  <a:pt x="4962188" y="263391"/>
                </a:cubicBezTo>
                <a:cubicBezTo>
                  <a:pt x="4959669" y="265491"/>
                  <a:pt x="4957989" y="269271"/>
                  <a:pt x="4957569" y="273891"/>
                </a:cubicBezTo>
                <a:cubicBezTo>
                  <a:pt x="4955469" y="285650"/>
                  <a:pt x="4952949" y="296990"/>
                  <a:pt x="4949589" y="307489"/>
                </a:cubicBezTo>
                <a:cubicBezTo>
                  <a:pt x="4946229" y="317989"/>
                  <a:pt x="4942869" y="328489"/>
                  <a:pt x="4939089" y="338988"/>
                </a:cubicBezTo>
                <a:cubicBezTo>
                  <a:pt x="4935309" y="349488"/>
                  <a:pt x="4931530" y="359987"/>
                  <a:pt x="4927750" y="370067"/>
                </a:cubicBezTo>
                <a:cubicBezTo>
                  <a:pt x="4923970" y="380566"/>
                  <a:pt x="4920610" y="391486"/>
                  <a:pt x="4917250" y="403245"/>
                </a:cubicBezTo>
                <a:cubicBezTo>
                  <a:pt x="4912630" y="416685"/>
                  <a:pt x="4909691" y="430964"/>
                  <a:pt x="4907591" y="445243"/>
                </a:cubicBezTo>
                <a:cubicBezTo>
                  <a:pt x="4905491" y="459523"/>
                  <a:pt x="4902971" y="473382"/>
                  <a:pt x="4899191" y="486402"/>
                </a:cubicBezTo>
                <a:cubicBezTo>
                  <a:pt x="4897931" y="491022"/>
                  <a:pt x="4895831" y="499001"/>
                  <a:pt x="4892891" y="509921"/>
                </a:cubicBezTo>
                <a:cubicBezTo>
                  <a:pt x="4889951" y="521260"/>
                  <a:pt x="4886592" y="533860"/>
                  <a:pt x="4883651" y="548139"/>
                </a:cubicBezTo>
                <a:cubicBezTo>
                  <a:pt x="4880292" y="562419"/>
                  <a:pt x="4877772" y="577118"/>
                  <a:pt x="4875672" y="592237"/>
                </a:cubicBezTo>
                <a:cubicBezTo>
                  <a:pt x="4873572" y="607356"/>
                  <a:pt x="4873152" y="621216"/>
                  <a:pt x="4874412" y="633395"/>
                </a:cubicBezTo>
                <a:cubicBezTo>
                  <a:pt x="4875672" y="645575"/>
                  <a:pt x="4878612" y="655654"/>
                  <a:pt x="4883651" y="662794"/>
                </a:cubicBezTo>
                <a:cubicBezTo>
                  <a:pt x="4888692" y="670354"/>
                  <a:pt x="4897091" y="673294"/>
                  <a:pt x="4908011" y="672454"/>
                </a:cubicBezTo>
                <a:cubicBezTo>
                  <a:pt x="4916410" y="671614"/>
                  <a:pt x="4923130" y="668674"/>
                  <a:pt x="4928170" y="663634"/>
                </a:cubicBezTo>
                <a:cubicBezTo>
                  <a:pt x="4933210" y="658594"/>
                  <a:pt x="4936990" y="652715"/>
                  <a:pt x="4939509" y="645575"/>
                </a:cubicBezTo>
                <a:cubicBezTo>
                  <a:pt x="4942029" y="638435"/>
                  <a:pt x="4944129" y="630455"/>
                  <a:pt x="4944549" y="622056"/>
                </a:cubicBezTo>
                <a:cubicBezTo>
                  <a:pt x="4945389" y="613656"/>
                  <a:pt x="4945809" y="605256"/>
                  <a:pt x="4945389" y="597697"/>
                </a:cubicBezTo>
                <a:cubicBezTo>
                  <a:pt x="4945389" y="590977"/>
                  <a:pt x="4946649" y="582157"/>
                  <a:pt x="4948749" y="571658"/>
                </a:cubicBezTo>
                <a:cubicBezTo>
                  <a:pt x="4951269" y="561158"/>
                  <a:pt x="4953789" y="550239"/>
                  <a:pt x="4957569" y="539320"/>
                </a:cubicBezTo>
                <a:cubicBezTo>
                  <a:pt x="4960928" y="528400"/>
                  <a:pt x="4964708" y="517480"/>
                  <a:pt x="4968908" y="506561"/>
                </a:cubicBezTo>
                <a:cubicBezTo>
                  <a:pt x="4973108" y="496061"/>
                  <a:pt x="4976888" y="486822"/>
                  <a:pt x="4980668" y="479682"/>
                </a:cubicBezTo>
                <a:cubicBezTo>
                  <a:pt x="4982347" y="485562"/>
                  <a:pt x="4984868" y="487662"/>
                  <a:pt x="4989067" y="488502"/>
                </a:cubicBezTo>
                <a:moveTo>
                  <a:pt x="5020986" y="380146"/>
                </a:moveTo>
                <a:cubicBezTo>
                  <a:pt x="5018466" y="383926"/>
                  <a:pt x="5015526" y="387286"/>
                  <a:pt x="5013006" y="390226"/>
                </a:cubicBezTo>
                <a:cubicBezTo>
                  <a:pt x="5010066" y="392746"/>
                  <a:pt x="5007126" y="394846"/>
                  <a:pt x="5004606" y="395686"/>
                </a:cubicBezTo>
                <a:cubicBezTo>
                  <a:pt x="5001667" y="396946"/>
                  <a:pt x="4999567" y="396105"/>
                  <a:pt x="4997887" y="394426"/>
                </a:cubicBezTo>
                <a:cubicBezTo>
                  <a:pt x="4994107" y="390226"/>
                  <a:pt x="4993267" y="384766"/>
                  <a:pt x="4994947" y="377206"/>
                </a:cubicBezTo>
                <a:cubicBezTo>
                  <a:pt x="4996627" y="369647"/>
                  <a:pt x="4999567" y="362087"/>
                  <a:pt x="5004187" y="353687"/>
                </a:cubicBezTo>
                <a:cubicBezTo>
                  <a:pt x="5008806" y="345708"/>
                  <a:pt x="5013426" y="338148"/>
                  <a:pt x="5018886" y="331428"/>
                </a:cubicBezTo>
                <a:cubicBezTo>
                  <a:pt x="5024345" y="324709"/>
                  <a:pt x="5028966" y="320089"/>
                  <a:pt x="5032745" y="317149"/>
                </a:cubicBezTo>
                <a:cubicBezTo>
                  <a:pt x="5033165" y="326389"/>
                  <a:pt x="5033165" y="334788"/>
                  <a:pt x="5033585" y="343188"/>
                </a:cubicBezTo>
                <a:cubicBezTo>
                  <a:pt x="5034005" y="351167"/>
                  <a:pt x="5031905" y="359567"/>
                  <a:pt x="5027705" y="368387"/>
                </a:cubicBezTo>
                <a:cubicBezTo>
                  <a:pt x="5026025" y="372166"/>
                  <a:pt x="5023926" y="376366"/>
                  <a:pt x="5020986" y="380146"/>
                </a:cubicBezTo>
                <a:moveTo>
                  <a:pt x="5336392" y="237352"/>
                </a:moveTo>
                <a:cubicBezTo>
                  <a:pt x="5331773" y="252892"/>
                  <a:pt x="5330932" y="269271"/>
                  <a:pt x="5333872" y="285230"/>
                </a:cubicBezTo>
                <a:cubicBezTo>
                  <a:pt x="5337232" y="301190"/>
                  <a:pt x="5342272" y="318409"/>
                  <a:pt x="5349831" y="336048"/>
                </a:cubicBezTo>
                <a:cubicBezTo>
                  <a:pt x="5357391" y="353687"/>
                  <a:pt x="5364111" y="373427"/>
                  <a:pt x="5369991" y="395265"/>
                </a:cubicBezTo>
                <a:cubicBezTo>
                  <a:pt x="5370831" y="398205"/>
                  <a:pt x="5372091" y="402405"/>
                  <a:pt x="5374191" y="408285"/>
                </a:cubicBezTo>
                <a:cubicBezTo>
                  <a:pt x="5376291" y="414165"/>
                  <a:pt x="5378810" y="420464"/>
                  <a:pt x="5380490" y="428024"/>
                </a:cubicBezTo>
                <a:cubicBezTo>
                  <a:pt x="5382590" y="435584"/>
                  <a:pt x="5384690" y="443144"/>
                  <a:pt x="5386370" y="451543"/>
                </a:cubicBezTo>
                <a:cubicBezTo>
                  <a:pt x="5388050" y="459523"/>
                  <a:pt x="5388890" y="467502"/>
                  <a:pt x="5389310" y="474642"/>
                </a:cubicBezTo>
                <a:cubicBezTo>
                  <a:pt x="5389730" y="481782"/>
                  <a:pt x="5388890" y="488082"/>
                  <a:pt x="5386790" y="493121"/>
                </a:cubicBezTo>
                <a:cubicBezTo>
                  <a:pt x="5385110" y="498581"/>
                  <a:pt x="5381330" y="501941"/>
                  <a:pt x="5376291" y="503621"/>
                </a:cubicBezTo>
                <a:cubicBezTo>
                  <a:pt x="5372930" y="504461"/>
                  <a:pt x="5369571" y="504461"/>
                  <a:pt x="5366631" y="503621"/>
                </a:cubicBezTo>
                <a:cubicBezTo>
                  <a:pt x="5363691" y="502361"/>
                  <a:pt x="5361171" y="500681"/>
                  <a:pt x="5358231" y="498161"/>
                </a:cubicBezTo>
                <a:cubicBezTo>
                  <a:pt x="5355711" y="495641"/>
                  <a:pt x="5353192" y="493121"/>
                  <a:pt x="5351092" y="490182"/>
                </a:cubicBezTo>
                <a:cubicBezTo>
                  <a:pt x="5348572" y="487242"/>
                  <a:pt x="5346472" y="485142"/>
                  <a:pt x="5344792" y="483042"/>
                </a:cubicBezTo>
                <a:cubicBezTo>
                  <a:pt x="5338492" y="476322"/>
                  <a:pt x="5332612" y="473382"/>
                  <a:pt x="5326732" y="473382"/>
                </a:cubicBezTo>
                <a:cubicBezTo>
                  <a:pt x="5320853" y="473802"/>
                  <a:pt x="5315393" y="475902"/>
                  <a:pt x="5310773" y="480102"/>
                </a:cubicBezTo>
                <a:cubicBezTo>
                  <a:pt x="5306154" y="484302"/>
                  <a:pt x="5302374" y="490182"/>
                  <a:pt x="5299854" y="497321"/>
                </a:cubicBezTo>
                <a:cubicBezTo>
                  <a:pt x="5296914" y="504461"/>
                  <a:pt x="5296074" y="511181"/>
                  <a:pt x="5296914" y="517900"/>
                </a:cubicBezTo>
                <a:cubicBezTo>
                  <a:pt x="5297754" y="525460"/>
                  <a:pt x="5299854" y="533440"/>
                  <a:pt x="5303214" y="541419"/>
                </a:cubicBezTo>
                <a:cubicBezTo>
                  <a:pt x="5306574" y="549399"/>
                  <a:pt x="5311193" y="556959"/>
                  <a:pt x="5316653" y="563678"/>
                </a:cubicBezTo>
                <a:cubicBezTo>
                  <a:pt x="5322113" y="570398"/>
                  <a:pt x="5328832" y="575858"/>
                  <a:pt x="5336392" y="579638"/>
                </a:cubicBezTo>
                <a:cubicBezTo>
                  <a:pt x="5343952" y="583837"/>
                  <a:pt x="5352352" y="585518"/>
                  <a:pt x="5361171" y="585518"/>
                </a:cubicBezTo>
                <a:cubicBezTo>
                  <a:pt x="5384270" y="585097"/>
                  <a:pt x="5402750" y="579638"/>
                  <a:pt x="5416609" y="569558"/>
                </a:cubicBezTo>
                <a:cubicBezTo>
                  <a:pt x="5430468" y="559479"/>
                  <a:pt x="5441388" y="546879"/>
                  <a:pt x="5448527" y="532180"/>
                </a:cubicBezTo>
                <a:cubicBezTo>
                  <a:pt x="5455667" y="517480"/>
                  <a:pt x="5459447" y="501521"/>
                  <a:pt x="5460287" y="484302"/>
                </a:cubicBezTo>
                <a:cubicBezTo>
                  <a:pt x="5461127" y="467083"/>
                  <a:pt x="5459447" y="450703"/>
                  <a:pt x="5455247" y="435584"/>
                </a:cubicBezTo>
                <a:cubicBezTo>
                  <a:pt x="5452307" y="423824"/>
                  <a:pt x="5448107" y="412065"/>
                  <a:pt x="5442648" y="400305"/>
                </a:cubicBezTo>
                <a:cubicBezTo>
                  <a:pt x="5437188" y="388546"/>
                  <a:pt x="5431728" y="376786"/>
                  <a:pt x="5426688" y="364607"/>
                </a:cubicBezTo>
                <a:cubicBezTo>
                  <a:pt x="5421228" y="352428"/>
                  <a:pt x="5416609" y="340668"/>
                  <a:pt x="5412829" y="328489"/>
                </a:cubicBezTo>
                <a:cubicBezTo>
                  <a:pt x="5408629" y="316309"/>
                  <a:pt x="5406529" y="304130"/>
                  <a:pt x="5406109" y="292370"/>
                </a:cubicBezTo>
                <a:cubicBezTo>
                  <a:pt x="5405269" y="274731"/>
                  <a:pt x="5406529" y="262131"/>
                  <a:pt x="5409889" y="254152"/>
                </a:cubicBezTo>
                <a:cubicBezTo>
                  <a:pt x="5412829" y="246172"/>
                  <a:pt x="5417869" y="239872"/>
                  <a:pt x="5424588" y="236512"/>
                </a:cubicBezTo>
                <a:cubicBezTo>
                  <a:pt x="5431308" y="232733"/>
                  <a:pt x="5439708" y="229793"/>
                  <a:pt x="5449787" y="227693"/>
                </a:cubicBezTo>
                <a:cubicBezTo>
                  <a:pt x="5459867" y="225593"/>
                  <a:pt x="5471626" y="222233"/>
                  <a:pt x="5485066" y="217193"/>
                </a:cubicBezTo>
                <a:cubicBezTo>
                  <a:pt x="5490106" y="215513"/>
                  <a:pt x="5495565" y="212993"/>
                  <a:pt x="5500605" y="209214"/>
                </a:cubicBezTo>
                <a:cubicBezTo>
                  <a:pt x="5505645" y="205434"/>
                  <a:pt x="5508585" y="200394"/>
                  <a:pt x="5509845" y="194094"/>
                </a:cubicBezTo>
                <a:cubicBezTo>
                  <a:pt x="5508585" y="187795"/>
                  <a:pt x="5506905" y="181915"/>
                  <a:pt x="5504805" y="176875"/>
                </a:cubicBezTo>
                <a:cubicBezTo>
                  <a:pt x="5502705" y="171835"/>
                  <a:pt x="5500185" y="167635"/>
                  <a:pt x="5496405" y="164275"/>
                </a:cubicBezTo>
                <a:cubicBezTo>
                  <a:pt x="5493046" y="160916"/>
                  <a:pt x="5488425" y="158396"/>
                  <a:pt x="5482966" y="156716"/>
                </a:cubicBezTo>
                <a:cubicBezTo>
                  <a:pt x="5477506" y="155036"/>
                  <a:pt x="5470786" y="155036"/>
                  <a:pt x="5462387" y="155876"/>
                </a:cubicBezTo>
                <a:cubicBezTo>
                  <a:pt x="5455247" y="156716"/>
                  <a:pt x="5447268" y="157976"/>
                  <a:pt x="5438868" y="159236"/>
                </a:cubicBezTo>
                <a:cubicBezTo>
                  <a:pt x="5430468" y="160916"/>
                  <a:pt x="5422069" y="163016"/>
                  <a:pt x="5413669" y="165536"/>
                </a:cubicBezTo>
                <a:cubicBezTo>
                  <a:pt x="5405269" y="168055"/>
                  <a:pt x="5397709" y="171415"/>
                  <a:pt x="5390150" y="175195"/>
                </a:cubicBezTo>
                <a:cubicBezTo>
                  <a:pt x="5382590" y="178975"/>
                  <a:pt x="5376291" y="183595"/>
                  <a:pt x="5370831" y="189054"/>
                </a:cubicBezTo>
                <a:cubicBezTo>
                  <a:pt x="5352352" y="205014"/>
                  <a:pt x="5341012" y="221393"/>
                  <a:pt x="5336392" y="237352"/>
                </a:cubicBezTo>
                <a:moveTo>
                  <a:pt x="5839951" y="119757"/>
                </a:moveTo>
                <a:cubicBezTo>
                  <a:pt x="5836171" y="118917"/>
                  <a:pt x="5831971" y="118498"/>
                  <a:pt x="5827771" y="118498"/>
                </a:cubicBezTo>
                <a:cubicBezTo>
                  <a:pt x="5823571" y="118498"/>
                  <a:pt x="5818952" y="118917"/>
                  <a:pt x="5814332" y="119757"/>
                </a:cubicBezTo>
                <a:cubicBezTo>
                  <a:pt x="5809712" y="120597"/>
                  <a:pt x="5805512" y="121017"/>
                  <a:pt x="5802152" y="121437"/>
                </a:cubicBezTo>
                <a:cubicBezTo>
                  <a:pt x="5782833" y="123117"/>
                  <a:pt x="5763514" y="125637"/>
                  <a:pt x="5743775" y="129417"/>
                </a:cubicBezTo>
                <a:cubicBezTo>
                  <a:pt x="5724036" y="133197"/>
                  <a:pt x="5704296" y="137817"/>
                  <a:pt x="5684977" y="142856"/>
                </a:cubicBezTo>
                <a:cubicBezTo>
                  <a:pt x="5665658" y="148316"/>
                  <a:pt x="5647179" y="154196"/>
                  <a:pt x="5629540" y="160916"/>
                </a:cubicBezTo>
                <a:cubicBezTo>
                  <a:pt x="5611900" y="167635"/>
                  <a:pt x="5595521" y="175195"/>
                  <a:pt x="5580822" y="183175"/>
                </a:cubicBezTo>
                <a:cubicBezTo>
                  <a:pt x="5577042" y="185275"/>
                  <a:pt x="5574522" y="186955"/>
                  <a:pt x="5572842" y="188635"/>
                </a:cubicBezTo>
                <a:cubicBezTo>
                  <a:pt x="5571162" y="189894"/>
                  <a:pt x="5570742" y="193254"/>
                  <a:pt x="5571162" y="198294"/>
                </a:cubicBezTo>
                <a:cubicBezTo>
                  <a:pt x="5571582" y="202074"/>
                  <a:pt x="5572002" y="205854"/>
                  <a:pt x="5572842" y="209634"/>
                </a:cubicBezTo>
                <a:cubicBezTo>
                  <a:pt x="5573682" y="213833"/>
                  <a:pt x="5574942" y="217613"/>
                  <a:pt x="5576622" y="221393"/>
                </a:cubicBezTo>
                <a:cubicBezTo>
                  <a:pt x="5578302" y="225173"/>
                  <a:pt x="5580402" y="228533"/>
                  <a:pt x="5582921" y="231473"/>
                </a:cubicBezTo>
                <a:cubicBezTo>
                  <a:pt x="5585442" y="234412"/>
                  <a:pt x="5588381" y="236512"/>
                  <a:pt x="5592161" y="237352"/>
                </a:cubicBezTo>
                <a:cubicBezTo>
                  <a:pt x="5598881" y="239452"/>
                  <a:pt x="5606020" y="240292"/>
                  <a:pt x="5614420" y="239032"/>
                </a:cubicBezTo>
                <a:cubicBezTo>
                  <a:pt x="5622400" y="238192"/>
                  <a:pt x="5630380" y="236092"/>
                  <a:pt x="5638359" y="233572"/>
                </a:cubicBezTo>
                <a:cubicBezTo>
                  <a:pt x="5646339" y="231053"/>
                  <a:pt x="5654318" y="227693"/>
                  <a:pt x="5661878" y="224333"/>
                </a:cubicBezTo>
                <a:cubicBezTo>
                  <a:pt x="5669438" y="220973"/>
                  <a:pt x="5676158" y="218033"/>
                  <a:pt x="5682038" y="215093"/>
                </a:cubicBezTo>
                <a:cubicBezTo>
                  <a:pt x="5681197" y="240292"/>
                  <a:pt x="5679938" y="264231"/>
                  <a:pt x="5677417" y="286910"/>
                </a:cubicBezTo>
                <a:cubicBezTo>
                  <a:pt x="5675317" y="309589"/>
                  <a:pt x="5672798" y="332268"/>
                  <a:pt x="5670278" y="354527"/>
                </a:cubicBezTo>
                <a:cubicBezTo>
                  <a:pt x="5667758" y="376786"/>
                  <a:pt x="5666078" y="399465"/>
                  <a:pt x="5664818" y="421725"/>
                </a:cubicBezTo>
                <a:cubicBezTo>
                  <a:pt x="5663558" y="444403"/>
                  <a:pt x="5663558" y="467923"/>
                  <a:pt x="5665238" y="492281"/>
                </a:cubicBezTo>
                <a:cubicBezTo>
                  <a:pt x="5666078" y="498581"/>
                  <a:pt x="5667758" y="505301"/>
                  <a:pt x="5670278" y="512021"/>
                </a:cubicBezTo>
                <a:cubicBezTo>
                  <a:pt x="5673218" y="518740"/>
                  <a:pt x="5676578" y="524620"/>
                  <a:pt x="5680777" y="529240"/>
                </a:cubicBezTo>
                <a:cubicBezTo>
                  <a:pt x="5684977" y="533860"/>
                  <a:pt x="5690437" y="537220"/>
                  <a:pt x="5696317" y="538899"/>
                </a:cubicBezTo>
                <a:cubicBezTo>
                  <a:pt x="5702196" y="540999"/>
                  <a:pt x="5708916" y="540159"/>
                  <a:pt x="5715636" y="536799"/>
                </a:cubicBezTo>
                <a:cubicBezTo>
                  <a:pt x="5727815" y="531340"/>
                  <a:pt x="5735795" y="525040"/>
                  <a:pt x="5739575" y="518740"/>
                </a:cubicBezTo>
                <a:cubicBezTo>
                  <a:pt x="5743355" y="512441"/>
                  <a:pt x="5745035" y="505301"/>
                  <a:pt x="5744614" y="497321"/>
                </a:cubicBezTo>
                <a:cubicBezTo>
                  <a:pt x="5744195" y="489342"/>
                  <a:pt x="5742515" y="481362"/>
                  <a:pt x="5739995" y="472542"/>
                </a:cubicBezTo>
                <a:cubicBezTo>
                  <a:pt x="5737055" y="463723"/>
                  <a:pt x="5735375" y="454483"/>
                  <a:pt x="5734115" y="444403"/>
                </a:cubicBezTo>
                <a:cubicBezTo>
                  <a:pt x="5732015" y="425084"/>
                  <a:pt x="5732015" y="406185"/>
                  <a:pt x="5733275" y="386866"/>
                </a:cubicBezTo>
                <a:cubicBezTo>
                  <a:pt x="5734955" y="367547"/>
                  <a:pt x="5736635" y="348228"/>
                  <a:pt x="5738735" y="328908"/>
                </a:cubicBezTo>
                <a:cubicBezTo>
                  <a:pt x="5741255" y="309169"/>
                  <a:pt x="5743355" y="289850"/>
                  <a:pt x="5745455" y="270111"/>
                </a:cubicBezTo>
                <a:cubicBezTo>
                  <a:pt x="5747555" y="250372"/>
                  <a:pt x="5748814" y="230213"/>
                  <a:pt x="5748394" y="210054"/>
                </a:cubicBezTo>
                <a:cubicBezTo>
                  <a:pt x="5748394" y="205434"/>
                  <a:pt x="5749235" y="202074"/>
                  <a:pt x="5750494" y="199134"/>
                </a:cubicBezTo>
                <a:cubicBezTo>
                  <a:pt x="5752174" y="196614"/>
                  <a:pt x="5754274" y="194514"/>
                  <a:pt x="5756374" y="192834"/>
                </a:cubicBezTo>
                <a:cubicBezTo>
                  <a:pt x="5758894" y="191154"/>
                  <a:pt x="5761834" y="189894"/>
                  <a:pt x="5765194" y="189054"/>
                </a:cubicBezTo>
                <a:cubicBezTo>
                  <a:pt x="5768134" y="188214"/>
                  <a:pt x="5771493" y="187374"/>
                  <a:pt x="5774853" y="186535"/>
                </a:cubicBezTo>
                <a:cubicBezTo>
                  <a:pt x="5785773" y="183595"/>
                  <a:pt x="5797533" y="181915"/>
                  <a:pt x="5809712" y="181075"/>
                </a:cubicBezTo>
                <a:cubicBezTo>
                  <a:pt x="5821891" y="180655"/>
                  <a:pt x="5833651" y="178135"/>
                  <a:pt x="5844151" y="174775"/>
                </a:cubicBezTo>
                <a:cubicBezTo>
                  <a:pt x="5850030" y="172675"/>
                  <a:pt x="5853810" y="169735"/>
                  <a:pt x="5855070" y="165955"/>
                </a:cubicBezTo>
                <a:cubicBezTo>
                  <a:pt x="5856330" y="162175"/>
                  <a:pt x="5856750" y="157976"/>
                  <a:pt x="5855910" y="153356"/>
                </a:cubicBezTo>
                <a:cubicBezTo>
                  <a:pt x="5855070" y="148736"/>
                  <a:pt x="5853810" y="143696"/>
                  <a:pt x="5852130" y="138657"/>
                </a:cubicBezTo>
                <a:cubicBezTo>
                  <a:pt x="5850450" y="133617"/>
                  <a:pt x="5849610" y="128577"/>
                  <a:pt x="5849610" y="123537"/>
                </a:cubicBezTo>
                <a:cubicBezTo>
                  <a:pt x="5847510" y="122277"/>
                  <a:pt x="5843731" y="120597"/>
                  <a:pt x="5839951" y="119757"/>
                </a:cubicBezTo>
                <a:moveTo>
                  <a:pt x="6155357" y="108418"/>
                </a:moveTo>
                <a:cubicBezTo>
                  <a:pt x="6149477" y="107578"/>
                  <a:pt x="6144438" y="106318"/>
                  <a:pt x="6139818" y="104638"/>
                </a:cubicBezTo>
                <a:cubicBezTo>
                  <a:pt x="6130158" y="100858"/>
                  <a:pt x="6121758" y="97078"/>
                  <a:pt x="6114199" y="92459"/>
                </a:cubicBezTo>
                <a:cubicBezTo>
                  <a:pt x="6106639" y="88259"/>
                  <a:pt x="6097820" y="86159"/>
                  <a:pt x="6087320" y="86159"/>
                </a:cubicBezTo>
                <a:cubicBezTo>
                  <a:pt x="6074300" y="87839"/>
                  <a:pt x="6063381" y="92459"/>
                  <a:pt x="6054141" y="100018"/>
                </a:cubicBezTo>
                <a:cubicBezTo>
                  <a:pt x="6044902" y="107998"/>
                  <a:pt x="6036922" y="116817"/>
                  <a:pt x="6029782" y="127737"/>
                </a:cubicBezTo>
                <a:cubicBezTo>
                  <a:pt x="6022643" y="138657"/>
                  <a:pt x="6016343" y="149996"/>
                  <a:pt x="6010883" y="161756"/>
                </a:cubicBezTo>
                <a:cubicBezTo>
                  <a:pt x="6005003" y="173935"/>
                  <a:pt x="5999544" y="185275"/>
                  <a:pt x="5994084" y="195774"/>
                </a:cubicBezTo>
                <a:cubicBezTo>
                  <a:pt x="5988204" y="207534"/>
                  <a:pt x="5982325" y="222233"/>
                  <a:pt x="5975185" y="238612"/>
                </a:cubicBezTo>
                <a:cubicBezTo>
                  <a:pt x="5968465" y="255412"/>
                  <a:pt x="5962165" y="273051"/>
                  <a:pt x="5956285" y="291950"/>
                </a:cubicBezTo>
                <a:cubicBezTo>
                  <a:pt x="5950406" y="310849"/>
                  <a:pt x="5946206" y="330168"/>
                  <a:pt x="5942846" y="349488"/>
                </a:cubicBezTo>
                <a:cubicBezTo>
                  <a:pt x="5939486" y="369227"/>
                  <a:pt x="5938646" y="387706"/>
                  <a:pt x="5940326" y="405345"/>
                </a:cubicBezTo>
                <a:cubicBezTo>
                  <a:pt x="5942006" y="422984"/>
                  <a:pt x="5946626" y="438944"/>
                  <a:pt x="5954605" y="453643"/>
                </a:cubicBezTo>
                <a:cubicBezTo>
                  <a:pt x="5962165" y="467923"/>
                  <a:pt x="5974345" y="479682"/>
                  <a:pt x="5991144" y="488502"/>
                </a:cubicBezTo>
                <a:cubicBezTo>
                  <a:pt x="5998284" y="492281"/>
                  <a:pt x="6005003" y="494381"/>
                  <a:pt x="6011723" y="495641"/>
                </a:cubicBezTo>
                <a:cubicBezTo>
                  <a:pt x="6018443" y="496901"/>
                  <a:pt x="6025163" y="496901"/>
                  <a:pt x="6031882" y="496481"/>
                </a:cubicBezTo>
                <a:cubicBezTo>
                  <a:pt x="6044902" y="495221"/>
                  <a:pt x="6058341" y="490182"/>
                  <a:pt x="6072621" y="482202"/>
                </a:cubicBezTo>
                <a:cubicBezTo>
                  <a:pt x="6086900" y="474222"/>
                  <a:pt x="6100339" y="464143"/>
                  <a:pt x="6113359" y="452803"/>
                </a:cubicBezTo>
                <a:cubicBezTo>
                  <a:pt x="6126378" y="441463"/>
                  <a:pt x="6138138" y="429284"/>
                  <a:pt x="6148637" y="416685"/>
                </a:cubicBezTo>
                <a:cubicBezTo>
                  <a:pt x="6159137" y="404085"/>
                  <a:pt x="6167117" y="392746"/>
                  <a:pt x="6172576" y="382666"/>
                </a:cubicBezTo>
                <a:cubicBezTo>
                  <a:pt x="6177196" y="375106"/>
                  <a:pt x="6181816" y="367967"/>
                  <a:pt x="6186016" y="361667"/>
                </a:cubicBezTo>
                <a:cubicBezTo>
                  <a:pt x="6190216" y="355787"/>
                  <a:pt x="6194416" y="349067"/>
                  <a:pt x="6197775" y="342348"/>
                </a:cubicBezTo>
                <a:cubicBezTo>
                  <a:pt x="6201555" y="335628"/>
                  <a:pt x="6204915" y="328068"/>
                  <a:pt x="6207855" y="319249"/>
                </a:cubicBezTo>
                <a:cubicBezTo>
                  <a:pt x="6210794" y="310849"/>
                  <a:pt x="6212894" y="300350"/>
                  <a:pt x="6214574" y="288170"/>
                </a:cubicBezTo>
                <a:cubicBezTo>
                  <a:pt x="6214994" y="281450"/>
                  <a:pt x="6216254" y="275571"/>
                  <a:pt x="6218774" y="270531"/>
                </a:cubicBezTo>
                <a:cubicBezTo>
                  <a:pt x="6221294" y="265491"/>
                  <a:pt x="6222134" y="260451"/>
                  <a:pt x="6222134" y="255832"/>
                </a:cubicBezTo>
                <a:cubicBezTo>
                  <a:pt x="6223394" y="244912"/>
                  <a:pt x="6224654" y="231893"/>
                  <a:pt x="6224654" y="216773"/>
                </a:cubicBezTo>
                <a:cubicBezTo>
                  <a:pt x="6225074" y="201654"/>
                  <a:pt x="6223814" y="186535"/>
                  <a:pt x="6220454" y="171415"/>
                </a:cubicBezTo>
                <a:cubicBezTo>
                  <a:pt x="6217094" y="156716"/>
                  <a:pt x="6211635" y="143276"/>
                  <a:pt x="6204075" y="131937"/>
                </a:cubicBezTo>
                <a:cubicBezTo>
                  <a:pt x="6196515" y="120177"/>
                  <a:pt x="6185596" y="113038"/>
                  <a:pt x="6172156" y="110098"/>
                </a:cubicBezTo>
                <a:cubicBezTo>
                  <a:pt x="6166276" y="110518"/>
                  <a:pt x="6160817" y="109678"/>
                  <a:pt x="6155357" y="108418"/>
                </a:cubicBezTo>
                <a:moveTo>
                  <a:pt x="6134778" y="332268"/>
                </a:moveTo>
                <a:cubicBezTo>
                  <a:pt x="6126798" y="346548"/>
                  <a:pt x="6117559" y="359567"/>
                  <a:pt x="6107059" y="372166"/>
                </a:cubicBezTo>
                <a:cubicBezTo>
                  <a:pt x="6096979" y="384766"/>
                  <a:pt x="6085640" y="395686"/>
                  <a:pt x="6073041" y="405765"/>
                </a:cubicBezTo>
                <a:cubicBezTo>
                  <a:pt x="6060861" y="415425"/>
                  <a:pt x="6048682" y="422564"/>
                  <a:pt x="6036502" y="427604"/>
                </a:cubicBezTo>
                <a:cubicBezTo>
                  <a:pt x="6029782" y="430124"/>
                  <a:pt x="6024323" y="430124"/>
                  <a:pt x="6019703" y="427604"/>
                </a:cubicBezTo>
                <a:cubicBezTo>
                  <a:pt x="6015083" y="425084"/>
                  <a:pt x="6011303" y="421304"/>
                  <a:pt x="6008783" y="415845"/>
                </a:cubicBezTo>
                <a:cubicBezTo>
                  <a:pt x="6005844" y="410385"/>
                  <a:pt x="6004164" y="404085"/>
                  <a:pt x="6002903" y="396946"/>
                </a:cubicBezTo>
                <a:cubicBezTo>
                  <a:pt x="6001644" y="389806"/>
                  <a:pt x="6001224" y="382246"/>
                  <a:pt x="6001224" y="375106"/>
                </a:cubicBezTo>
                <a:cubicBezTo>
                  <a:pt x="6001224" y="367967"/>
                  <a:pt x="6001644" y="360827"/>
                  <a:pt x="6002903" y="354527"/>
                </a:cubicBezTo>
                <a:cubicBezTo>
                  <a:pt x="6004164" y="348228"/>
                  <a:pt x="6005424" y="343608"/>
                  <a:pt x="6007524" y="340248"/>
                </a:cubicBezTo>
                <a:cubicBezTo>
                  <a:pt x="6012983" y="330168"/>
                  <a:pt x="6016763" y="319249"/>
                  <a:pt x="6018863" y="307069"/>
                </a:cubicBezTo>
                <a:cubicBezTo>
                  <a:pt x="6020963" y="294890"/>
                  <a:pt x="6023483" y="283550"/>
                  <a:pt x="6026002" y="272211"/>
                </a:cubicBezTo>
                <a:cubicBezTo>
                  <a:pt x="6030202" y="253732"/>
                  <a:pt x="6038182" y="236512"/>
                  <a:pt x="6050362" y="219713"/>
                </a:cubicBezTo>
                <a:cubicBezTo>
                  <a:pt x="6062121" y="202914"/>
                  <a:pt x="6075980" y="189054"/>
                  <a:pt x="6091520" y="177715"/>
                </a:cubicBezTo>
                <a:cubicBezTo>
                  <a:pt x="6096140" y="174775"/>
                  <a:pt x="6100759" y="173515"/>
                  <a:pt x="6105799" y="174355"/>
                </a:cubicBezTo>
                <a:cubicBezTo>
                  <a:pt x="6110839" y="175195"/>
                  <a:pt x="6116298" y="175195"/>
                  <a:pt x="6122598" y="174355"/>
                </a:cubicBezTo>
                <a:cubicBezTo>
                  <a:pt x="6130578" y="173515"/>
                  <a:pt x="6136878" y="175195"/>
                  <a:pt x="6141918" y="179395"/>
                </a:cubicBezTo>
                <a:cubicBezTo>
                  <a:pt x="6146957" y="183595"/>
                  <a:pt x="6150737" y="189054"/>
                  <a:pt x="6153257" y="196614"/>
                </a:cubicBezTo>
                <a:cubicBezTo>
                  <a:pt x="6155777" y="203754"/>
                  <a:pt x="6157457" y="212153"/>
                  <a:pt x="6158297" y="220973"/>
                </a:cubicBezTo>
                <a:cubicBezTo>
                  <a:pt x="6159137" y="229793"/>
                  <a:pt x="6159137" y="239032"/>
                  <a:pt x="6158717" y="247852"/>
                </a:cubicBezTo>
                <a:cubicBezTo>
                  <a:pt x="6158297" y="256671"/>
                  <a:pt x="6157457" y="265071"/>
                  <a:pt x="6156197" y="272631"/>
                </a:cubicBezTo>
                <a:cubicBezTo>
                  <a:pt x="6154937" y="280191"/>
                  <a:pt x="6153677" y="286070"/>
                  <a:pt x="6152837" y="290270"/>
                </a:cubicBezTo>
                <a:cubicBezTo>
                  <a:pt x="6148637" y="304549"/>
                  <a:pt x="6142758" y="317989"/>
                  <a:pt x="6134778" y="332268"/>
                </a:cubicBezTo>
                <a:moveTo>
                  <a:pt x="6433385" y="242392"/>
                </a:moveTo>
                <a:cubicBezTo>
                  <a:pt x="6440945" y="242812"/>
                  <a:pt x="6446825" y="243232"/>
                  <a:pt x="6451864" y="243652"/>
                </a:cubicBezTo>
                <a:cubicBezTo>
                  <a:pt x="6458164" y="243652"/>
                  <a:pt x="6463624" y="241972"/>
                  <a:pt x="6469083" y="239032"/>
                </a:cubicBezTo>
                <a:cubicBezTo>
                  <a:pt x="6474123" y="236092"/>
                  <a:pt x="6479163" y="231893"/>
                  <a:pt x="6483363" y="227273"/>
                </a:cubicBezTo>
                <a:cubicBezTo>
                  <a:pt x="6487563" y="222653"/>
                  <a:pt x="6491762" y="217193"/>
                  <a:pt x="6495542" y="211313"/>
                </a:cubicBezTo>
                <a:cubicBezTo>
                  <a:pt x="6499322" y="205854"/>
                  <a:pt x="6502682" y="200394"/>
                  <a:pt x="6505622" y="195774"/>
                </a:cubicBezTo>
                <a:cubicBezTo>
                  <a:pt x="6508982" y="186955"/>
                  <a:pt x="6513181" y="178555"/>
                  <a:pt x="6518641" y="169735"/>
                </a:cubicBezTo>
                <a:cubicBezTo>
                  <a:pt x="6523681" y="161336"/>
                  <a:pt x="6528301" y="152516"/>
                  <a:pt x="6532921" y="143696"/>
                </a:cubicBezTo>
                <a:cubicBezTo>
                  <a:pt x="6537121" y="135297"/>
                  <a:pt x="6540901" y="126057"/>
                  <a:pt x="6543420" y="116817"/>
                </a:cubicBezTo>
                <a:cubicBezTo>
                  <a:pt x="6545940" y="107578"/>
                  <a:pt x="6546780" y="97918"/>
                  <a:pt x="6545940" y="87839"/>
                </a:cubicBezTo>
                <a:cubicBezTo>
                  <a:pt x="6544680" y="73979"/>
                  <a:pt x="6539221" y="61380"/>
                  <a:pt x="6530401" y="50460"/>
                </a:cubicBezTo>
                <a:cubicBezTo>
                  <a:pt x="6521161" y="39121"/>
                  <a:pt x="6510242" y="29881"/>
                  <a:pt x="6497642" y="22322"/>
                </a:cubicBezTo>
                <a:cubicBezTo>
                  <a:pt x="6484623" y="14762"/>
                  <a:pt x="6471183" y="9302"/>
                  <a:pt x="6456484" y="6362"/>
                </a:cubicBezTo>
                <a:cubicBezTo>
                  <a:pt x="6441784" y="3002"/>
                  <a:pt x="6427925" y="3002"/>
                  <a:pt x="6414486" y="5522"/>
                </a:cubicBezTo>
                <a:cubicBezTo>
                  <a:pt x="6411126" y="1322"/>
                  <a:pt x="6406086" y="-357"/>
                  <a:pt x="6399366" y="63"/>
                </a:cubicBezTo>
                <a:cubicBezTo>
                  <a:pt x="6392647" y="482"/>
                  <a:pt x="6385507" y="2582"/>
                  <a:pt x="6378367" y="5522"/>
                </a:cubicBezTo>
                <a:cubicBezTo>
                  <a:pt x="6371228" y="8462"/>
                  <a:pt x="6364928" y="12662"/>
                  <a:pt x="6359468" y="17702"/>
                </a:cubicBezTo>
                <a:cubicBezTo>
                  <a:pt x="6354009" y="22742"/>
                  <a:pt x="6351069" y="27361"/>
                  <a:pt x="6350229" y="32401"/>
                </a:cubicBezTo>
                <a:cubicBezTo>
                  <a:pt x="6349388" y="38701"/>
                  <a:pt x="6349809" y="45001"/>
                  <a:pt x="6351909" y="51300"/>
                </a:cubicBezTo>
                <a:cubicBezTo>
                  <a:pt x="6354009" y="57600"/>
                  <a:pt x="6354848" y="63900"/>
                  <a:pt x="6355268" y="70200"/>
                </a:cubicBezTo>
                <a:cubicBezTo>
                  <a:pt x="6355688" y="82379"/>
                  <a:pt x="6354429" y="94139"/>
                  <a:pt x="6351909" y="106318"/>
                </a:cubicBezTo>
                <a:cubicBezTo>
                  <a:pt x="6348969" y="118498"/>
                  <a:pt x="6347289" y="130677"/>
                  <a:pt x="6347289" y="142437"/>
                </a:cubicBezTo>
                <a:cubicBezTo>
                  <a:pt x="6347289" y="163016"/>
                  <a:pt x="6346449" y="184015"/>
                  <a:pt x="6344349" y="205854"/>
                </a:cubicBezTo>
                <a:cubicBezTo>
                  <a:pt x="6342249" y="227693"/>
                  <a:pt x="6340149" y="249532"/>
                  <a:pt x="6338469" y="271371"/>
                </a:cubicBezTo>
                <a:cubicBezTo>
                  <a:pt x="6336789" y="293630"/>
                  <a:pt x="6335109" y="315469"/>
                  <a:pt x="6334269" y="337308"/>
                </a:cubicBezTo>
                <a:cubicBezTo>
                  <a:pt x="6333429" y="359147"/>
                  <a:pt x="6334269" y="380566"/>
                  <a:pt x="6336369" y="401565"/>
                </a:cubicBezTo>
                <a:cubicBezTo>
                  <a:pt x="6337629" y="413325"/>
                  <a:pt x="6338049" y="423404"/>
                  <a:pt x="6337629" y="431804"/>
                </a:cubicBezTo>
                <a:cubicBezTo>
                  <a:pt x="6337629" y="440204"/>
                  <a:pt x="6337209" y="447343"/>
                  <a:pt x="6336789" y="453223"/>
                </a:cubicBezTo>
                <a:cubicBezTo>
                  <a:pt x="6336369" y="459523"/>
                  <a:pt x="6335949" y="465403"/>
                  <a:pt x="6335949" y="470442"/>
                </a:cubicBezTo>
                <a:cubicBezTo>
                  <a:pt x="6335949" y="475902"/>
                  <a:pt x="6336369" y="481362"/>
                  <a:pt x="6337629" y="487662"/>
                </a:cubicBezTo>
                <a:cubicBezTo>
                  <a:pt x="6338889" y="493961"/>
                  <a:pt x="6342669" y="499001"/>
                  <a:pt x="6348969" y="502781"/>
                </a:cubicBezTo>
                <a:cubicBezTo>
                  <a:pt x="6354848" y="506561"/>
                  <a:pt x="6361568" y="508661"/>
                  <a:pt x="6369128" y="509501"/>
                </a:cubicBezTo>
                <a:cubicBezTo>
                  <a:pt x="6376267" y="510341"/>
                  <a:pt x="6383827" y="509501"/>
                  <a:pt x="6390547" y="507401"/>
                </a:cubicBezTo>
                <a:cubicBezTo>
                  <a:pt x="6397686" y="505301"/>
                  <a:pt x="6403146" y="501521"/>
                  <a:pt x="6406926" y="496481"/>
                </a:cubicBezTo>
                <a:cubicBezTo>
                  <a:pt x="6409026" y="493961"/>
                  <a:pt x="6410286" y="489342"/>
                  <a:pt x="6411126" y="482202"/>
                </a:cubicBezTo>
                <a:cubicBezTo>
                  <a:pt x="6411966" y="475062"/>
                  <a:pt x="6412806" y="467083"/>
                  <a:pt x="6412806" y="458683"/>
                </a:cubicBezTo>
                <a:cubicBezTo>
                  <a:pt x="6412806" y="450283"/>
                  <a:pt x="6412806" y="442304"/>
                  <a:pt x="6412806" y="434324"/>
                </a:cubicBezTo>
                <a:cubicBezTo>
                  <a:pt x="6412386" y="426764"/>
                  <a:pt x="6412386" y="420885"/>
                  <a:pt x="6411966" y="417105"/>
                </a:cubicBezTo>
                <a:cubicBezTo>
                  <a:pt x="6411126" y="409125"/>
                  <a:pt x="6410286" y="402405"/>
                  <a:pt x="6409866" y="396946"/>
                </a:cubicBezTo>
                <a:cubicBezTo>
                  <a:pt x="6409446" y="391486"/>
                  <a:pt x="6408606" y="386026"/>
                  <a:pt x="6408606" y="380986"/>
                </a:cubicBezTo>
                <a:cubicBezTo>
                  <a:pt x="6408186" y="375946"/>
                  <a:pt x="6408186" y="370067"/>
                  <a:pt x="6408186" y="363767"/>
                </a:cubicBezTo>
                <a:cubicBezTo>
                  <a:pt x="6408186" y="357887"/>
                  <a:pt x="6408606" y="349907"/>
                  <a:pt x="6409446" y="340248"/>
                </a:cubicBezTo>
                <a:cubicBezTo>
                  <a:pt x="6409866" y="333528"/>
                  <a:pt x="6409866" y="326389"/>
                  <a:pt x="6409446" y="319669"/>
                </a:cubicBezTo>
                <a:cubicBezTo>
                  <a:pt x="6409026" y="312949"/>
                  <a:pt x="6409026" y="305809"/>
                  <a:pt x="6408606" y="297830"/>
                </a:cubicBezTo>
                <a:cubicBezTo>
                  <a:pt x="6408606" y="289850"/>
                  <a:pt x="6409026" y="281450"/>
                  <a:pt x="6409866" y="271371"/>
                </a:cubicBezTo>
                <a:cubicBezTo>
                  <a:pt x="6410706" y="261711"/>
                  <a:pt x="6413226" y="249952"/>
                  <a:pt x="6417006" y="236512"/>
                </a:cubicBezTo>
                <a:cubicBezTo>
                  <a:pt x="6420366" y="239872"/>
                  <a:pt x="6426245" y="241972"/>
                  <a:pt x="6433385" y="242392"/>
                </a:cubicBezTo>
                <a:moveTo>
                  <a:pt x="6423726" y="98758"/>
                </a:moveTo>
                <a:cubicBezTo>
                  <a:pt x="6425406" y="94978"/>
                  <a:pt x="6429185" y="92878"/>
                  <a:pt x="6434225" y="92459"/>
                </a:cubicBezTo>
                <a:cubicBezTo>
                  <a:pt x="6439265" y="91619"/>
                  <a:pt x="6443465" y="92878"/>
                  <a:pt x="6446405" y="94978"/>
                </a:cubicBezTo>
                <a:cubicBezTo>
                  <a:pt x="6450184" y="97918"/>
                  <a:pt x="6452704" y="101278"/>
                  <a:pt x="6453964" y="105478"/>
                </a:cubicBezTo>
                <a:cubicBezTo>
                  <a:pt x="6455224" y="109678"/>
                  <a:pt x="6455644" y="113878"/>
                  <a:pt x="6454804" y="118077"/>
                </a:cubicBezTo>
                <a:cubicBezTo>
                  <a:pt x="6454384" y="122277"/>
                  <a:pt x="6452704" y="126897"/>
                  <a:pt x="6450605" y="130677"/>
                </a:cubicBezTo>
                <a:cubicBezTo>
                  <a:pt x="6448505" y="134877"/>
                  <a:pt x="6445984" y="138657"/>
                  <a:pt x="6442625" y="141176"/>
                </a:cubicBezTo>
                <a:cubicBezTo>
                  <a:pt x="6442205" y="141597"/>
                  <a:pt x="6440945" y="142437"/>
                  <a:pt x="6438425" y="144116"/>
                </a:cubicBezTo>
                <a:cubicBezTo>
                  <a:pt x="6435905" y="145796"/>
                  <a:pt x="6433385" y="147056"/>
                  <a:pt x="6430865" y="148736"/>
                </a:cubicBezTo>
                <a:cubicBezTo>
                  <a:pt x="6428345" y="150416"/>
                  <a:pt x="6425825" y="151256"/>
                  <a:pt x="6423726" y="152096"/>
                </a:cubicBezTo>
                <a:cubicBezTo>
                  <a:pt x="6421626" y="152936"/>
                  <a:pt x="6420366" y="152936"/>
                  <a:pt x="6419946" y="151676"/>
                </a:cubicBezTo>
                <a:cubicBezTo>
                  <a:pt x="6419526" y="148736"/>
                  <a:pt x="6418685" y="144956"/>
                  <a:pt x="6418266" y="139497"/>
                </a:cubicBezTo>
                <a:cubicBezTo>
                  <a:pt x="6417846" y="134037"/>
                  <a:pt x="6417846" y="128997"/>
                  <a:pt x="6418266" y="123537"/>
                </a:cubicBezTo>
                <a:cubicBezTo>
                  <a:pt x="6418685" y="118077"/>
                  <a:pt x="6419106" y="113038"/>
                  <a:pt x="6419946" y="107998"/>
                </a:cubicBezTo>
                <a:cubicBezTo>
                  <a:pt x="6420785" y="102958"/>
                  <a:pt x="6422046" y="99178"/>
                  <a:pt x="6423306" y="96239"/>
                </a:cubicBezTo>
                <a:lnTo>
                  <a:pt x="6423726" y="98758"/>
                </a:lnTo>
                <a:close/>
                <a:moveTo>
                  <a:pt x="6664795" y="97498"/>
                </a:moveTo>
                <a:cubicBezTo>
                  <a:pt x="6660175" y="113458"/>
                  <a:pt x="6659335" y="129417"/>
                  <a:pt x="6662275" y="145376"/>
                </a:cubicBezTo>
                <a:cubicBezTo>
                  <a:pt x="6665215" y="161336"/>
                  <a:pt x="6670675" y="178555"/>
                  <a:pt x="6678235" y="196194"/>
                </a:cubicBezTo>
                <a:cubicBezTo>
                  <a:pt x="6685794" y="213833"/>
                  <a:pt x="6692514" y="233572"/>
                  <a:pt x="6698394" y="254992"/>
                </a:cubicBezTo>
                <a:cubicBezTo>
                  <a:pt x="6698814" y="257932"/>
                  <a:pt x="6700494" y="262131"/>
                  <a:pt x="6702594" y="268011"/>
                </a:cubicBezTo>
                <a:cubicBezTo>
                  <a:pt x="6704694" y="273891"/>
                  <a:pt x="6706794" y="280191"/>
                  <a:pt x="6708893" y="287750"/>
                </a:cubicBezTo>
                <a:cubicBezTo>
                  <a:pt x="6710993" y="295310"/>
                  <a:pt x="6713093" y="302869"/>
                  <a:pt x="6714773" y="311269"/>
                </a:cubicBezTo>
                <a:cubicBezTo>
                  <a:pt x="6716453" y="319669"/>
                  <a:pt x="6717713" y="327229"/>
                  <a:pt x="6717713" y="333948"/>
                </a:cubicBezTo>
                <a:cubicBezTo>
                  <a:pt x="6718133" y="341088"/>
                  <a:pt x="6717293" y="347388"/>
                  <a:pt x="6715193" y="352428"/>
                </a:cubicBezTo>
                <a:cubicBezTo>
                  <a:pt x="6713513" y="357887"/>
                  <a:pt x="6709733" y="361247"/>
                  <a:pt x="6704694" y="362927"/>
                </a:cubicBezTo>
                <a:cubicBezTo>
                  <a:pt x="6701334" y="364187"/>
                  <a:pt x="6697973" y="364187"/>
                  <a:pt x="6695034" y="362927"/>
                </a:cubicBezTo>
                <a:cubicBezTo>
                  <a:pt x="6692094" y="361667"/>
                  <a:pt x="6689574" y="359987"/>
                  <a:pt x="6686634" y="357467"/>
                </a:cubicBezTo>
                <a:cubicBezTo>
                  <a:pt x="6684114" y="354947"/>
                  <a:pt x="6681595" y="352428"/>
                  <a:pt x="6679074" y="349488"/>
                </a:cubicBezTo>
                <a:cubicBezTo>
                  <a:pt x="6676555" y="346548"/>
                  <a:pt x="6674874" y="344028"/>
                  <a:pt x="6672775" y="342348"/>
                </a:cubicBezTo>
                <a:cubicBezTo>
                  <a:pt x="6666475" y="335628"/>
                  <a:pt x="6660596" y="332688"/>
                  <a:pt x="6654716" y="332688"/>
                </a:cubicBezTo>
                <a:cubicBezTo>
                  <a:pt x="6648836" y="332688"/>
                  <a:pt x="6643376" y="335208"/>
                  <a:pt x="6638756" y="339408"/>
                </a:cubicBezTo>
                <a:cubicBezTo>
                  <a:pt x="6634136" y="343608"/>
                  <a:pt x="6630356" y="349488"/>
                  <a:pt x="6627837" y="356627"/>
                </a:cubicBezTo>
                <a:cubicBezTo>
                  <a:pt x="6624897" y="363767"/>
                  <a:pt x="6624057" y="370487"/>
                  <a:pt x="6624897" y="377626"/>
                </a:cubicBezTo>
                <a:cubicBezTo>
                  <a:pt x="6625737" y="385186"/>
                  <a:pt x="6627837" y="393166"/>
                  <a:pt x="6631197" y="401145"/>
                </a:cubicBezTo>
                <a:cubicBezTo>
                  <a:pt x="6634556" y="409125"/>
                  <a:pt x="6639176" y="416685"/>
                  <a:pt x="6644636" y="423404"/>
                </a:cubicBezTo>
                <a:cubicBezTo>
                  <a:pt x="6650096" y="430124"/>
                  <a:pt x="6656816" y="435584"/>
                  <a:pt x="6664375" y="439784"/>
                </a:cubicBezTo>
                <a:cubicBezTo>
                  <a:pt x="6671935" y="443984"/>
                  <a:pt x="6680334" y="446083"/>
                  <a:pt x="6689154" y="445663"/>
                </a:cubicBezTo>
                <a:cubicBezTo>
                  <a:pt x="6712253" y="444824"/>
                  <a:pt x="6730312" y="439784"/>
                  <a:pt x="6744592" y="429284"/>
                </a:cubicBezTo>
                <a:cubicBezTo>
                  <a:pt x="6758451" y="419205"/>
                  <a:pt x="6769370" y="406605"/>
                  <a:pt x="6776510" y="391906"/>
                </a:cubicBezTo>
                <a:cubicBezTo>
                  <a:pt x="6783650" y="377206"/>
                  <a:pt x="6787430" y="361247"/>
                  <a:pt x="6788270" y="344028"/>
                </a:cubicBezTo>
                <a:cubicBezTo>
                  <a:pt x="6789110" y="326808"/>
                  <a:pt x="6787430" y="310429"/>
                  <a:pt x="6783230" y="295310"/>
                </a:cubicBezTo>
                <a:cubicBezTo>
                  <a:pt x="6780290" y="283550"/>
                  <a:pt x="6776091" y="271791"/>
                  <a:pt x="6770631" y="260031"/>
                </a:cubicBezTo>
                <a:cubicBezTo>
                  <a:pt x="6765171" y="248272"/>
                  <a:pt x="6759711" y="236512"/>
                  <a:pt x="6754671" y="224333"/>
                </a:cubicBezTo>
                <a:cubicBezTo>
                  <a:pt x="6749212" y="212153"/>
                  <a:pt x="6745012" y="200394"/>
                  <a:pt x="6740812" y="188214"/>
                </a:cubicBezTo>
                <a:cubicBezTo>
                  <a:pt x="6736612" y="176035"/>
                  <a:pt x="6734512" y="163856"/>
                  <a:pt x="6734092" y="152096"/>
                </a:cubicBezTo>
                <a:cubicBezTo>
                  <a:pt x="6733252" y="134877"/>
                  <a:pt x="6734512" y="121857"/>
                  <a:pt x="6737872" y="113878"/>
                </a:cubicBezTo>
                <a:cubicBezTo>
                  <a:pt x="6741232" y="105478"/>
                  <a:pt x="6745852" y="99598"/>
                  <a:pt x="6752571" y="95818"/>
                </a:cubicBezTo>
                <a:cubicBezTo>
                  <a:pt x="6759291" y="92039"/>
                  <a:pt x="6767691" y="89099"/>
                  <a:pt x="6777770" y="86999"/>
                </a:cubicBezTo>
                <a:cubicBezTo>
                  <a:pt x="6787850" y="84899"/>
                  <a:pt x="6799609" y="81539"/>
                  <a:pt x="6813049" y="76499"/>
                </a:cubicBezTo>
                <a:cubicBezTo>
                  <a:pt x="6818089" y="74819"/>
                  <a:pt x="6823548" y="72300"/>
                  <a:pt x="6828588" y="68520"/>
                </a:cubicBezTo>
                <a:cubicBezTo>
                  <a:pt x="6833628" y="65160"/>
                  <a:pt x="6836988" y="60120"/>
                  <a:pt x="6837828" y="53400"/>
                </a:cubicBezTo>
                <a:cubicBezTo>
                  <a:pt x="6836568" y="47101"/>
                  <a:pt x="6834888" y="41221"/>
                  <a:pt x="6832788" y="36181"/>
                </a:cubicBezTo>
                <a:cubicBezTo>
                  <a:pt x="6830688" y="31141"/>
                  <a:pt x="6828168" y="26942"/>
                  <a:pt x="6824808" y="23162"/>
                </a:cubicBezTo>
                <a:cubicBezTo>
                  <a:pt x="6821448" y="19802"/>
                  <a:pt x="6816829" y="17282"/>
                  <a:pt x="6811369" y="15602"/>
                </a:cubicBezTo>
                <a:cubicBezTo>
                  <a:pt x="6805909" y="13922"/>
                  <a:pt x="6799190" y="13502"/>
                  <a:pt x="6790790" y="14342"/>
                </a:cubicBezTo>
                <a:cubicBezTo>
                  <a:pt x="6783650" y="15182"/>
                  <a:pt x="6775670" y="16022"/>
                  <a:pt x="6767271" y="18122"/>
                </a:cubicBezTo>
                <a:cubicBezTo>
                  <a:pt x="6758871" y="19802"/>
                  <a:pt x="6750471" y="21902"/>
                  <a:pt x="6742492" y="24421"/>
                </a:cubicBezTo>
                <a:cubicBezTo>
                  <a:pt x="6734092" y="26942"/>
                  <a:pt x="6726532" y="30301"/>
                  <a:pt x="6718973" y="34081"/>
                </a:cubicBezTo>
                <a:cubicBezTo>
                  <a:pt x="6711413" y="37861"/>
                  <a:pt x="6705113" y="42481"/>
                  <a:pt x="6700073" y="47941"/>
                </a:cubicBezTo>
                <a:cubicBezTo>
                  <a:pt x="6681174" y="65160"/>
                  <a:pt x="6669415" y="81959"/>
                  <a:pt x="6664795" y="97498"/>
                </a:cubicBezTo>
              </a:path>
            </a:pathLst>
          </a:custGeom>
          <a:solidFill>
            <a:srgbClr val="000000"/>
          </a:solidFill>
          <a:ln w="41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FACD9BB9-A5DE-3355-3C39-DA49E11C9D2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050" y="2124075"/>
            <a:ext cx="4903788" cy="4464050"/>
          </a:xfrm>
        </p:spPr>
        <p:txBody>
          <a:bodyPr>
            <a:noAutofit/>
          </a:bodyPr>
          <a:lstStyle>
            <a:lvl1pPr marL="0" indent="0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holder for an illustration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F7C7F9F8-F2E5-D258-0600-C670E1305EB5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7516B075-E167-1DC8-1C76-6614A039F9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8908"/>
          <a:stretch/>
        </p:blipFill>
        <p:spPr>
          <a:xfrm>
            <a:off x="366896" y="392181"/>
            <a:ext cx="1648717" cy="561711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7216432-96BE-4CE9-8D8E-48ED2DF42096}"/>
              </a:ext>
            </a:extLst>
          </p:cNvPr>
          <p:cNvCxnSpPr>
            <a:cxnSpLocks/>
          </p:cNvCxnSpPr>
          <p:nvPr userDrawn="1"/>
        </p:nvCxnSpPr>
        <p:spPr>
          <a:xfrm>
            <a:off x="2375694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0DBE97BE-6F1E-5ACF-10A9-E96BCA24C8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99557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2937290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DB82220-EA77-48B8-B641-AB0217DCF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45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DB82220-EA77-48B8-B641-AB0217DCF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ED5E9CA8-E528-4213-8F6D-F439DEBFBE09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D85403C-2C6C-410A-923C-9D4203DBB9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7B93CCF-F3A5-485C-894E-35EBC5C26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01F440D-9715-490B-9AC2-B913CC685B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6662" y="1601999"/>
            <a:ext cx="8426452" cy="219291"/>
          </a:xfrm>
        </p:spPr>
        <p:txBody>
          <a:bodyPr/>
          <a:lstStyle>
            <a:lvl1pPr marL="0" indent="0" rtl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US"/>
              <a:t>Mastertextformat bearbeiten</a:t>
            </a:r>
            <a:endParaRPr lang="en-US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7128DF5F-2781-4C54-B6AF-C99A46433E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9"/>
            <a:ext cx="842645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Disclaimer</a:t>
            </a:r>
            <a:endParaRPr lang="en-US" dirty="0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0F46E96-6691-099C-A473-D29F04D041FE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3F92516-D281-782A-4050-33C71CBBC70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CC7415-B841-73A8-6773-3DE73023A5C8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D74C9B2-5724-3B8A-0314-06333797BA09}"/>
              </a:ext>
            </a:extLst>
          </p:cNvPr>
          <p:cNvCxnSpPr>
            <a:cxnSpLocks/>
          </p:cNvCxnSpPr>
          <p:nvPr userDrawn="1"/>
        </p:nvCxnSpPr>
        <p:spPr>
          <a:xfrm>
            <a:off x="1085057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703C465-B1E5-6688-C85F-34A472C4B56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>
              <a:defRPr sz="700" i="1">
                <a:solidFill>
                  <a:schemeClr val="tx2"/>
                </a:solidFill>
                <a:latin typeface="+mj-lt"/>
              </a:defRPr>
            </a:lvl1pPr>
            <a:lvl2pPr>
              <a:defRPr sz="700">
                <a:solidFill>
                  <a:schemeClr val="tx2"/>
                </a:solidFill>
              </a:defRPr>
            </a:lvl2pPr>
            <a:lvl3pPr>
              <a:defRPr sz="700">
                <a:solidFill>
                  <a:schemeClr val="tx2"/>
                </a:solidFill>
              </a:defRPr>
            </a:lvl3pPr>
            <a:lvl4pPr>
              <a:defRPr sz="700">
                <a:solidFill>
                  <a:schemeClr val="tx2"/>
                </a:solidFill>
              </a:defRPr>
            </a:lvl4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3773518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2D304F-3F8D-4272-ADFB-A9C379E43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137066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2D304F-3F8D-4272-ADFB-A9C379E43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5FE68BB3-259A-4C6D-9F57-D9AF30B5F0AB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grpSp>
        <p:nvGrpSpPr>
          <p:cNvPr id="7" name="Grafik 25">
            <a:extLst>
              <a:ext uri="{FF2B5EF4-FFF2-40B4-BE49-F238E27FC236}">
                <a16:creationId xmlns:a16="http://schemas.microsoft.com/office/drawing/2014/main" id="{C3EC96FD-E989-E88F-A6B8-F302FC0A3095}"/>
              </a:ext>
            </a:extLst>
          </p:cNvPr>
          <p:cNvGrpSpPr/>
          <p:nvPr userDrawn="1"/>
        </p:nvGrpSpPr>
        <p:grpSpPr>
          <a:xfrm>
            <a:off x="9427029" y="3094723"/>
            <a:ext cx="3549016" cy="3149663"/>
            <a:chOff x="4209649" y="1458428"/>
            <a:chExt cx="4828124" cy="4284838"/>
          </a:xfrm>
          <a:solidFill>
            <a:schemeClr val="bg1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617F6D54-DEF6-864D-6F1F-5E5379087D55}"/>
                </a:ext>
              </a:extLst>
            </p:cNvPr>
            <p:cNvSpPr/>
            <p:nvPr/>
          </p:nvSpPr>
          <p:spPr>
            <a:xfrm>
              <a:off x="4505731" y="3145664"/>
              <a:ext cx="71030" cy="70556"/>
            </a:xfrm>
            <a:custGeom>
              <a:avLst/>
              <a:gdLst>
                <a:gd name="connsiteX0" fmla="*/ 11 w 71030"/>
                <a:gd name="connsiteY0" fmla="*/ 33599 h 70556"/>
                <a:gd name="connsiteX1" fmla="*/ 35290 w 71030"/>
                <a:gd name="connsiteY1" fmla="*/ 0 h 70556"/>
                <a:gd name="connsiteX2" fmla="*/ 70988 w 71030"/>
                <a:gd name="connsiteY2" fmla="*/ 36538 h 70556"/>
                <a:gd name="connsiteX3" fmla="*/ 35290 w 71030"/>
                <a:gd name="connsiteY3" fmla="*/ 70557 h 70556"/>
                <a:gd name="connsiteX4" fmla="*/ 11 w 71030"/>
                <a:gd name="connsiteY4" fmla="*/ 33599 h 70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30" h="70556">
                  <a:moveTo>
                    <a:pt x="11" y="33599"/>
                  </a:moveTo>
                  <a:cubicBezTo>
                    <a:pt x="431" y="10500"/>
                    <a:pt x="11351" y="0"/>
                    <a:pt x="35290" y="0"/>
                  </a:cubicBezTo>
                  <a:cubicBezTo>
                    <a:pt x="60069" y="0"/>
                    <a:pt x="71828" y="12180"/>
                    <a:pt x="70988" y="36538"/>
                  </a:cubicBezTo>
                  <a:cubicBezTo>
                    <a:pt x="70148" y="59217"/>
                    <a:pt x="58809" y="70557"/>
                    <a:pt x="35290" y="70557"/>
                  </a:cubicBezTo>
                  <a:cubicBezTo>
                    <a:pt x="10931" y="70137"/>
                    <a:pt x="-409" y="58797"/>
                    <a:pt x="11" y="33599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A2016DD-AE62-8B1C-13C5-43863E7802AC}"/>
                </a:ext>
              </a:extLst>
            </p:cNvPr>
            <p:cNvSpPr/>
            <p:nvPr/>
          </p:nvSpPr>
          <p:spPr>
            <a:xfrm>
              <a:off x="8936548" y="2954146"/>
              <a:ext cx="101226" cy="92001"/>
            </a:xfrm>
            <a:custGeom>
              <a:avLst/>
              <a:gdLst>
                <a:gd name="connsiteX0" fmla="*/ 51662 w 101226"/>
                <a:gd name="connsiteY0" fmla="*/ 7 h 92001"/>
                <a:gd name="connsiteX1" fmla="*/ 101220 w 101226"/>
                <a:gd name="connsiteY1" fmla="*/ 46205 h 92001"/>
                <a:gd name="connsiteX2" fmla="*/ 52922 w 101226"/>
                <a:gd name="connsiteY2" fmla="*/ 91983 h 92001"/>
                <a:gd name="connsiteX3" fmla="*/ 4 w 101226"/>
                <a:gd name="connsiteY3" fmla="*/ 44945 h 92001"/>
                <a:gd name="connsiteX4" fmla="*/ 51662 w 101226"/>
                <a:gd name="connsiteY4" fmla="*/ 7 h 9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26" h="92001">
                  <a:moveTo>
                    <a:pt x="51662" y="7"/>
                  </a:moveTo>
                  <a:cubicBezTo>
                    <a:pt x="81060" y="7"/>
                    <a:pt x="101640" y="19326"/>
                    <a:pt x="101220" y="46205"/>
                  </a:cubicBezTo>
                  <a:cubicBezTo>
                    <a:pt x="100800" y="65944"/>
                    <a:pt x="74341" y="91143"/>
                    <a:pt x="52922" y="91983"/>
                  </a:cubicBezTo>
                  <a:cubicBezTo>
                    <a:pt x="30243" y="92823"/>
                    <a:pt x="-416" y="65524"/>
                    <a:pt x="4" y="44945"/>
                  </a:cubicBezTo>
                  <a:cubicBezTo>
                    <a:pt x="844" y="18066"/>
                    <a:pt x="21423" y="-413"/>
                    <a:pt x="51662" y="7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33BCBEA-C170-28B3-250F-2A8BCE383465}"/>
                </a:ext>
              </a:extLst>
            </p:cNvPr>
            <p:cNvSpPr/>
            <p:nvPr/>
          </p:nvSpPr>
          <p:spPr>
            <a:xfrm>
              <a:off x="7403584" y="5115380"/>
              <a:ext cx="82393" cy="75229"/>
            </a:xfrm>
            <a:custGeom>
              <a:avLst/>
              <a:gdLst>
                <a:gd name="connsiteX0" fmla="*/ 37832 w 82393"/>
                <a:gd name="connsiteY0" fmla="*/ 0 h 75229"/>
                <a:gd name="connsiteX1" fmla="*/ 82350 w 82393"/>
                <a:gd name="connsiteY1" fmla="*/ 36118 h 75229"/>
                <a:gd name="connsiteX2" fmla="*/ 39511 w 82393"/>
                <a:gd name="connsiteY2" fmla="*/ 75177 h 75229"/>
                <a:gd name="connsiteX3" fmla="*/ 33 w 82393"/>
                <a:gd name="connsiteY3" fmla="*/ 34859 h 75229"/>
                <a:gd name="connsiteX4" fmla="*/ 37832 w 82393"/>
                <a:gd name="connsiteY4" fmla="*/ 0 h 7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93" h="75229">
                  <a:moveTo>
                    <a:pt x="37832" y="0"/>
                  </a:moveTo>
                  <a:cubicBezTo>
                    <a:pt x="57571" y="0"/>
                    <a:pt x="83609" y="20999"/>
                    <a:pt x="82350" y="36118"/>
                  </a:cubicBezTo>
                  <a:cubicBezTo>
                    <a:pt x="80670" y="55018"/>
                    <a:pt x="57991" y="76437"/>
                    <a:pt x="39511" y="75177"/>
                  </a:cubicBezTo>
                  <a:cubicBezTo>
                    <a:pt x="17252" y="73917"/>
                    <a:pt x="453" y="57117"/>
                    <a:pt x="33" y="34859"/>
                  </a:cubicBezTo>
                  <a:cubicBezTo>
                    <a:pt x="-807" y="13860"/>
                    <a:pt x="14312" y="420"/>
                    <a:pt x="37832" y="0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E2E7B47-6801-2AE2-049A-C8939073E4A9}"/>
                </a:ext>
              </a:extLst>
            </p:cNvPr>
            <p:cNvSpPr/>
            <p:nvPr/>
          </p:nvSpPr>
          <p:spPr>
            <a:xfrm>
              <a:off x="4209649" y="2028092"/>
              <a:ext cx="92425" cy="98715"/>
            </a:xfrm>
            <a:custGeom>
              <a:avLst/>
              <a:gdLst>
                <a:gd name="connsiteX0" fmla="*/ 6 w 92425"/>
                <a:gd name="connsiteY0" fmla="*/ 44938 h 98715"/>
                <a:gd name="connsiteX1" fmla="*/ 46204 w 92425"/>
                <a:gd name="connsiteY1" fmla="*/ 0 h 98715"/>
                <a:gd name="connsiteX2" fmla="*/ 92402 w 92425"/>
                <a:gd name="connsiteY2" fmla="*/ 51658 h 98715"/>
                <a:gd name="connsiteX3" fmla="*/ 45364 w 92425"/>
                <a:gd name="connsiteY3" fmla="*/ 98696 h 98715"/>
                <a:gd name="connsiteX4" fmla="*/ 6 w 92425"/>
                <a:gd name="connsiteY4" fmla="*/ 44938 h 9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425" h="98715">
                  <a:moveTo>
                    <a:pt x="6" y="44938"/>
                  </a:moveTo>
                  <a:cubicBezTo>
                    <a:pt x="426" y="20159"/>
                    <a:pt x="21425" y="0"/>
                    <a:pt x="46204" y="0"/>
                  </a:cubicBezTo>
                  <a:cubicBezTo>
                    <a:pt x="71403" y="0"/>
                    <a:pt x="93242" y="24359"/>
                    <a:pt x="92402" y="51658"/>
                  </a:cubicBezTo>
                  <a:cubicBezTo>
                    <a:pt x="91562" y="73497"/>
                    <a:pt x="65943" y="99536"/>
                    <a:pt x="45364" y="98696"/>
                  </a:cubicBezTo>
                  <a:cubicBezTo>
                    <a:pt x="22685" y="98276"/>
                    <a:pt x="-414" y="70977"/>
                    <a:pt x="6" y="44938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21BDD38-C288-8DBC-8EC7-55451E5AD779}"/>
                </a:ext>
              </a:extLst>
            </p:cNvPr>
            <p:cNvSpPr/>
            <p:nvPr/>
          </p:nvSpPr>
          <p:spPr>
            <a:xfrm>
              <a:off x="6551046" y="5650787"/>
              <a:ext cx="93249" cy="92479"/>
            </a:xfrm>
            <a:custGeom>
              <a:avLst/>
              <a:gdLst>
                <a:gd name="connsiteX0" fmla="*/ 45366 w 93249"/>
                <a:gd name="connsiteY0" fmla="*/ 92466 h 92479"/>
                <a:gd name="connsiteX1" fmla="*/ 8 w 93249"/>
                <a:gd name="connsiteY1" fmla="*/ 51728 h 92479"/>
                <a:gd name="connsiteX2" fmla="*/ 44527 w 93249"/>
                <a:gd name="connsiteY2" fmla="*/ 70 h 92479"/>
                <a:gd name="connsiteX3" fmla="*/ 93244 w 93249"/>
                <a:gd name="connsiteY3" fmla="*/ 50888 h 92479"/>
                <a:gd name="connsiteX4" fmla="*/ 45366 w 93249"/>
                <a:gd name="connsiteY4" fmla="*/ 92466 h 9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249" h="92479">
                  <a:moveTo>
                    <a:pt x="45366" y="92466"/>
                  </a:moveTo>
                  <a:cubicBezTo>
                    <a:pt x="10928" y="92886"/>
                    <a:pt x="848" y="83646"/>
                    <a:pt x="8" y="51728"/>
                  </a:cubicBezTo>
                  <a:cubicBezTo>
                    <a:pt x="-412" y="20649"/>
                    <a:pt x="15128" y="2170"/>
                    <a:pt x="44527" y="70"/>
                  </a:cubicBezTo>
                  <a:cubicBezTo>
                    <a:pt x="65946" y="-1610"/>
                    <a:pt x="93664" y="27369"/>
                    <a:pt x="93244" y="50888"/>
                  </a:cubicBezTo>
                  <a:cubicBezTo>
                    <a:pt x="92824" y="76506"/>
                    <a:pt x="74765" y="92046"/>
                    <a:pt x="45366" y="92466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B5EA68E3-FF66-8F32-CB03-41819C9A79B0}"/>
                </a:ext>
              </a:extLst>
            </p:cNvPr>
            <p:cNvSpPr/>
            <p:nvPr/>
          </p:nvSpPr>
          <p:spPr>
            <a:xfrm>
              <a:off x="5855132" y="5256855"/>
              <a:ext cx="61336" cy="60955"/>
            </a:xfrm>
            <a:custGeom>
              <a:avLst/>
              <a:gdLst>
                <a:gd name="connsiteX0" fmla="*/ 29831 w 61336"/>
                <a:gd name="connsiteY0" fmla="*/ 60956 h 60955"/>
                <a:gd name="connsiteX1" fmla="*/ 12 w 61336"/>
                <a:gd name="connsiteY1" fmla="*/ 34078 h 60955"/>
                <a:gd name="connsiteX2" fmla="*/ 29411 w 61336"/>
                <a:gd name="connsiteY2" fmla="*/ 59 h 60955"/>
                <a:gd name="connsiteX3" fmla="*/ 61330 w 61336"/>
                <a:gd name="connsiteY3" fmla="*/ 33237 h 60955"/>
                <a:gd name="connsiteX4" fmla="*/ 29831 w 61336"/>
                <a:gd name="connsiteY4" fmla="*/ 60956 h 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36" h="60955">
                  <a:moveTo>
                    <a:pt x="29831" y="60956"/>
                  </a:moveTo>
                  <a:cubicBezTo>
                    <a:pt x="7152" y="60956"/>
                    <a:pt x="432" y="55077"/>
                    <a:pt x="12" y="34078"/>
                  </a:cubicBezTo>
                  <a:cubicBezTo>
                    <a:pt x="-408" y="13918"/>
                    <a:pt x="10092" y="1739"/>
                    <a:pt x="29411" y="59"/>
                  </a:cubicBezTo>
                  <a:cubicBezTo>
                    <a:pt x="43270" y="-1201"/>
                    <a:pt x="61750" y="18118"/>
                    <a:pt x="61330" y="33237"/>
                  </a:cubicBezTo>
                  <a:cubicBezTo>
                    <a:pt x="61330" y="50456"/>
                    <a:pt x="49570" y="60536"/>
                    <a:pt x="29831" y="60956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grpSp>
          <p:nvGrpSpPr>
            <p:cNvPr id="20" name="Grafik 25">
              <a:extLst>
                <a:ext uri="{FF2B5EF4-FFF2-40B4-BE49-F238E27FC236}">
                  <a16:creationId xmlns:a16="http://schemas.microsoft.com/office/drawing/2014/main" id="{F2CEF361-590C-A1B7-002A-3D1176C0A05A}"/>
                </a:ext>
              </a:extLst>
            </p:cNvPr>
            <p:cNvGrpSpPr/>
            <p:nvPr/>
          </p:nvGrpSpPr>
          <p:grpSpPr>
            <a:xfrm>
              <a:off x="4814309" y="1458428"/>
              <a:ext cx="3867343" cy="3973455"/>
              <a:chOff x="4814309" y="1458428"/>
              <a:chExt cx="3867343" cy="3973455"/>
            </a:xfrm>
            <a:grpFill/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F2AA3CA4-B821-B147-D244-252051B8ABC6}"/>
                  </a:ext>
                </a:extLst>
              </p:cNvPr>
              <p:cNvSpPr/>
              <p:nvPr/>
            </p:nvSpPr>
            <p:spPr>
              <a:xfrm>
                <a:off x="4814309" y="1458428"/>
                <a:ext cx="3071925" cy="3094175"/>
              </a:xfrm>
              <a:custGeom>
                <a:avLst/>
                <a:gdLst>
                  <a:gd name="connsiteX0" fmla="*/ 1706087 w 3071925"/>
                  <a:gd name="connsiteY0" fmla="*/ 3094176 h 3094175"/>
                  <a:gd name="connsiteX1" fmla="*/ 1588912 w 3071925"/>
                  <a:gd name="connsiteY1" fmla="*/ 3084096 h 3094175"/>
                  <a:gd name="connsiteX2" fmla="*/ 1513315 w 3071925"/>
                  <a:gd name="connsiteY2" fmla="*/ 3082837 h 3094175"/>
                  <a:gd name="connsiteX3" fmla="*/ 1367581 w 3071925"/>
                  <a:gd name="connsiteY3" fmla="*/ 3052598 h 3094175"/>
                  <a:gd name="connsiteX4" fmla="*/ 1115592 w 3071925"/>
                  <a:gd name="connsiteY4" fmla="*/ 2981621 h 3094175"/>
                  <a:gd name="connsiteX5" fmla="*/ 890482 w 3071925"/>
                  <a:gd name="connsiteY5" fmla="*/ 2909804 h 3094175"/>
                  <a:gd name="connsiteX6" fmla="*/ 845124 w 3071925"/>
                  <a:gd name="connsiteY6" fmla="*/ 2901404 h 3094175"/>
                  <a:gd name="connsiteX7" fmla="*/ 688470 w 3071925"/>
                  <a:gd name="connsiteY7" fmla="*/ 2822448 h 3094175"/>
                  <a:gd name="connsiteX8" fmla="*/ 554076 w 3071925"/>
                  <a:gd name="connsiteY8" fmla="*/ 2734672 h 3094175"/>
                  <a:gd name="connsiteX9" fmla="*/ 417162 w 3071925"/>
                  <a:gd name="connsiteY9" fmla="*/ 2632196 h 3094175"/>
                  <a:gd name="connsiteX10" fmla="*/ 352065 w 3071925"/>
                  <a:gd name="connsiteY10" fmla="*/ 2558279 h 3094175"/>
                  <a:gd name="connsiteX11" fmla="*/ 228590 w 3071925"/>
                  <a:gd name="connsiteY11" fmla="*/ 2405406 h 3094175"/>
                  <a:gd name="connsiteX12" fmla="*/ 183652 w 3071925"/>
                  <a:gd name="connsiteY12" fmla="*/ 2348288 h 3094175"/>
                  <a:gd name="connsiteX13" fmla="*/ 135774 w 3071925"/>
                  <a:gd name="connsiteY13" fmla="*/ 2252112 h 3094175"/>
                  <a:gd name="connsiteX14" fmla="*/ 124855 w 3071925"/>
                  <a:gd name="connsiteY14" fmla="*/ 2229013 h 3094175"/>
                  <a:gd name="connsiteX15" fmla="*/ 34558 w 3071925"/>
                  <a:gd name="connsiteY15" fmla="*/ 1992563 h 3094175"/>
                  <a:gd name="connsiteX16" fmla="*/ 22799 w 3071925"/>
                  <a:gd name="connsiteY16" fmla="*/ 1869089 h 3094175"/>
                  <a:gd name="connsiteX17" fmla="*/ 3480 w 3071925"/>
                  <a:gd name="connsiteY17" fmla="*/ 1694796 h 3094175"/>
                  <a:gd name="connsiteX18" fmla="*/ 540 w 3071925"/>
                  <a:gd name="connsiteY18" fmla="*/ 1626759 h 3094175"/>
                  <a:gd name="connsiteX19" fmla="*/ 120 w 3071925"/>
                  <a:gd name="connsiteY19" fmla="*/ 1511684 h 3094175"/>
                  <a:gd name="connsiteX20" fmla="*/ 24479 w 3071925"/>
                  <a:gd name="connsiteY20" fmla="*/ 1312193 h 3094175"/>
                  <a:gd name="connsiteX21" fmla="*/ 50518 w 3071925"/>
                  <a:gd name="connsiteY21" fmla="*/ 1244996 h 3094175"/>
                  <a:gd name="connsiteX22" fmla="*/ 151313 w 3071925"/>
                  <a:gd name="connsiteY22" fmla="*/ 1002666 h 3094175"/>
                  <a:gd name="connsiteX23" fmla="*/ 177772 w 3071925"/>
                  <a:gd name="connsiteY23" fmla="*/ 958568 h 3094175"/>
                  <a:gd name="connsiteX24" fmla="*/ 286128 w 3071925"/>
                  <a:gd name="connsiteY24" fmla="*/ 735557 h 3094175"/>
                  <a:gd name="connsiteX25" fmla="*/ 441521 w 3071925"/>
                  <a:gd name="connsiteY25" fmla="*/ 497847 h 3094175"/>
                  <a:gd name="connsiteX26" fmla="*/ 512078 w 3071925"/>
                  <a:gd name="connsiteY26" fmla="*/ 428131 h 3094175"/>
                  <a:gd name="connsiteX27" fmla="*/ 775827 w 3071925"/>
                  <a:gd name="connsiteY27" fmla="*/ 228639 h 3094175"/>
                  <a:gd name="connsiteX28" fmla="*/ 1098373 w 3071925"/>
                  <a:gd name="connsiteY28" fmla="*/ 92985 h 3094175"/>
                  <a:gd name="connsiteX29" fmla="*/ 1157590 w 3071925"/>
                  <a:gd name="connsiteY29" fmla="*/ 77446 h 3094175"/>
                  <a:gd name="connsiteX30" fmla="*/ 1423019 w 3071925"/>
                  <a:gd name="connsiteY30" fmla="*/ 42587 h 3094175"/>
                  <a:gd name="connsiteX31" fmla="*/ 1622930 w 3071925"/>
                  <a:gd name="connsiteY31" fmla="*/ 18648 h 3094175"/>
                  <a:gd name="connsiteX32" fmla="*/ 1637630 w 3071925"/>
                  <a:gd name="connsiteY32" fmla="*/ 14028 h 3094175"/>
                  <a:gd name="connsiteX33" fmla="*/ 1891719 w 3071925"/>
                  <a:gd name="connsiteY33" fmla="*/ 1009 h 3094175"/>
                  <a:gd name="connsiteX34" fmla="*/ 1954716 w 3071925"/>
                  <a:gd name="connsiteY34" fmla="*/ 33348 h 3094175"/>
                  <a:gd name="connsiteX35" fmla="*/ 1984955 w 3071925"/>
                  <a:gd name="connsiteY35" fmla="*/ 33767 h 3094175"/>
                  <a:gd name="connsiteX36" fmla="*/ 2007214 w 3071925"/>
                  <a:gd name="connsiteY36" fmla="*/ 30408 h 3094175"/>
                  <a:gd name="connsiteX37" fmla="*/ 2103810 w 3071925"/>
                  <a:gd name="connsiteY37" fmla="*/ 45527 h 3094175"/>
                  <a:gd name="connsiteX38" fmla="*/ 2288182 w 3071925"/>
                  <a:gd name="connsiteY38" fmla="*/ 108944 h 3094175"/>
                  <a:gd name="connsiteX39" fmla="*/ 2401997 w 3071925"/>
                  <a:gd name="connsiteY39" fmla="*/ 168162 h 3094175"/>
                  <a:gd name="connsiteX40" fmla="*/ 2543951 w 3071925"/>
                  <a:gd name="connsiteY40" fmla="*/ 298776 h 3094175"/>
                  <a:gd name="connsiteX41" fmla="*/ 2635087 w 3071925"/>
                  <a:gd name="connsiteY41" fmla="*/ 398732 h 3094175"/>
                  <a:gd name="connsiteX42" fmla="*/ 2843398 w 3071925"/>
                  <a:gd name="connsiteY42" fmla="*/ 718338 h 3094175"/>
                  <a:gd name="connsiteX43" fmla="*/ 2913115 w 3071925"/>
                  <a:gd name="connsiteY43" fmla="*/ 906910 h 3094175"/>
                  <a:gd name="connsiteX44" fmla="*/ 2929074 w 3071925"/>
                  <a:gd name="connsiteY44" fmla="*/ 944708 h 3094175"/>
                  <a:gd name="connsiteX45" fmla="*/ 3007611 w 3071925"/>
                  <a:gd name="connsiteY45" fmla="*/ 1161839 h 3094175"/>
                  <a:gd name="connsiteX46" fmla="*/ 3017690 w 3071925"/>
                  <a:gd name="connsiteY46" fmla="*/ 1195858 h 3094175"/>
                  <a:gd name="connsiteX47" fmla="*/ 3049609 w 3071925"/>
                  <a:gd name="connsiteY47" fmla="*/ 1352091 h 3094175"/>
                  <a:gd name="connsiteX48" fmla="*/ 3061789 w 3071925"/>
                  <a:gd name="connsiteY48" fmla="*/ 1412148 h 3094175"/>
                  <a:gd name="connsiteX49" fmla="*/ 3068928 w 3071925"/>
                  <a:gd name="connsiteY49" fmla="*/ 1441547 h 3094175"/>
                  <a:gd name="connsiteX50" fmla="*/ 3058429 w 3071925"/>
                  <a:gd name="connsiteY50" fmla="*/ 1691016 h 3094175"/>
                  <a:gd name="connsiteX51" fmla="*/ 3047929 w 3071925"/>
                  <a:gd name="connsiteY51" fmla="*/ 1809451 h 3094175"/>
                  <a:gd name="connsiteX52" fmla="*/ 3038269 w 3071925"/>
                  <a:gd name="connsiteY52" fmla="*/ 1870348 h 3094175"/>
                  <a:gd name="connsiteX53" fmla="*/ 2985352 w 3071925"/>
                  <a:gd name="connsiteY53" fmla="*/ 2089579 h 3094175"/>
                  <a:gd name="connsiteX54" fmla="*/ 2972752 w 3071925"/>
                  <a:gd name="connsiteY54" fmla="*/ 2123598 h 3094175"/>
                  <a:gd name="connsiteX55" fmla="*/ 2953853 w 3071925"/>
                  <a:gd name="connsiteY55" fmla="*/ 2197934 h 3094175"/>
                  <a:gd name="connsiteX56" fmla="*/ 2942933 w 3071925"/>
                  <a:gd name="connsiteY56" fmla="*/ 2236993 h 3094175"/>
                  <a:gd name="connsiteX57" fmla="*/ 2906395 w 3071925"/>
                  <a:gd name="connsiteY57" fmla="*/ 2316790 h 3094175"/>
                  <a:gd name="connsiteX58" fmla="*/ 2901355 w 3071925"/>
                  <a:gd name="connsiteY58" fmla="*/ 2336528 h 3094175"/>
                  <a:gd name="connsiteX59" fmla="*/ 2866917 w 3071925"/>
                  <a:gd name="connsiteY59" fmla="*/ 2448244 h 3094175"/>
                  <a:gd name="connsiteX60" fmla="*/ 2826178 w 3071925"/>
                  <a:gd name="connsiteY60" fmla="*/ 2531400 h 3094175"/>
                  <a:gd name="connsiteX61" fmla="*/ 2737142 w 3071925"/>
                  <a:gd name="connsiteY61" fmla="*/ 2664535 h 3094175"/>
                  <a:gd name="connsiteX62" fmla="*/ 2694304 w 3071925"/>
                  <a:gd name="connsiteY62" fmla="*/ 2691413 h 3094175"/>
                  <a:gd name="connsiteX63" fmla="*/ 2650206 w 3071925"/>
                  <a:gd name="connsiteY63" fmla="*/ 2719552 h 3094175"/>
                  <a:gd name="connsiteX64" fmla="*/ 2547311 w 3071925"/>
                  <a:gd name="connsiteY64" fmla="*/ 2804388 h 3094175"/>
                  <a:gd name="connsiteX65" fmla="*/ 2447775 w 3071925"/>
                  <a:gd name="connsiteY65" fmla="*/ 2869066 h 3094175"/>
                  <a:gd name="connsiteX66" fmla="*/ 2178566 w 3071925"/>
                  <a:gd name="connsiteY66" fmla="*/ 3018579 h 3094175"/>
                  <a:gd name="connsiteX67" fmla="*/ 2103389 w 3071925"/>
                  <a:gd name="connsiteY67" fmla="*/ 3034539 h 3094175"/>
                  <a:gd name="connsiteX68" fmla="*/ 1879959 w 3071925"/>
                  <a:gd name="connsiteY68" fmla="*/ 3071497 h 3094175"/>
                  <a:gd name="connsiteX69" fmla="*/ 1859380 w 3071925"/>
                  <a:gd name="connsiteY69" fmla="*/ 3073597 h 3094175"/>
                  <a:gd name="connsiteX70" fmla="*/ 1706087 w 3071925"/>
                  <a:gd name="connsiteY70" fmla="*/ 3094176 h 3094175"/>
                  <a:gd name="connsiteX71" fmla="*/ 2809379 w 3071925"/>
                  <a:gd name="connsiteY71" fmla="*/ 2464203 h 3094175"/>
                  <a:gd name="connsiteX72" fmla="*/ 2777460 w 3071925"/>
                  <a:gd name="connsiteY72" fmla="*/ 2474283 h 3094175"/>
                  <a:gd name="connsiteX73" fmla="*/ 2790060 w 3071925"/>
                  <a:gd name="connsiteY73" fmla="*/ 2430185 h 3094175"/>
                  <a:gd name="connsiteX74" fmla="*/ 2806019 w 3071925"/>
                  <a:gd name="connsiteY74" fmla="*/ 2422205 h 3094175"/>
                  <a:gd name="connsiteX75" fmla="*/ 2848857 w 3071925"/>
                  <a:gd name="connsiteY75" fmla="*/ 2404566 h 3094175"/>
                  <a:gd name="connsiteX76" fmla="*/ 2834158 w 3071925"/>
                  <a:gd name="connsiteY76" fmla="*/ 2378947 h 3094175"/>
                  <a:gd name="connsiteX77" fmla="*/ 2813999 w 3071925"/>
                  <a:gd name="connsiteY77" fmla="*/ 2382307 h 3094175"/>
                  <a:gd name="connsiteX78" fmla="*/ 2682545 w 3071925"/>
                  <a:gd name="connsiteY78" fmla="*/ 2472183 h 3094175"/>
                  <a:gd name="connsiteX79" fmla="*/ 2673725 w 3071925"/>
                  <a:gd name="connsiteY79" fmla="*/ 2495282 h 3094175"/>
                  <a:gd name="connsiteX80" fmla="*/ 2672885 w 3071925"/>
                  <a:gd name="connsiteY80" fmla="*/ 2620856 h 3094175"/>
                  <a:gd name="connsiteX81" fmla="*/ 2703544 w 3071925"/>
                  <a:gd name="connsiteY81" fmla="*/ 2636396 h 3094175"/>
                  <a:gd name="connsiteX82" fmla="*/ 2764021 w 3071925"/>
                  <a:gd name="connsiteY82" fmla="*/ 2571718 h 3094175"/>
                  <a:gd name="connsiteX83" fmla="*/ 2787540 w 3071925"/>
                  <a:gd name="connsiteY83" fmla="*/ 2504941 h 3094175"/>
                  <a:gd name="connsiteX84" fmla="*/ 2808539 w 3071925"/>
                  <a:gd name="connsiteY84" fmla="*/ 2462943 h 3094175"/>
                  <a:gd name="connsiteX85" fmla="*/ 2813579 w 3071925"/>
                  <a:gd name="connsiteY85" fmla="*/ 2455803 h 3094175"/>
                  <a:gd name="connsiteX86" fmla="*/ 2809379 w 3071925"/>
                  <a:gd name="connsiteY86" fmla="*/ 2464203 h 3094175"/>
                  <a:gd name="connsiteX87" fmla="*/ 2024013 w 3071925"/>
                  <a:gd name="connsiteY87" fmla="*/ 2326869 h 3094175"/>
                  <a:gd name="connsiteX88" fmla="*/ 2066011 w 3071925"/>
                  <a:gd name="connsiteY88" fmla="*/ 2357528 h 3094175"/>
                  <a:gd name="connsiteX89" fmla="*/ 2081970 w 3071925"/>
                  <a:gd name="connsiteY89" fmla="*/ 2347868 h 3094175"/>
                  <a:gd name="connsiteX90" fmla="*/ 2071471 w 3071925"/>
                  <a:gd name="connsiteY90" fmla="*/ 2337369 h 3094175"/>
                  <a:gd name="connsiteX91" fmla="*/ 2022753 w 3071925"/>
                  <a:gd name="connsiteY91" fmla="*/ 2328549 h 3094175"/>
                  <a:gd name="connsiteX92" fmla="*/ 1938337 w 3071925"/>
                  <a:gd name="connsiteY92" fmla="*/ 2284451 h 3094175"/>
                  <a:gd name="connsiteX93" fmla="*/ 1887099 w 3071925"/>
                  <a:gd name="connsiteY93" fmla="*/ 2297050 h 3094175"/>
                  <a:gd name="connsiteX94" fmla="*/ 1871139 w 3071925"/>
                  <a:gd name="connsiteY94" fmla="*/ 2303770 h 3094175"/>
                  <a:gd name="connsiteX95" fmla="*/ 1861060 w 3071925"/>
                  <a:gd name="connsiteY95" fmla="*/ 2289491 h 3094175"/>
                  <a:gd name="connsiteX96" fmla="*/ 1849300 w 3071925"/>
                  <a:gd name="connsiteY96" fmla="*/ 2255892 h 3094175"/>
                  <a:gd name="connsiteX97" fmla="*/ 1826201 w 3071925"/>
                  <a:gd name="connsiteY97" fmla="*/ 2231113 h 3094175"/>
                  <a:gd name="connsiteX98" fmla="*/ 1813182 w 3071925"/>
                  <a:gd name="connsiteY98" fmla="*/ 2092099 h 3094175"/>
                  <a:gd name="connsiteX99" fmla="*/ 1842161 w 3071925"/>
                  <a:gd name="connsiteY99" fmla="*/ 2033722 h 3094175"/>
                  <a:gd name="connsiteX100" fmla="*/ 1953876 w 3071925"/>
                  <a:gd name="connsiteY100" fmla="*/ 1971144 h 3094175"/>
                  <a:gd name="connsiteX101" fmla="*/ 2018553 w 3071925"/>
                  <a:gd name="connsiteY101" fmla="*/ 1856909 h 3094175"/>
                  <a:gd name="connsiteX102" fmla="*/ 2002594 w 3071925"/>
                  <a:gd name="connsiteY102" fmla="*/ 1813231 h 3094175"/>
                  <a:gd name="connsiteX103" fmla="*/ 1981595 w 3071925"/>
                  <a:gd name="connsiteY103" fmla="*/ 1724195 h 3094175"/>
                  <a:gd name="connsiteX104" fmla="*/ 1972355 w 3071925"/>
                  <a:gd name="connsiteY104" fmla="*/ 1685556 h 3094175"/>
                  <a:gd name="connsiteX105" fmla="*/ 1907678 w 3071925"/>
                  <a:gd name="connsiteY105" fmla="*/ 1598200 h 3094175"/>
                  <a:gd name="connsiteX106" fmla="*/ 1887939 w 3071925"/>
                  <a:gd name="connsiteY106" fmla="*/ 1540663 h 3094175"/>
                  <a:gd name="connsiteX107" fmla="*/ 1966895 w 3071925"/>
                  <a:gd name="connsiteY107" fmla="*/ 1412988 h 3094175"/>
                  <a:gd name="connsiteX108" fmla="*/ 1988315 w 3071925"/>
                  <a:gd name="connsiteY108" fmla="*/ 1398289 h 3094175"/>
                  <a:gd name="connsiteX109" fmla="*/ 1998394 w 3071925"/>
                  <a:gd name="connsiteY109" fmla="*/ 1364690 h 3094175"/>
                  <a:gd name="connsiteX110" fmla="*/ 1979495 w 3071925"/>
                  <a:gd name="connsiteY110" fmla="*/ 1334032 h 3094175"/>
                  <a:gd name="connsiteX111" fmla="*/ 1946736 w 3071925"/>
                  <a:gd name="connsiteY111" fmla="*/ 1339491 h 3094175"/>
                  <a:gd name="connsiteX112" fmla="*/ 1919017 w 3071925"/>
                  <a:gd name="connsiteY112" fmla="*/ 1363850 h 3094175"/>
                  <a:gd name="connsiteX113" fmla="*/ 1918597 w 3071925"/>
                  <a:gd name="connsiteY113" fmla="*/ 1324792 h 3094175"/>
                  <a:gd name="connsiteX114" fmla="*/ 1914818 w 3071925"/>
                  <a:gd name="connsiteY114" fmla="*/ 1291194 h 3094175"/>
                  <a:gd name="connsiteX115" fmla="*/ 1907258 w 3071925"/>
                  <a:gd name="connsiteY115" fmla="*/ 1241216 h 3094175"/>
                  <a:gd name="connsiteX116" fmla="*/ 1971935 w 3071925"/>
                  <a:gd name="connsiteY116" fmla="*/ 1179478 h 3094175"/>
                  <a:gd name="connsiteX117" fmla="*/ 1995454 w 3071925"/>
                  <a:gd name="connsiteY117" fmla="*/ 1168979 h 3094175"/>
                  <a:gd name="connsiteX118" fmla="*/ 2010993 w 3071925"/>
                  <a:gd name="connsiteY118" fmla="*/ 1127401 h 3094175"/>
                  <a:gd name="connsiteX119" fmla="*/ 1974035 w 3071925"/>
                  <a:gd name="connsiteY119" fmla="*/ 1077423 h 3094175"/>
                  <a:gd name="connsiteX120" fmla="*/ 1958076 w 3071925"/>
                  <a:gd name="connsiteY120" fmla="*/ 930009 h 3094175"/>
                  <a:gd name="connsiteX121" fmla="*/ 2024853 w 3071925"/>
                  <a:gd name="connsiteY121" fmla="*/ 860712 h 3094175"/>
                  <a:gd name="connsiteX122" fmla="*/ 2029053 w 3071925"/>
                  <a:gd name="connsiteY122" fmla="*/ 831313 h 3094175"/>
                  <a:gd name="connsiteX123" fmla="*/ 1960596 w 3071925"/>
                  <a:gd name="connsiteY123" fmla="*/ 787215 h 3094175"/>
                  <a:gd name="connsiteX124" fmla="*/ 1961856 w 3071925"/>
                  <a:gd name="connsiteY124" fmla="*/ 788475 h 3094175"/>
                  <a:gd name="connsiteX125" fmla="*/ 1955976 w 3071925"/>
                  <a:gd name="connsiteY125" fmla="*/ 758236 h 3094175"/>
                  <a:gd name="connsiteX126" fmla="*/ 1986634 w 3071925"/>
                  <a:gd name="connsiteY126" fmla="*/ 630142 h 3094175"/>
                  <a:gd name="connsiteX127" fmla="*/ 2053412 w 3071925"/>
                  <a:gd name="connsiteY127" fmla="*/ 563785 h 3094175"/>
                  <a:gd name="connsiteX128" fmla="*/ 2076931 w 3071925"/>
                  <a:gd name="connsiteY128" fmla="*/ 525146 h 3094175"/>
                  <a:gd name="connsiteX129" fmla="*/ 2047532 w 3071925"/>
                  <a:gd name="connsiteY129" fmla="*/ 464249 h 3094175"/>
                  <a:gd name="connsiteX130" fmla="*/ 1997554 w 3071925"/>
                  <a:gd name="connsiteY130" fmla="*/ 452069 h 3094175"/>
                  <a:gd name="connsiteX131" fmla="*/ 1922797 w 3071925"/>
                  <a:gd name="connsiteY131" fmla="*/ 318095 h 3094175"/>
                  <a:gd name="connsiteX132" fmla="*/ 1926997 w 3071925"/>
                  <a:gd name="connsiteY132" fmla="*/ 287857 h 3094175"/>
                  <a:gd name="connsiteX133" fmla="*/ 1948416 w 3071925"/>
                  <a:gd name="connsiteY133" fmla="*/ 165222 h 3094175"/>
                  <a:gd name="connsiteX134" fmla="*/ 1937497 w 3071925"/>
                  <a:gd name="connsiteY134" fmla="*/ 89625 h 3094175"/>
                  <a:gd name="connsiteX135" fmla="*/ 1903898 w 3071925"/>
                  <a:gd name="connsiteY135" fmla="*/ 92565 h 3094175"/>
                  <a:gd name="connsiteX136" fmla="*/ 1890879 w 3071925"/>
                  <a:gd name="connsiteY136" fmla="*/ 108944 h 3094175"/>
                  <a:gd name="connsiteX137" fmla="*/ 1864840 w 3071925"/>
                  <a:gd name="connsiteY137" fmla="*/ 101385 h 3094175"/>
                  <a:gd name="connsiteX138" fmla="*/ 1865260 w 3071925"/>
                  <a:gd name="connsiteY138" fmla="*/ 78706 h 3094175"/>
                  <a:gd name="connsiteX139" fmla="*/ 1845101 w 3071925"/>
                  <a:gd name="connsiteY139" fmla="*/ 65266 h 3094175"/>
                  <a:gd name="connsiteX140" fmla="*/ 1822002 w 3071925"/>
                  <a:gd name="connsiteY140" fmla="*/ 90885 h 3094175"/>
                  <a:gd name="connsiteX141" fmla="*/ 1795543 w 3071925"/>
                  <a:gd name="connsiteY141" fmla="*/ 89205 h 3094175"/>
                  <a:gd name="connsiteX142" fmla="*/ 1750185 w 3071925"/>
                  <a:gd name="connsiteY142" fmla="*/ 63166 h 3094175"/>
                  <a:gd name="connsiteX143" fmla="*/ 1729186 w 3071925"/>
                  <a:gd name="connsiteY143" fmla="*/ 64426 h 3094175"/>
                  <a:gd name="connsiteX144" fmla="*/ 1686347 w 3071925"/>
                  <a:gd name="connsiteY144" fmla="*/ 92145 h 3094175"/>
                  <a:gd name="connsiteX145" fmla="*/ 1680888 w 3071925"/>
                  <a:gd name="connsiteY145" fmla="*/ 100965 h 3094175"/>
                  <a:gd name="connsiteX146" fmla="*/ 1664088 w 3071925"/>
                  <a:gd name="connsiteY146" fmla="*/ 116084 h 3094175"/>
                  <a:gd name="connsiteX147" fmla="*/ 1654009 w 3071925"/>
                  <a:gd name="connsiteY147" fmla="*/ 93405 h 3094175"/>
                  <a:gd name="connsiteX148" fmla="*/ 1645189 w 3071925"/>
                  <a:gd name="connsiteY148" fmla="*/ 74926 h 3094175"/>
                  <a:gd name="connsiteX149" fmla="*/ 1567912 w 3071925"/>
                  <a:gd name="connsiteY149" fmla="*/ 95085 h 3094175"/>
                  <a:gd name="connsiteX150" fmla="*/ 1546913 w 3071925"/>
                  <a:gd name="connsiteY150" fmla="*/ 104324 h 3094175"/>
                  <a:gd name="connsiteX151" fmla="*/ 1459977 w 3071925"/>
                  <a:gd name="connsiteY151" fmla="*/ 97185 h 3094175"/>
                  <a:gd name="connsiteX152" fmla="*/ 1365061 w 3071925"/>
                  <a:gd name="connsiteY152" fmla="*/ 142543 h 3094175"/>
                  <a:gd name="connsiteX153" fmla="*/ 1352042 w 3071925"/>
                  <a:gd name="connsiteY153" fmla="*/ 147163 h 3094175"/>
                  <a:gd name="connsiteX154" fmla="*/ 1343222 w 3071925"/>
                  <a:gd name="connsiteY154" fmla="*/ 137083 h 3094175"/>
                  <a:gd name="connsiteX155" fmla="*/ 1335243 w 3071925"/>
                  <a:gd name="connsiteY155" fmla="*/ 109364 h 3094175"/>
                  <a:gd name="connsiteX156" fmla="*/ 1304584 w 3071925"/>
                  <a:gd name="connsiteY156" fmla="*/ 107264 h 3094175"/>
                  <a:gd name="connsiteX157" fmla="*/ 1249146 w 3071925"/>
                  <a:gd name="connsiteY157" fmla="*/ 109784 h 3094175"/>
                  <a:gd name="connsiteX158" fmla="*/ 1241587 w 3071925"/>
                  <a:gd name="connsiteY158" fmla="*/ 125324 h 3094175"/>
                  <a:gd name="connsiteX159" fmla="*/ 1235707 w 3071925"/>
                  <a:gd name="connsiteY159" fmla="*/ 172361 h 3094175"/>
                  <a:gd name="connsiteX160" fmla="*/ 1204628 w 3071925"/>
                  <a:gd name="connsiteY160" fmla="*/ 174461 h 3094175"/>
                  <a:gd name="connsiteX161" fmla="*/ 1205888 w 3071925"/>
                  <a:gd name="connsiteY161" fmla="*/ 153042 h 3094175"/>
                  <a:gd name="connsiteX162" fmla="*/ 1215968 w 3071925"/>
                  <a:gd name="connsiteY162" fmla="*/ 135403 h 3094175"/>
                  <a:gd name="connsiteX163" fmla="*/ 1212188 w 3071925"/>
                  <a:gd name="connsiteY163" fmla="*/ 121544 h 3094175"/>
                  <a:gd name="connsiteX164" fmla="*/ 1198748 w 3071925"/>
                  <a:gd name="connsiteY164" fmla="*/ 121544 h 3094175"/>
                  <a:gd name="connsiteX165" fmla="*/ 1165150 w 3071925"/>
                  <a:gd name="connsiteY165" fmla="*/ 166902 h 3094175"/>
                  <a:gd name="connsiteX166" fmla="*/ 1146251 w 3071925"/>
                  <a:gd name="connsiteY166" fmla="*/ 179081 h 3094175"/>
                  <a:gd name="connsiteX167" fmla="*/ 1132811 w 3071925"/>
                  <a:gd name="connsiteY167" fmla="*/ 161862 h 3094175"/>
                  <a:gd name="connsiteX168" fmla="*/ 1132811 w 3071925"/>
                  <a:gd name="connsiteY168" fmla="*/ 151782 h 3094175"/>
                  <a:gd name="connsiteX169" fmla="*/ 1126512 w 3071925"/>
                  <a:gd name="connsiteY169" fmla="*/ 140023 h 3094175"/>
                  <a:gd name="connsiteX170" fmla="*/ 1109292 w 3071925"/>
                  <a:gd name="connsiteY170" fmla="*/ 148423 h 3094175"/>
                  <a:gd name="connsiteX171" fmla="*/ 1097113 w 3071925"/>
                  <a:gd name="connsiteY171" fmla="*/ 187481 h 3094175"/>
                  <a:gd name="connsiteX172" fmla="*/ 1081994 w 3071925"/>
                  <a:gd name="connsiteY172" fmla="*/ 195880 h 3094175"/>
                  <a:gd name="connsiteX173" fmla="*/ 1071914 w 3071925"/>
                  <a:gd name="connsiteY173" fmla="*/ 184961 h 3094175"/>
                  <a:gd name="connsiteX174" fmla="*/ 1039575 w 3071925"/>
                  <a:gd name="connsiteY174" fmla="*/ 168582 h 3094175"/>
                  <a:gd name="connsiteX175" fmla="*/ 1024036 w 3071925"/>
                  <a:gd name="connsiteY175" fmla="*/ 171102 h 3094175"/>
                  <a:gd name="connsiteX176" fmla="*/ 940460 w 3071925"/>
                  <a:gd name="connsiteY176" fmla="*/ 239139 h 3094175"/>
                  <a:gd name="connsiteX177" fmla="*/ 911481 w 3071925"/>
                  <a:gd name="connsiteY177" fmla="*/ 238299 h 3094175"/>
                  <a:gd name="connsiteX178" fmla="*/ 877882 w 3071925"/>
                  <a:gd name="connsiteY178" fmla="*/ 230739 h 3094175"/>
                  <a:gd name="connsiteX179" fmla="*/ 803545 w 3071925"/>
                  <a:gd name="connsiteY179" fmla="*/ 266018 h 3094175"/>
                  <a:gd name="connsiteX180" fmla="*/ 767007 w 3071925"/>
                  <a:gd name="connsiteY180" fmla="*/ 323555 h 3094175"/>
                  <a:gd name="connsiteX181" fmla="*/ 764907 w 3071925"/>
                  <a:gd name="connsiteY181" fmla="*/ 339094 h 3094175"/>
                  <a:gd name="connsiteX182" fmla="*/ 732568 w 3071925"/>
                  <a:gd name="connsiteY182" fmla="*/ 356734 h 3094175"/>
                  <a:gd name="connsiteX183" fmla="*/ 733408 w 3071925"/>
                  <a:gd name="connsiteY183" fmla="*/ 330695 h 3094175"/>
                  <a:gd name="connsiteX184" fmla="*/ 735508 w 3071925"/>
                  <a:gd name="connsiteY184" fmla="*/ 320615 h 3094175"/>
                  <a:gd name="connsiteX185" fmla="*/ 732148 w 3071925"/>
                  <a:gd name="connsiteY185" fmla="*/ 311376 h 3094175"/>
                  <a:gd name="connsiteX186" fmla="*/ 724169 w 3071925"/>
                  <a:gd name="connsiteY186" fmla="*/ 311796 h 3094175"/>
                  <a:gd name="connsiteX187" fmla="*/ 617913 w 3071925"/>
                  <a:gd name="connsiteY187" fmla="*/ 386552 h 3094175"/>
                  <a:gd name="connsiteX188" fmla="*/ 443201 w 3071925"/>
                  <a:gd name="connsiteY188" fmla="*/ 551185 h 3094175"/>
                  <a:gd name="connsiteX189" fmla="*/ 436061 w 3071925"/>
                  <a:gd name="connsiteY189" fmla="*/ 582684 h 3094175"/>
                  <a:gd name="connsiteX190" fmla="*/ 398683 w 3071925"/>
                  <a:gd name="connsiteY190" fmla="*/ 621322 h 3094175"/>
                  <a:gd name="connsiteX191" fmla="*/ 378944 w 3071925"/>
                  <a:gd name="connsiteY191" fmla="*/ 632662 h 3094175"/>
                  <a:gd name="connsiteX192" fmla="*/ 329806 w 3071925"/>
                  <a:gd name="connsiteY192" fmla="*/ 718338 h 3094175"/>
                  <a:gd name="connsiteX193" fmla="*/ 305867 w 3071925"/>
                  <a:gd name="connsiteY193" fmla="*/ 806534 h 3094175"/>
                  <a:gd name="connsiteX194" fmla="*/ 285288 w 3071925"/>
                  <a:gd name="connsiteY194" fmla="*/ 846853 h 3094175"/>
                  <a:gd name="connsiteX195" fmla="*/ 250429 w 3071925"/>
                  <a:gd name="connsiteY195" fmla="*/ 891371 h 3094175"/>
                  <a:gd name="connsiteX196" fmla="*/ 189112 w 3071925"/>
                  <a:gd name="connsiteY196" fmla="*/ 1010646 h 3094175"/>
                  <a:gd name="connsiteX197" fmla="*/ 77397 w 3071925"/>
                  <a:gd name="connsiteY197" fmla="*/ 1265574 h 3094175"/>
                  <a:gd name="connsiteX198" fmla="*/ 54717 w 3071925"/>
                  <a:gd name="connsiteY198" fmla="*/ 1333192 h 3094175"/>
                  <a:gd name="connsiteX199" fmla="*/ 36238 w 3071925"/>
                  <a:gd name="connsiteY199" fmla="*/ 1546962 h 3094175"/>
                  <a:gd name="connsiteX200" fmla="*/ 42538 w 3071925"/>
                  <a:gd name="connsiteY200" fmla="*/ 1597780 h 3094175"/>
                  <a:gd name="connsiteX201" fmla="*/ 64797 w 3071925"/>
                  <a:gd name="connsiteY201" fmla="*/ 1855649 h 3094175"/>
                  <a:gd name="connsiteX202" fmla="*/ 75297 w 3071925"/>
                  <a:gd name="connsiteY202" fmla="*/ 1932086 h 3094175"/>
                  <a:gd name="connsiteX203" fmla="*/ 96296 w 3071925"/>
                  <a:gd name="connsiteY203" fmla="*/ 2027002 h 3094175"/>
                  <a:gd name="connsiteX204" fmla="*/ 117715 w 3071925"/>
                  <a:gd name="connsiteY204" fmla="*/ 2116878 h 3094175"/>
                  <a:gd name="connsiteX205" fmla="*/ 190372 w 3071925"/>
                  <a:gd name="connsiteY205" fmla="*/ 2158876 h 3094175"/>
                  <a:gd name="connsiteX206" fmla="*/ 305027 w 3071925"/>
                  <a:gd name="connsiteY206" fmla="*/ 2050521 h 3094175"/>
                  <a:gd name="connsiteX207" fmla="*/ 406662 w 3071925"/>
                  <a:gd name="connsiteY207" fmla="*/ 1928726 h 3094175"/>
                  <a:gd name="connsiteX208" fmla="*/ 466300 w 3071925"/>
                  <a:gd name="connsiteY208" fmla="*/ 1878748 h 3094175"/>
                  <a:gd name="connsiteX209" fmla="*/ 511238 w 3071925"/>
                  <a:gd name="connsiteY209" fmla="*/ 1835070 h 3094175"/>
                  <a:gd name="connsiteX210" fmla="*/ 563736 w 3071925"/>
                  <a:gd name="connsiteY210" fmla="*/ 1817011 h 3094175"/>
                  <a:gd name="connsiteX211" fmla="*/ 644792 w 3071925"/>
                  <a:gd name="connsiteY211" fmla="*/ 1859849 h 3094175"/>
                  <a:gd name="connsiteX212" fmla="*/ 762807 w 3071925"/>
                  <a:gd name="connsiteY212" fmla="*/ 2018602 h 3094175"/>
                  <a:gd name="connsiteX213" fmla="*/ 786326 w 3071925"/>
                  <a:gd name="connsiteY213" fmla="*/ 2058501 h 3094175"/>
                  <a:gd name="connsiteX214" fmla="*/ 827484 w 3071925"/>
                  <a:gd name="connsiteY214" fmla="*/ 2138717 h 3094175"/>
                  <a:gd name="connsiteX215" fmla="*/ 930380 w 3071925"/>
                  <a:gd name="connsiteY215" fmla="*/ 2237833 h 3094175"/>
                  <a:gd name="connsiteX216" fmla="*/ 964818 w 3071925"/>
                  <a:gd name="connsiteY216" fmla="*/ 2212634 h 3094175"/>
                  <a:gd name="connsiteX217" fmla="*/ 964818 w 3071925"/>
                  <a:gd name="connsiteY217" fmla="*/ 2186595 h 3094175"/>
                  <a:gd name="connsiteX218" fmla="*/ 1025716 w 3071925"/>
                  <a:gd name="connsiteY218" fmla="*/ 1987943 h 3094175"/>
                  <a:gd name="connsiteX219" fmla="*/ 1060574 w 3071925"/>
                  <a:gd name="connsiteY219" fmla="*/ 1919067 h 3094175"/>
                  <a:gd name="connsiteX220" fmla="*/ 1143311 w 3071925"/>
                  <a:gd name="connsiteY220" fmla="*/ 1827511 h 3094175"/>
                  <a:gd name="connsiteX221" fmla="*/ 1252506 w 3071925"/>
                  <a:gd name="connsiteY221" fmla="*/ 1845570 h 3094175"/>
                  <a:gd name="connsiteX222" fmla="*/ 1259646 w 3071925"/>
                  <a:gd name="connsiteY222" fmla="*/ 1853549 h 3094175"/>
                  <a:gd name="connsiteX223" fmla="*/ 1354982 w 3071925"/>
                  <a:gd name="connsiteY223" fmla="*/ 1919067 h 3094175"/>
                  <a:gd name="connsiteX224" fmla="*/ 1487276 w 3071925"/>
                  <a:gd name="connsiteY224" fmla="*/ 1972404 h 3094175"/>
                  <a:gd name="connsiteX225" fmla="*/ 1516255 w 3071925"/>
                  <a:gd name="connsiteY225" fmla="*/ 1982904 h 3094175"/>
                  <a:gd name="connsiteX226" fmla="*/ 1707767 w 3071925"/>
                  <a:gd name="connsiteY226" fmla="*/ 2092099 h 3094175"/>
                  <a:gd name="connsiteX227" fmla="*/ 1738005 w 3071925"/>
                  <a:gd name="connsiteY227" fmla="*/ 2133677 h 3094175"/>
                  <a:gd name="connsiteX228" fmla="*/ 1793023 w 3071925"/>
                  <a:gd name="connsiteY228" fmla="*/ 2199614 h 3094175"/>
                  <a:gd name="connsiteX229" fmla="*/ 1812342 w 3071925"/>
                  <a:gd name="connsiteY229" fmla="*/ 2226913 h 3094175"/>
                  <a:gd name="connsiteX230" fmla="*/ 1840901 w 3071925"/>
                  <a:gd name="connsiteY230" fmla="*/ 2305450 h 3094175"/>
                  <a:gd name="connsiteX231" fmla="*/ 1893819 w 3071925"/>
                  <a:gd name="connsiteY231" fmla="*/ 2326449 h 3094175"/>
                  <a:gd name="connsiteX232" fmla="*/ 1936657 w 3071925"/>
                  <a:gd name="connsiteY232" fmla="*/ 2325609 h 3094175"/>
                  <a:gd name="connsiteX233" fmla="*/ 2006794 w 3071925"/>
                  <a:gd name="connsiteY233" fmla="*/ 2337369 h 3094175"/>
                  <a:gd name="connsiteX234" fmla="*/ 2024013 w 3071925"/>
                  <a:gd name="connsiteY234" fmla="*/ 2326869 h 3094175"/>
                  <a:gd name="connsiteX235" fmla="*/ 1679628 w 3071925"/>
                  <a:gd name="connsiteY235" fmla="*/ 3043358 h 3094175"/>
                  <a:gd name="connsiteX236" fmla="*/ 1866520 w 3071925"/>
                  <a:gd name="connsiteY236" fmla="*/ 3029499 h 3094175"/>
                  <a:gd name="connsiteX237" fmla="*/ 1958496 w 3071925"/>
                  <a:gd name="connsiteY237" fmla="*/ 3017740 h 3094175"/>
                  <a:gd name="connsiteX238" fmla="*/ 2158827 w 3071925"/>
                  <a:gd name="connsiteY238" fmla="*/ 2971961 h 3094175"/>
                  <a:gd name="connsiteX239" fmla="*/ 2373018 w 3071925"/>
                  <a:gd name="connsiteY239" fmla="*/ 2873685 h 3094175"/>
                  <a:gd name="connsiteX240" fmla="*/ 2595188 w 3071925"/>
                  <a:gd name="connsiteY240" fmla="*/ 2721232 h 3094175"/>
                  <a:gd name="connsiteX241" fmla="*/ 2622067 w 3071925"/>
                  <a:gd name="connsiteY241" fmla="*/ 2669154 h 3094175"/>
                  <a:gd name="connsiteX242" fmla="*/ 2629207 w 3071925"/>
                  <a:gd name="connsiteY242" fmla="*/ 2555339 h 3094175"/>
                  <a:gd name="connsiteX243" fmla="*/ 2628787 w 3071925"/>
                  <a:gd name="connsiteY243" fmla="*/ 2524681 h 3094175"/>
                  <a:gd name="connsiteX244" fmla="*/ 2634667 w 3071925"/>
                  <a:gd name="connsiteY244" fmla="*/ 2475963 h 3094175"/>
                  <a:gd name="connsiteX245" fmla="*/ 2754781 w 3071925"/>
                  <a:gd name="connsiteY245" fmla="*/ 2349548 h 3094175"/>
                  <a:gd name="connsiteX246" fmla="*/ 2857677 w 3071925"/>
                  <a:gd name="connsiteY246" fmla="*/ 2314269 h 3094175"/>
                  <a:gd name="connsiteX247" fmla="*/ 2878676 w 3071925"/>
                  <a:gd name="connsiteY247" fmla="*/ 2302930 h 3094175"/>
                  <a:gd name="connsiteX248" fmla="*/ 2892956 w 3071925"/>
                  <a:gd name="connsiteY248" fmla="*/ 2270171 h 3094175"/>
                  <a:gd name="connsiteX249" fmla="*/ 2958053 w 3071925"/>
                  <a:gd name="connsiteY249" fmla="*/ 2063960 h 3094175"/>
                  <a:gd name="connsiteX250" fmla="*/ 3017690 w 3071925"/>
                  <a:gd name="connsiteY250" fmla="*/ 1782992 h 3094175"/>
                  <a:gd name="connsiteX251" fmla="*/ 3039109 w 3071925"/>
                  <a:gd name="connsiteY251" fmla="*/ 1545702 h 3094175"/>
                  <a:gd name="connsiteX252" fmla="*/ 3038269 w 3071925"/>
                  <a:gd name="connsiteY252" fmla="*/ 1530163 h 3094175"/>
                  <a:gd name="connsiteX253" fmla="*/ 3029450 w 3071925"/>
                  <a:gd name="connsiteY253" fmla="*/ 1463806 h 3094175"/>
                  <a:gd name="connsiteX254" fmla="*/ 3012650 w 3071925"/>
                  <a:gd name="connsiteY254" fmla="*/ 1341171 h 3094175"/>
                  <a:gd name="connsiteX255" fmla="*/ 2967293 w 3071925"/>
                  <a:gd name="connsiteY255" fmla="*/ 1177798 h 3094175"/>
                  <a:gd name="connsiteX256" fmla="*/ 2836258 w 3071925"/>
                  <a:gd name="connsiteY256" fmla="*/ 820814 h 3094175"/>
                  <a:gd name="connsiteX257" fmla="*/ 2651046 w 3071925"/>
                  <a:gd name="connsiteY257" fmla="*/ 506247 h 3094175"/>
                  <a:gd name="connsiteX258" fmla="*/ 2647686 w 3071925"/>
                  <a:gd name="connsiteY258" fmla="*/ 502467 h 3094175"/>
                  <a:gd name="connsiteX259" fmla="*/ 2490613 w 3071925"/>
                  <a:gd name="connsiteY259" fmla="*/ 315575 h 3094175"/>
                  <a:gd name="connsiteX260" fmla="*/ 2207125 w 3071925"/>
                  <a:gd name="connsiteY260" fmla="*/ 141703 h 3094175"/>
                  <a:gd name="connsiteX261" fmla="*/ 2052992 w 3071925"/>
                  <a:gd name="connsiteY261" fmla="*/ 106004 h 3094175"/>
                  <a:gd name="connsiteX262" fmla="*/ 2038292 w 3071925"/>
                  <a:gd name="connsiteY262" fmla="*/ 101805 h 3094175"/>
                  <a:gd name="connsiteX263" fmla="*/ 2004274 w 3071925"/>
                  <a:gd name="connsiteY263" fmla="*/ 127843 h 3094175"/>
                  <a:gd name="connsiteX264" fmla="*/ 1997974 w 3071925"/>
                  <a:gd name="connsiteY264" fmla="*/ 157662 h 3094175"/>
                  <a:gd name="connsiteX265" fmla="*/ 1971935 w 3071925"/>
                  <a:gd name="connsiteY265" fmla="*/ 282817 h 3094175"/>
                  <a:gd name="connsiteX266" fmla="*/ 2050472 w 3071925"/>
                  <a:gd name="connsiteY266" fmla="*/ 400832 h 3094175"/>
                  <a:gd name="connsiteX267" fmla="*/ 2079871 w 3071925"/>
                  <a:gd name="connsiteY267" fmla="*/ 409231 h 3094175"/>
                  <a:gd name="connsiteX268" fmla="*/ 2129428 w 3071925"/>
                  <a:gd name="connsiteY268" fmla="*/ 490288 h 3094175"/>
                  <a:gd name="connsiteX269" fmla="*/ 2105910 w 3071925"/>
                  <a:gd name="connsiteY269" fmla="*/ 568825 h 3094175"/>
                  <a:gd name="connsiteX270" fmla="*/ 2048792 w 3071925"/>
                  <a:gd name="connsiteY270" fmla="*/ 634342 h 3094175"/>
                  <a:gd name="connsiteX271" fmla="*/ 2008474 w 3071925"/>
                  <a:gd name="connsiteY271" fmla="*/ 665420 h 3094175"/>
                  <a:gd name="connsiteX272" fmla="*/ 2010154 w 3071925"/>
                  <a:gd name="connsiteY272" fmla="*/ 708259 h 3094175"/>
                  <a:gd name="connsiteX273" fmla="*/ 2035353 w 3071925"/>
                  <a:gd name="connsiteY273" fmla="*/ 754876 h 3094175"/>
                  <a:gd name="connsiteX274" fmla="*/ 2059711 w 3071925"/>
                  <a:gd name="connsiteY274" fmla="*/ 762856 h 3094175"/>
                  <a:gd name="connsiteX275" fmla="*/ 2097510 w 3071925"/>
                  <a:gd name="connsiteY275" fmla="*/ 840553 h 3094175"/>
                  <a:gd name="connsiteX276" fmla="*/ 2044592 w 3071925"/>
                  <a:gd name="connsiteY276" fmla="*/ 913630 h 3094175"/>
                  <a:gd name="connsiteX277" fmla="*/ 2008893 w 3071925"/>
                  <a:gd name="connsiteY277" fmla="*/ 934209 h 3094175"/>
                  <a:gd name="connsiteX278" fmla="*/ 2001754 w 3071925"/>
                  <a:gd name="connsiteY278" fmla="*/ 1009385 h 3094175"/>
                  <a:gd name="connsiteX279" fmla="*/ 2054672 w 3071925"/>
                  <a:gd name="connsiteY279" fmla="*/ 1073643 h 3094175"/>
                  <a:gd name="connsiteX280" fmla="*/ 2066011 w 3071925"/>
                  <a:gd name="connsiteY280" fmla="*/ 1096322 h 3094175"/>
                  <a:gd name="connsiteX281" fmla="*/ 2009733 w 3071925"/>
                  <a:gd name="connsiteY281" fmla="*/ 1218957 h 3094175"/>
                  <a:gd name="connsiteX282" fmla="*/ 1984535 w 3071925"/>
                  <a:gd name="connsiteY282" fmla="*/ 1237016 h 3094175"/>
                  <a:gd name="connsiteX283" fmla="*/ 1987055 w 3071925"/>
                  <a:gd name="connsiteY283" fmla="*/ 1259695 h 3094175"/>
                  <a:gd name="connsiteX284" fmla="*/ 2043752 w 3071925"/>
                  <a:gd name="connsiteY284" fmla="*/ 1302113 h 3094175"/>
                  <a:gd name="connsiteX285" fmla="*/ 1983275 w 3071925"/>
                  <a:gd name="connsiteY285" fmla="*/ 1458766 h 3094175"/>
                  <a:gd name="connsiteX286" fmla="*/ 1951776 w 3071925"/>
                  <a:gd name="connsiteY286" fmla="*/ 1541923 h 3094175"/>
                  <a:gd name="connsiteX287" fmla="*/ 1987474 w 3071925"/>
                  <a:gd name="connsiteY287" fmla="*/ 1592321 h 3094175"/>
                  <a:gd name="connsiteX288" fmla="*/ 2035772 w 3071925"/>
                  <a:gd name="connsiteY288" fmla="*/ 1712015 h 3094175"/>
                  <a:gd name="connsiteX289" fmla="*/ 2044172 w 3071925"/>
                  <a:gd name="connsiteY289" fmla="*/ 1746454 h 3094175"/>
                  <a:gd name="connsiteX290" fmla="*/ 2069371 w 3071925"/>
                  <a:gd name="connsiteY290" fmla="*/ 1900167 h 3094175"/>
                  <a:gd name="connsiteX291" fmla="*/ 1994614 w 3071925"/>
                  <a:gd name="connsiteY291" fmla="*/ 2003063 h 3094175"/>
                  <a:gd name="connsiteX292" fmla="*/ 1884579 w 3071925"/>
                  <a:gd name="connsiteY292" fmla="*/ 2058920 h 3094175"/>
                  <a:gd name="connsiteX293" fmla="*/ 1866100 w 3071925"/>
                  <a:gd name="connsiteY293" fmla="*/ 2111838 h 3094175"/>
                  <a:gd name="connsiteX294" fmla="*/ 1867360 w 3071925"/>
                  <a:gd name="connsiteY294" fmla="*/ 2163496 h 3094175"/>
                  <a:gd name="connsiteX295" fmla="*/ 1890879 w 3071925"/>
                  <a:gd name="connsiteY295" fmla="*/ 2206754 h 3094175"/>
                  <a:gd name="connsiteX296" fmla="*/ 1939177 w 3071925"/>
                  <a:gd name="connsiteY296" fmla="*/ 2223133 h 3094175"/>
                  <a:gd name="connsiteX297" fmla="*/ 2030313 w 3071925"/>
                  <a:gd name="connsiteY297" fmla="*/ 2254212 h 3094175"/>
                  <a:gd name="connsiteX298" fmla="*/ 2133628 w 3071925"/>
                  <a:gd name="connsiteY298" fmla="*/ 2271431 h 3094175"/>
                  <a:gd name="connsiteX299" fmla="*/ 2220984 w 3071925"/>
                  <a:gd name="connsiteY299" fmla="*/ 2265552 h 3094175"/>
                  <a:gd name="connsiteX300" fmla="*/ 2287342 w 3071925"/>
                  <a:gd name="connsiteY300" fmla="*/ 2330229 h 3094175"/>
                  <a:gd name="connsiteX301" fmla="*/ 2288182 w 3071925"/>
                  <a:gd name="connsiteY301" fmla="*/ 2340728 h 3094175"/>
                  <a:gd name="connsiteX302" fmla="*/ 2266763 w 3071925"/>
                  <a:gd name="connsiteY302" fmla="*/ 2423885 h 3094175"/>
                  <a:gd name="connsiteX303" fmla="*/ 2238624 w 3071925"/>
                  <a:gd name="connsiteY303" fmla="*/ 2430605 h 3094175"/>
                  <a:gd name="connsiteX304" fmla="*/ 2210065 w 3071925"/>
                  <a:gd name="connsiteY304" fmla="*/ 2419685 h 3094175"/>
                  <a:gd name="connsiteX305" fmla="*/ 2094150 w 3071925"/>
                  <a:gd name="connsiteY305" fmla="*/ 2404146 h 3094175"/>
                  <a:gd name="connsiteX306" fmla="*/ 1992934 w 3071925"/>
                  <a:gd name="connsiteY306" fmla="*/ 2399946 h 3094175"/>
                  <a:gd name="connsiteX307" fmla="*/ 1943376 w 3071925"/>
                  <a:gd name="connsiteY307" fmla="*/ 2391126 h 3094175"/>
                  <a:gd name="connsiteX308" fmla="*/ 1882899 w 3071925"/>
                  <a:gd name="connsiteY308" fmla="*/ 2390286 h 3094175"/>
                  <a:gd name="connsiteX309" fmla="*/ 1796383 w 3071925"/>
                  <a:gd name="connsiteY309" fmla="*/ 2340728 h 3094175"/>
                  <a:gd name="connsiteX310" fmla="*/ 1766984 w 3071925"/>
                  <a:gd name="connsiteY310" fmla="*/ 2280671 h 3094175"/>
                  <a:gd name="connsiteX311" fmla="*/ 1731705 w 3071925"/>
                  <a:gd name="connsiteY311" fmla="*/ 2232793 h 3094175"/>
                  <a:gd name="connsiteX312" fmla="*/ 1697267 w 3071925"/>
                  <a:gd name="connsiteY312" fmla="*/ 2184915 h 3094175"/>
                  <a:gd name="connsiteX313" fmla="*/ 1667448 w 3071925"/>
                  <a:gd name="connsiteY313" fmla="*/ 2131997 h 3094175"/>
                  <a:gd name="connsiteX314" fmla="*/ 1525914 w 3071925"/>
                  <a:gd name="connsiteY314" fmla="*/ 2049681 h 3094175"/>
                  <a:gd name="connsiteX315" fmla="*/ 1464177 w 3071925"/>
                  <a:gd name="connsiteY315" fmla="*/ 2023642 h 3094175"/>
                  <a:gd name="connsiteX316" fmla="*/ 1339862 w 3071925"/>
                  <a:gd name="connsiteY316" fmla="*/ 1978284 h 3094175"/>
                  <a:gd name="connsiteX317" fmla="*/ 1223527 w 3071925"/>
                  <a:gd name="connsiteY317" fmla="*/ 1898487 h 3094175"/>
                  <a:gd name="connsiteX318" fmla="*/ 1201688 w 3071925"/>
                  <a:gd name="connsiteY318" fmla="*/ 1876228 h 3094175"/>
                  <a:gd name="connsiteX319" fmla="*/ 1154650 w 3071925"/>
                  <a:gd name="connsiteY319" fmla="*/ 1874128 h 3094175"/>
                  <a:gd name="connsiteX320" fmla="*/ 1095013 w 3071925"/>
                  <a:gd name="connsiteY320" fmla="*/ 1943006 h 3094175"/>
                  <a:gd name="connsiteX321" fmla="*/ 1047975 w 3071925"/>
                  <a:gd name="connsiteY321" fmla="*/ 2022802 h 3094175"/>
                  <a:gd name="connsiteX322" fmla="*/ 1029916 w 3071925"/>
                  <a:gd name="connsiteY322" fmla="*/ 2059340 h 3094175"/>
                  <a:gd name="connsiteX323" fmla="*/ 1017316 w 3071925"/>
                  <a:gd name="connsiteY323" fmla="*/ 2151317 h 3094175"/>
                  <a:gd name="connsiteX324" fmla="*/ 1017736 w 3071925"/>
                  <a:gd name="connsiteY324" fmla="*/ 2240353 h 3094175"/>
                  <a:gd name="connsiteX325" fmla="*/ 932480 w 3071925"/>
                  <a:gd name="connsiteY325" fmla="*/ 2307130 h 3094175"/>
                  <a:gd name="connsiteX326" fmla="*/ 843444 w 3071925"/>
                  <a:gd name="connsiteY326" fmla="*/ 2268071 h 3094175"/>
                  <a:gd name="connsiteX327" fmla="*/ 764907 w 3071925"/>
                  <a:gd name="connsiteY327" fmla="*/ 2161816 h 3094175"/>
                  <a:gd name="connsiteX328" fmla="*/ 738868 w 3071925"/>
                  <a:gd name="connsiteY328" fmla="*/ 2103859 h 3094175"/>
                  <a:gd name="connsiteX329" fmla="*/ 716609 w 3071925"/>
                  <a:gd name="connsiteY329" fmla="*/ 2069000 h 3094175"/>
                  <a:gd name="connsiteX330" fmla="*/ 618753 w 3071925"/>
                  <a:gd name="connsiteY330" fmla="*/ 1922846 h 3094175"/>
                  <a:gd name="connsiteX331" fmla="*/ 593134 w 3071925"/>
                  <a:gd name="connsiteY331" fmla="*/ 1896808 h 3094175"/>
                  <a:gd name="connsiteX332" fmla="*/ 508298 w 3071925"/>
                  <a:gd name="connsiteY332" fmla="*/ 1900587 h 3094175"/>
                  <a:gd name="connsiteX333" fmla="*/ 429341 w 3071925"/>
                  <a:gd name="connsiteY333" fmla="*/ 1976604 h 3094175"/>
                  <a:gd name="connsiteX334" fmla="*/ 327286 w 3071925"/>
                  <a:gd name="connsiteY334" fmla="*/ 2097979 h 3094175"/>
                  <a:gd name="connsiteX335" fmla="*/ 280668 w 3071925"/>
                  <a:gd name="connsiteY335" fmla="*/ 2151736 h 3094175"/>
                  <a:gd name="connsiteX336" fmla="*/ 204231 w 3071925"/>
                  <a:gd name="connsiteY336" fmla="*/ 2205074 h 3094175"/>
                  <a:gd name="connsiteX337" fmla="*/ 193312 w 3071925"/>
                  <a:gd name="connsiteY337" fmla="*/ 2257572 h 3094175"/>
                  <a:gd name="connsiteX338" fmla="*/ 238670 w 3071925"/>
                  <a:gd name="connsiteY338" fmla="*/ 2326869 h 3094175"/>
                  <a:gd name="connsiteX339" fmla="*/ 346185 w 3071925"/>
                  <a:gd name="connsiteY339" fmla="*/ 2460423 h 3094175"/>
                  <a:gd name="connsiteX340" fmla="*/ 582635 w 3071925"/>
                  <a:gd name="connsiteY340" fmla="*/ 2684694 h 3094175"/>
                  <a:gd name="connsiteX341" fmla="*/ 674191 w 3071925"/>
                  <a:gd name="connsiteY341" fmla="*/ 2743911 h 3094175"/>
                  <a:gd name="connsiteX342" fmla="*/ 899721 w 3071925"/>
                  <a:gd name="connsiteY342" fmla="*/ 2853947 h 3094175"/>
                  <a:gd name="connsiteX343" fmla="*/ 937939 w 3071925"/>
                  <a:gd name="connsiteY343" fmla="*/ 2869486 h 3094175"/>
                  <a:gd name="connsiteX344" fmla="*/ 1103832 w 3071925"/>
                  <a:gd name="connsiteY344" fmla="*/ 2923244 h 3094175"/>
                  <a:gd name="connsiteX345" fmla="*/ 1357082 w 3071925"/>
                  <a:gd name="connsiteY345" fmla="*/ 2989600 h 3094175"/>
                  <a:gd name="connsiteX346" fmla="*/ 1381020 w 3071925"/>
                  <a:gd name="connsiteY346" fmla="*/ 3000100 h 3094175"/>
                  <a:gd name="connsiteX347" fmla="*/ 1478876 w 3071925"/>
                  <a:gd name="connsiteY347" fmla="*/ 3028239 h 3094175"/>
                  <a:gd name="connsiteX348" fmla="*/ 1679628 w 3071925"/>
                  <a:gd name="connsiteY348" fmla="*/ 3043358 h 3094175"/>
                  <a:gd name="connsiteX349" fmla="*/ 2173947 w 3071925"/>
                  <a:gd name="connsiteY349" fmla="*/ 2328129 h 3094175"/>
                  <a:gd name="connsiteX350" fmla="*/ 2163027 w 3071925"/>
                  <a:gd name="connsiteY350" fmla="*/ 2331489 h 3094175"/>
                  <a:gd name="connsiteX351" fmla="*/ 2171007 w 3071925"/>
                  <a:gd name="connsiteY351" fmla="*/ 2343248 h 3094175"/>
                  <a:gd name="connsiteX352" fmla="*/ 2190746 w 3071925"/>
                  <a:gd name="connsiteY352" fmla="*/ 2348288 h 3094175"/>
                  <a:gd name="connsiteX353" fmla="*/ 2228964 w 3071925"/>
                  <a:gd name="connsiteY353" fmla="*/ 2349968 h 3094175"/>
                  <a:gd name="connsiteX354" fmla="*/ 2193266 w 3071925"/>
                  <a:gd name="connsiteY354" fmla="*/ 2329809 h 3094175"/>
                  <a:gd name="connsiteX355" fmla="*/ 2173947 w 3071925"/>
                  <a:gd name="connsiteY355" fmla="*/ 2328129 h 3094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</a:cxnLst>
                <a:rect l="l" t="t" r="r" b="b"/>
                <a:pathLst>
                  <a:path w="3071925" h="3094175">
                    <a:moveTo>
                      <a:pt x="1706087" y="3094176"/>
                    </a:moveTo>
                    <a:cubicBezTo>
                      <a:pt x="1671648" y="3090816"/>
                      <a:pt x="1630490" y="3084096"/>
                      <a:pt x="1588912" y="3084096"/>
                    </a:cubicBezTo>
                    <a:cubicBezTo>
                      <a:pt x="1563713" y="3084096"/>
                      <a:pt x="1538514" y="3084096"/>
                      <a:pt x="1513315" y="3082837"/>
                    </a:cubicBezTo>
                    <a:cubicBezTo>
                      <a:pt x="1462917" y="3080316"/>
                      <a:pt x="1415459" y="3066877"/>
                      <a:pt x="1367581" y="3052598"/>
                    </a:cubicBezTo>
                    <a:cubicBezTo>
                      <a:pt x="1284005" y="3027399"/>
                      <a:pt x="1201268" y="2997580"/>
                      <a:pt x="1115592" y="2981621"/>
                    </a:cubicBezTo>
                    <a:cubicBezTo>
                      <a:pt x="1036635" y="2966501"/>
                      <a:pt x="964399" y="2936263"/>
                      <a:pt x="890482" y="2909804"/>
                    </a:cubicBezTo>
                    <a:cubicBezTo>
                      <a:pt x="876202" y="2904764"/>
                      <a:pt x="859403" y="2906864"/>
                      <a:pt x="845124" y="2901404"/>
                    </a:cubicBezTo>
                    <a:cubicBezTo>
                      <a:pt x="790106" y="2880825"/>
                      <a:pt x="736768" y="2856886"/>
                      <a:pt x="688470" y="2822448"/>
                    </a:cubicBezTo>
                    <a:cubicBezTo>
                      <a:pt x="644792" y="2791789"/>
                      <a:pt x="598174" y="2765330"/>
                      <a:pt x="554076" y="2734672"/>
                    </a:cubicBezTo>
                    <a:cubicBezTo>
                      <a:pt x="507458" y="2701913"/>
                      <a:pt x="460840" y="2668734"/>
                      <a:pt x="417162" y="2632196"/>
                    </a:cubicBezTo>
                    <a:cubicBezTo>
                      <a:pt x="392383" y="2611197"/>
                      <a:pt x="372644" y="2583898"/>
                      <a:pt x="352065" y="2558279"/>
                    </a:cubicBezTo>
                    <a:cubicBezTo>
                      <a:pt x="310487" y="2507461"/>
                      <a:pt x="269328" y="2456223"/>
                      <a:pt x="228590" y="2405406"/>
                    </a:cubicBezTo>
                    <a:cubicBezTo>
                      <a:pt x="213471" y="2386506"/>
                      <a:pt x="197931" y="2368027"/>
                      <a:pt x="183652" y="2348288"/>
                    </a:cubicBezTo>
                    <a:cubicBezTo>
                      <a:pt x="162233" y="2318889"/>
                      <a:pt x="141234" y="2289491"/>
                      <a:pt x="135774" y="2252112"/>
                    </a:cubicBezTo>
                    <a:cubicBezTo>
                      <a:pt x="134514" y="2244132"/>
                      <a:pt x="130314" y="2235313"/>
                      <a:pt x="124855" y="2229013"/>
                    </a:cubicBezTo>
                    <a:cubicBezTo>
                      <a:pt x="66897" y="2160556"/>
                      <a:pt x="55557" y="2074460"/>
                      <a:pt x="34558" y="1992563"/>
                    </a:cubicBezTo>
                    <a:cubicBezTo>
                      <a:pt x="24479" y="1953085"/>
                      <a:pt x="22799" y="1910247"/>
                      <a:pt x="22799" y="1869089"/>
                    </a:cubicBezTo>
                    <a:cubicBezTo>
                      <a:pt x="22379" y="1810291"/>
                      <a:pt x="14399" y="1752754"/>
                      <a:pt x="3480" y="1694796"/>
                    </a:cubicBezTo>
                    <a:cubicBezTo>
                      <a:pt x="-720" y="1672957"/>
                      <a:pt x="540" y="1649438"/>
                      <a:pt x="540" y="1626759"/>
                    </a:cubicBezTo>
                    <a:cubicBezTo>
                      <a:pt x="120" y="1588541"/>
                      <a:pt x="1380" y="1549902"/>
                      <a:pt x="120" y="1511684"/>
                    </a:cubicBezTo>
                    <a:cubicBezTo>
                      <a:pt x="-1560" y="1444067"/>
                      <a:pt x="14819" y="1378550"/>
                      <a:pt x="24479" y="1312193"/>
                    </a:cubicBezTo>
                    <a:cubicBezTo>
                      <a:pt x="27839" y="1289094"/>
                      <a:pt x="39178" y="1265995"/>
                      <a:pt x="50518" y="1244996"/>
                    </a:cubicBezTo>
                    <a:cubicBezTo>
                      <a:pt x="91256" y="1167299"/>
                      <a:pt x="118555" y="1083722"/>
                      <a:pt x="151313" y="1002666"/>
                    </a:cubicBezTo>
                    <a:cubicBezTo>
                      <a:pt x="157613" y="986707"/>
                      <a:pt x="169793" y="973687"/>
                      <a:pt x="177772" y="958568"/>
                    </a:cubicBezTo>
                    <a:cubicBezTo>
                      <a:pt x="216831" y="885491"/>
                      <a:pt x="249589" y="809894"/>
                      <a:pt x="286128" y="735557"/>
                    </a:cubicBezTo>
                    <a:cubicBezTo>
                      <a:pt x="328126" y="650721"/>
                      <a:pt x="366344" y="562105"/>
                      <a:pt x="441521" y="497847"/>
                    </a:cubicBezTo>
                    <a:cubicBezTo>
                      <a:pt x="466720" y="476428"/>
                      <a:pt x="488559" y="450810"/>
                      <a:pt x="512078" y="428131"/>
                    </a:cubicBezTo>
                    <a:cubicBezTo>
                      <a:pt x="591875" y="351274"/>
                      <a:pt x="677131" y="280297"/>
                      <a:pt x="775827" y="228639"/>
                    </a:cubicBezTo>
                    <a:cubicBezTo>
                      <a:pt x="879562" y="174461"/>
                      <a:pt x="985818" y="126583"/>
                      <a:pt x="1098373" y="92985"/>
                    </a:cubicBezTo>
                    <a:cubicBezTo>
                      <a:pt x="1118112" y="87105"/>
                      <a:pt x="1137851" y="82065"/>
                      <a:pt x="1157590" y="77446"/>
                    </a:cubicBezTo>
                    <a:cubicBezTo>
                      <a:pt x="1244946" y="57286"/>
                      <a:pt x="1332723" y="44687"/>
                      <a:pt x="1423019" y="42587"/>
                    </a:cubicBezTo>
                    <a:cubicBezTo>
                      <a:pt x="1489796" y="41327"/>
                      <a:pt x="1556153" y="27048"/>
                      <a:pt x="1622930" y="18648"/>
                    </a:cubicBezTo>
                    <a:cubicBezTo>
                      <a:pt x="1627970" y="17808"/>
                      <a:pt x="1632590" y="14028"/>
                      <a:pt x="1637630" y="14028"/>
                    </a:cubicBezTo>
                    <a:cubicBezTo>
                      <a:pt x="1722466" y="14028"/>
                      <a:pt x="1806462" y="-4451"/>
                      <a:pt x="1891719" y="1009"/>
                    </a:cubicBezTo>
                    <a:cubicBezTo>
                      <a:pt x="1919017" y="2689"/>
                      <a:pt x="1934557" y="22008"/>
                      <a:pt x="1954716" y="33348"/>
                    </a:cubicBezTo>
                    <a:cubicBezTo>
                      <a:pt x="1966895" y="40067"/>
                      <a:pt x="1974455" y="46787"/>
                      <a:pt x="1984955" y="33767"/>
                    </a:cubicBezTo>
                    <a:cubicBezTo>
                      <a:pt x="1991254" y="26208"/>
                      <a:pt x="1997974" y="28308"/>
                      <a:pt x="2007214" y="30408"/>
                    </a:cubicBezTo>
                    <a:cubicBezTo>
                      <a:pt x="2039132" y="37127"/>
                      <a:pt x="2072731" y="36707"/>
                      <a:pt x="2103810" y="45527"/>
                    </a:cubicBezTo>
                    <a:cubicBezTo>
                      <a:pt x="2165967" y="64006"/>
                      <a:pt x="2227704" y="85005"/>
                      <a:pt x="2288182" y="108944"/>
                    </a:cubicBezTo>
                    <a:cubicBezTo>
                      <a:pt x="2328080" y="124484"/>
                      <a:pt x="2368818" y="142123"/>
                      <a:pt x="2401997" y="168162"/>
                    </a:cubicBezTo>
                    <a:cubicBezTo>
                      <a:pt x="2452815" y="207220"/>
                      <a:pt x="2498173" y="253418"/>
                      <a:pt x="2543951" y="298776"/>
                    </a:cubicBezTo>
                    <a:cubicBezTo>
                      <a:pt x="2575869" y="330275"/>
                      <a:pt x="2605268" y="365133"/>
                      <a:pt x="2635087" y="398732"/>
                    </a:cubicBezTo>
                    <a:cubicBezTo>
                      <a:pt x="2720343" y="494908"/>
                      <a:pt x="2794260" y="597803"/>
                      <a:pt x="2843398" y="718338"/>
                    </a:cubicBezTo>
                    <a:cubicBezTo>
                      <a:pt x="2869017" y="780495"/>
                      <a:pt x="2895055" y="841813"/>
                      <a:pt x="2913115" y="906910"/>
                    </a:cubicBezTo>
                    <a:cubicBezTo>
                      <a:pt x="2916895" y="919929"/>
                      <a:pt x="2922774" y="932529"/>
                      <a:pt x="2929074" y="944708"/>
                    </a:cubicBezTo>
                    <a:cubicBezTo>
                      <a:pt x="2964352" y="1014005"/>
                      <a:pt x="2987032" y="1087502"/>
                      <a:pt x="3007611" y="1161839"/>
                    </a:cubicBezTo>
                    <a:cubicBezTo>
                      <a:pt x="3010970" y="1173178"/>
                      <a:pt x="3013491" y="1184938"/>
                      <a:pt x="3017690" y="1195858"/>
                    </a:cubicBezTo>
                    <a:cubicBezTo>
                      <a:pt x="3038269" y="1245836"/>
                      <a:pt x="3049189" y="1297913"/>
                      <a:pt x="3049609" y="1352091"/>
                    </a:cubicBezTo>
                    <a:cubicBezTo>
                      <a:pt x="3049609" y="1372670"/>
                      <a:pt x="3048349" y="1393249"/>
                      <a:pt x="3061789" y="1412148"/>
                    </a:cubicBezTo>
                    <a:cubicBezTo>
                      <a:pt x="3067248" y="1419708"/>
                      <a:pt x="3068088" y="1431467"/>
                      <a:pt x="3068928" y="1441547"/>
                    </a:cubicBezTo>
                    <a:cubicBezTo>
                      <a:pt x="3075648" y="1525124"/>
                      <a:pt x="3070608" y="1608700"/>
                      <a:pt x="3058429" y="1691016"/>
                    </a:cubicBezTo>
                    <a:cubicBezTo>
                      <a:pt x="3052549" y="1730915"/>
                      <a:pt x="3051709" y="1769973"/>
                      <a:pt x="3047929" y="1809451"/>
                    </a:cubicBezTo>
                    <a:cubicBezTo>
                      <a:pt x="3046249" y="1830030"/>
                      <a:pt x="3042889" y="1850610"/>
                      <a:pt x="3038269" y="1870348"/>
                    </a:cubicBezTo>
                    <a:cubicBezTo>
                      <a:pt x="3021050" y="1943425"/>
                      <a:pt x="3003411" y="2016502"/>
                      <a:pt x="2985352" y="2089579"/>
                    </a:cubicBezTo>
                    <a:cubicBezTo>
                      <a:pt x="2982412" y="2101339"/>
                      <a:pt x="2976532" y="2112258"/>
                      <a:pt x="2972752" y="2123598"/>
                    </a:cubicBezTo>
                    <a:cubicBezTo>
                      <a:pt x="2964772" y="2147957"/>
                      <a:pt x="2953433" y="2171056"/>
                      <a:pt x="2953853" y="2197934"/>
                    </a:cubicBezTo>
                    <a:cubicBezTo>
                      <a:pt x="2953853" y="2210954"/>
                      <a:pt x="2948393" y="2224813"/>
                      <a:pt x="2942933" y="2236993"/>
                    </a:cubicBezTo>
                    <a:cubicBezTo>
                      <a:pt x="2931594" y="2263872"/>
                      <a:pt x="2918154" y="2289911"/>
                      <a:pt x="2906395" y="2316790"/>
                    </a:cubicBezTo>
                    <a:cubicBezTo>
                      <a:pt x="2903455" y="2323089"/>
                      <a:pt x="2900515" y="2330229"/>
                      <a:pt x="2901355" y="2336528"/>
                    </a:cubicBezTo>
                    <a:cubicBezTo>
                      <a:pt x="2908915" y="2379787"/>
                      <a:pt x="2884976" y="2412965"/>
                      <a:pt x="2866917" y="2448244"/>
                    </a:cubicBezTo>
                    <a:cubicBezTo>
                      <a:pt x="2853057" y="2475543"/>
                      <a:pt x="2840458" y="2504101"/>
                      <a:pt x="2826178" y="2531400"/>
                    </a:cubicBezTo>
                    <a:cubicBezTo>
                      <a:pt x="2801400" y="2578858"/>
                      <a:pt x="2777880" y="2627576"/>
                      <a:pt x="2737142" y="2664535"/>
                    </a:cubicBezTo>
                    <a:cubicBezTo>
                      <a:pt x="2724543" y="2675874"/>
                      <a:pt x="2709004" y="2690993"/>
                      <a:pt x="2694304" y="2691413"/>
                    </a:cubicBezTo>
                    <a:cubicBezTo>
                      <a:pt x="2671205" y="2692673"/>
                      <a:pt x="2662385" y="2704013"/>
                      <a:pt x="2650206" y="2719552"/>
                    </a:cubicBezTo>
                    <a:cubicBezTo>
                      <a:pt x="2622907" y="2755671"/>
                      <a:pt x="2588469" y="2782969"/>
                      <a:pt x="2547311" y="2804388"/>
                    </a:cubicBezTo>
                    <a:cubicBezTo>
                      <a:pt x="2512452" y="2822448"/>
                      <a:pt x="2480114" y="2846387"/>
                      <a:pt x="2447775" y="2869066"/>
                    </a:cubicBezTo>
                    <a:cubicBezTo>
                      <a:pt x="2363778" y="2929123"/>
                      <a:pt x="2281042" y="2992120"/>
                      <a:pt x="2178566" y="3018579"/>
                    </a:cubicBezTo>
                    <a:cubicBezTo>
                      <a:pt x="2153787" y="3024879"/>
                      <a:pt x="2128588" y="3029499"/>
                      <a:pt x="2103389" y="3034539"/>
                    </a:cubicBezTo>
                    <a:cubicBezTo>
                      <a:pt x="2029473" y="3049658"/>
                      <a:pt x="1956816" y="3071917"/>
                      <a:pt x="1879959" y="3071497"/>
                    </a:cubicBezTo>
                    <a:cubicBezTo>
                      <a:pt x="1873239" y="3071497"/>
                      <a:pt x="1864840" y="3070657"/>
                      <a:pt x="1859380" y="3073597"/>
                    </a:cubicBezTo>
                    <a:cubicBezTo>
                      <a:pt x="1814442" y="3100056"/>
                      <a:pt x="1762364" y="3086196"/>
                      <a:pt x="1706087" y="3094176"/>
                    </a:cubicBezTo>
                    <a:close/>
                    <a:moveTo>
                      <a:pt x="2809379" y="2464203"/>
                    </a:moveTo>
                    <a:cubicBezTo>
                      <a:pt x="2798879" y="2467563"/>
                      <a:pt x="2787960" y="2470923"/>
                      <a:pt x="2777460" y="2474283"/>
                    </a:cubicBezTo>
                    <a:cubicBezTo>
                      <a:pt x="2781240" y="2459583"/>
                      <a:pt x="2784180" y="2444464"/>
                      <a:pt x="2790060" y="2430185"/>
                    </a:cubicBezTo>
                    <a:cubicBezTo>
                      <a:pt x="2791740" y="2425985"/>
                      <a:pt x="2803500" y="2420525"/>
                      <a:pt x="2806019" y="2422205"/>
                    </a:cubicBezTo>
                    <a:cubicBezTo>
                      <a:pt x="2830799" y="2440264"/>
                      <a:pt x="2839198" y="2419265"/>
                      <a:pt x="2848857" y="2404566"/>
                    </a:cubicBezTo>
                    <a:cubicBezTo>
                      <a:pt x="2856417" y="2393226"/>
                      <a:pt x="2847598" y="2378947"/>
                      <a:pt x="2834158" y="2378947"/>
                    </a:cubicBezTo>
                    <a:cubicBezTo>
                      <a:pt x="2827438" y="2378947"/>
                      <a:pt x="2820299" y="2380207"/>
                      <a:pt x="2813999" y="2382307"/>
                    </a:cubicBezTo>
                    <a:cubicBezTo>
                      <a:pt x="2760241" y="2397846"/>
                      <a:pt x="2723703" y="2438164"/>
                      <a:pt x="2682545" y="2472183"/>
                    </a:cubicBezTo>
                    <a:cubicBezTo>
                      <a:pt x="2677085" y="2476803"/>
                      <a:pt x="2674145" y="2487302"/>
                      <a:pt x="2673725" y="2495282"/>
                    </a:cubicBezTo>
                    <a:cubicBezTo>
                      <a:pt x="2672885" y="2537280"/>
                      <a:pt x="2672465" y="2578858"/>
                      <a:pt x="2672885" y="2620856"/>
                    </a:cubicBezTo>
                    <a:cubicBezTo>
                      <a:pt x="2673305" y="2640596"/>
                      <a:pt x="2689264" y="2649415"/>
                      <a:pt x="2703544" y="2636396"/>
                    </a:cubicBezTo>
                    <a:cubicBezTo>
                      <a:pt x="2725383" y="2616656"/>
                      <a:pt x="2748062" y="2596078"/>
                      <a:pt x="2764021" y="2571718"/>
                    </a:cubicBezTo>
                    <a:cubicBezTo>
                      <a:pt x="2776621" y="2552819"/>
                      <a:pt x="2793420" y="2531820"/>
                      <a:pt x="2787540" y="2504941"/>
                    </a:cubicBezTo>
                    <a:cubicBezTo>
                      <a:pt x="2810219" y="2498642"/>
                      <a:pt x="2808539" y="2480582"/>
                      <a:pt x="2808539" y="2462943"/>
                    </a:cubicBezTo>
                    <a:cubicBezTo>
                      <a:pt x="2810219" y="2460423"/>
                      <a:pt x="2811899" y="2457903"/>
                      <a:pt x="2813579" y="2455803"/>
                    </a:cubicBezTo>
                    <a:cubicBezTo>
                      <a:pt x="2812319" y="2458743"/>
                      <a:pt x="2810639" y="2461263"/>
                      <a:pt x="2809379" y="2464203"/>
                    </a:cubicBezTo>
                    <a:close/>
                    <a:moveTo>
                      <a:pt x="2024013" y="2326869"/>
                    </a:moveTo>
                    <a:cubicBezTo>
                      <a:pt x="2030733" y="2346608"/>
                      <a:pt x="2048372" y="2352908"/>
                      <a:pt x="2066011" y="2357528"/>
                    </a:cubicBezTo>
                    <a:cubicBezTo>
                      <a:pt x="2070211" y="2358788"/>
                      <a:pt x="2076511" y="2351228"/>
                      <a:pt x="2081970" y="2347868"/>
                    </a:cubicBezTo>
                    <a:cubicBezTo>
                      <a:pt x="2078611" y="2344088"/>
                      <a:pt x="2075671" y="2338209"/>
                      <a:pt x="2071471" y="2337369"/>
                    </a:cubicBezTo>
                    <a:cubicBezTo>
                      <a:pt x="2055512" y="2333589"/>
                      <a:pt x="2039132" y="2331069"/>
                      <a:pt x="2022753" y="2328549"/>
                    </a:cubicBezTo>
                    <a:cubicBezTo>
                      <a:pt x="1994614" y="2313850"/>
                      <a:pt x="1966056" y="2299990"/>
                      <a:pt x="1938337" y="2284451"/>
                    </a:cubicBezTo>
                    <a:cubicBezTo>
                      <a:pt x="1916497" y="2272271"/>
                      <a:pt x="1899278" y="2271011"/>
                      <a:pt x="1887099" y="2297050"/>
                    </a:cubicBezTo>
                    <a:cubicBezTo>
                      <a:pt x="1884999" y="2301250"/>
                      <a:pt x="1875339" y="2305030"/>
                      <a:pt x="1871139" y="2303770"/>
                    </a:cubicBezTo>
                    <a:cubicBezTo>
                      <a:pt x="1866520" y="2302090"/>
                      <a:pt x="1859800" y="2291591"/>
                      <a:pt x="1861060" y="2289491"/>
                    </a:cubicBezTo>
                    <a:cubicBezTo>
                      <a:pt x="1872399" y="2272271"/>
                      <a:pt x="1860640" y="2264712"/>
                      <a:pt x="1849300" y="2255892"/>
                    </a:cubicBezTo>
                    <a:cubicBezTo>
                      <a:pt x="1840481" y="2248752"/>
                      <a:pt x="1827881" y="2240773"/>
                      <a:pt x="1826201" y="2231113"/>
                    </a:cubicBezTo>
                    <a:cubicBezTo>
                      <a:pt x="1817382" y="2185335"/>
                      <a:pt x="1809402" y="2139557"/>
                      <a:pt x="1813182" y="2092099"/>
                    </a:cubicBezTo>
                    <a:cubicBezTo>
                      <a:pt x="1815282" y="2068160"/>
                      <a:pt x="1822842" y="2045901"/>
                      <a:pt x="1842161" y="2033722"/>
                    </a:cubicBezTo>
                    <a:cubicBezTo>
                      <a:pt x="1878279" y="2011042"/>
                      <a:pt x="1912298" y="1985424"/>
                      <a:pt x="1953876" y="1971144"/>
                    </a:cubicBezTo>
                    <a:cubicBezTo>
                      <a:pt x="2014773" y="1949725"/>
                      <a:pt x="2034932" y="1919907"/>
                      <a:pt x="2018553" y="1856909"/>
                    </a:cubicBezTo>
                    <a:cubicBezTo>
                      <a:pt x="2014773" y="1841790"/>
                      <a:pt x="2010993" y="1825830"/>
                      <a:pt x="2002594" y="1813231"/>
                    </a:cubicBezTo>
                    <a:cubicBezTo>
                      <a:pt x="1984115" y="1785512"/>
                      <a:pt x="1979915" y="1756114"/>
                      <a:pt x="1981595" y="1724195"/>
                    </a:cubicBezTo>
                    <a:cubicBezTo>
                      <a:pt x="1982015" y="1711175"/>
                      <a:pt x="1979075" y="1696056"/>
                      <a:pt x="1972355" y="1685556"/>
                    </a:cubicBezTo>
                    <a:cubicBezTo>
                      <a:pt x="1952196" y="1655318"/>
                      <a:pt x="1929517" y="1627179"/>
                      <a:pt x="1907678" y="1598200"/>
                    </a:cubicBezTo>
                    <a:cubicBezTo>
                      <a:pt x="1894659" y="1580981"/>
                      <a:pt x="1885419" y="1562502"/>
                      <a:pt x="1887939" y="1540663"/>
                    </a:cubicBezTo>
                    <a:cubicBezTo>
                      <a:pt x="1893819" y="1485645"/>
                      <a:pt x="1911458" y="1437767"/>
                      <a:pt x="1966895" y="1412988"/>
                    </a:cubicBezTo>
                    <a:cubicBezTo>
                      <a:pt x="1974875" y="1409628"/>
                      <a:pt x="1980335" y="1401649"/>
                      <a:pt x="1988315" y="1398289"/>
                    </a:cubicBezTo>
                    <a:cubicBezTo>
                      <a:pt x="2005534" y="1390729"/>
                      <a:pt x="2006374" y="1378970"/>
                      <a:pt x="1998394" y="1364690"/>
                    </a:cubicBezTo>
                    <a:cubicBezTo>
                      <a:pt x="1992514" y="1354191"/>
                      <a:pt x="1987055" y="1343271"/>
                      <a:pt x="1979495" y="1334032"/>
                    </a:cubicBezTo>
                    <a:cubicBezTo>
                      <a:pt x="1965635" y="1317652"/>
                      <a:pt x="1959756" y="1319332"/>
                      <a:pt x="1946736" y="1339491"/>
                    </a:cubicBezTo>
                    <a:cubicBezTo>
                      <a:pt x="1940017" y="1349991"/>
                      <a:pt x="1939596" y="1369310"/>
                      <a:pt x="1919017" y="1363850"/>
                    </a:cubicBezTo>
                    <a:cubicBezTo>
                      <a:pt x="1906418" y="1360491"/>
                      <a:pt x="1905578" y="1349991"/>
                      <a:pt x="1918597" y="1324792"/>
                    </a:cubicBezTo>
                    <a:cubicBezTo>
                      <a:pt x="1925317" y="1311772"/>
                      <a:pt x="1930777" y="1302113"/>
                      <a:pt x="1914818" y="1291194"/>
                    </a:cubicBezTo>
                    <a:cubicBezTo>
                      <a:pt x="1896338" y="1278174"/>
                      <a:pt x="1897178" y="1262215"/>
                      <a:pt x="1907258" y="1241216"/>
                    </a:cubicBezTo>
                    <a:cubicBezTo>
                      <a:pt x="1921537" y="1211397"/>
                      <a:pt x="1938757" y="1188298"/>
                      <a:pt x="1971935" y="1179478"/>
                    </a:cubicBezTo>
                    <a:cubicBezTo>
                      <a:pt x="1980335" y="1177378"/>
                      <a:pt x="1987894" y="1173178"/>
                      <a:pt x="1995454" y="1168979"/>
                    </a:cubicBezTo>
                    <a:cubicBezTo>
                      <a:pt x="2015193" y="1158479"/>
                      <a:pt x="2021073" y="1145880"/>
                      <a:pt x="2010993" y="1127401"/>
                    </a:cubicBezTo>
                    <a:cubicBezTo>
                      <a:pt x="2000914" y="1109341"/>
                      <a:pt x="1988315" y="1092542"/>
                      <a:pt x="1974035" y="1077423"/>
                    </a:cubicBezTo>
                    <a:cubicBezTo>
                      <a:pt x="1930777" y="1030385"/>
                      <a:pt x="1930357" y="979147"/>
                      <a:pt x="1958076" y="930009"/>
                    </a:cubicBezTo>
                    <a:cubicBezTo>
                      <a:pt x="1974875" y="900610"/>
                      <a:pt x="1995874" y="877931"/>
                      <a:pt x="2024853" y="860712"/>
                    </a:cubicBezTo>
                    <a:cubicBezTo>
                      <a:pt x="2037872" y="853152"/>
                      <a:pt x="2040392" y="835933"/>
                      <a:pt x="2029053" y="831313"/>
                    </a:cubicBezTo>
                    <a:cubicBezTo>
                      <a:pt x="2003014" y="820814"/>
                      <a:pt x="1991254" y="789315"/>
                      <a:pt x="1960596" y="787215"/>
                    </a:cubicBezTo>
                    <a:lnTo>
                      <a:pt x="1961856" y="788475"/>
                    </a:lnTo>
                    <a:cubicBezTo>
                      <a:pt x="1960176" y="778395"/>
                      <a:pt x="1958916" y="767896"/>
                      <a:pt x="1955976" y="758236"/>
                    </a:cubicBezTo>
                    <a:cubicBezTo>
                      <a:pt x="1942116" y="709518"/>
                      <a:pt x="1946736" y="666260"/>
                      <a:pt x="1986634" y="630142"/>
                    </a:cubicBezTo>
                    <a:cubicBezTo>
                      <a:pt x="2009733" y="609143"/>
                      <a:pt x="2032413" y="586884"/>
                      <a:pt x="2053412" y="563785"/>
                    </a:cubicBezTo>
                    <a:cubicBezTo>
                      <a:pt x="2063491" y="552865"/>
                      <a:pt x="2071471" y="539006"/>
                      <a:pt x="2076931" y="525146"/>
                    </a:cubicBezTo>
                    <a:cubicBezTo>
                      <a:pt x="2090790" y="490288"/>
                      <a:pt x="2082390" y="474748"/>
                      <a:pt x="2047532" y="464249"/>
                    </a:cubicBezTo>
                    <a:cubicBezTo>
                      <a:pt x="2031153" y="459629"/>
                      <a:pt x="2013513" y="457949"/>
                      <a:pt x="1997554" y="452069"/>
                    </a:cubicBezTo>
                    <a:cubicBezTo>
                      <a:pt x="1930777" y="427291"/>
                      <a:pt x="1908098" y="385292"/>
                      <a:pt x="1922797" y="318095"/>
                    </a:cubicBezTo>
                    <a:cubicBezTo>
                      <a:pt x="1924897" y="308016"/>
                      <a:pt x="1929517" y="297096"/>
                      <a:pt x="1926997" y="287857"/>
                    </a:cubicBezTo>
                    <a:cubicBezTo>
                      <a:pt x="1915658" y="243339"/>
                      <a:pt x="1926577" y="203440"/>
                      <a:pt x="1948416" y="165222"/>
                    </a:cubicBezTo>
                    <a:cubicBezTo>
                      <a:pt x="1964795" y="136663"/>
                      <a:pt x="1955556" y="112724"/>
                      <a:pt x="1937497" y="89625"/>
                    </a:cubicBezTo>
                    <a:cubicBezTo>
                      <a:pt x="1924057" y="72826"/>
                      <a:pt x="1919017" y="73666"/>
                      <a:pt x="1903898" y="92565"/>
                    </a:cubicBezTo>
                    <a:cubicBezTo>
                      <a:pt x="1899698" y="98025"/>
                      <a:pt x="1895498" y="103904"/>
                      <a:pt x="1890879" y="108944"/>
                    </a:cubicBezTo>
                    <a:cubicBezTo>
                      <a:pt x="1879539" y="120704"/>
                      <a:pt x="1870299" y="118184"/>
                      <a:pt x="1864840" y="101385"/>
                    </a:cubicBezTo>
                    <a:cubicBezTo>
                      <a:pt x="1862740" y="94665"/>
                      <a:pt x="1865260" y="86265"/>
                      <a:pt x="1865260" y="78706"/>
                    </a:cubicBezTo>
                    <a:cubicBezTo>
                      <a:pt x="1865260" y="66946"/>
                      <a:pt x="1853920" y="58546"/>
                      <a:pt x="1845101" y="65266"/>
                    </a:cubicBezTo>
                    <a:cubicBezTo>
                      <a:pt x="1835861" y="71986"/>
                      <a:pt x="1829981" y="82485"/>
                      <a:pt x="1822002" y="90885"/>
                    </a:cubicBezTo>
                    <a:cubicBezTo>
                      <a:pt x="1814862" y="98445"/>
                      <a:pt x="1795123" y="97185"/>
                      <a:pt x="1795543" y="89205"/>
                    </a:cubicBezTo>
                    <a:cubicBezTo>
                      <a:pt x="1797643" y="48467"/>
                      <a:pt x="1773284" y="58546"/>
                      <a:pt x="1750185" y="63166"/>
                    </a:cubicBezTo>
                    <a:cubicBezTo>
                      <a:pt x="1743465" y="64426"/>
                      <a:pt x="1736325" y="64846"/>
                      <a:pt x="1729186" y="64426"/>
                    </a:cubicBezTo>
                    <a:cubicBezTo>
                      <a:pt x="1707767" y="62746"/>
                      <a:pt x="1691387" y="68206"/>
                      <a:pt x="1686347" y="92145"/>
                    </a:cubicBezTo>
                    <a:cubicBezTo>
                      <a:pt x="1685507" y="95505"/>
                      <a:pt x="1683407" y="98445"/>
                      <a:pt x="1680888" y="100965"/>
                    </a:cubicBezTo>
                    <a:cubicBezTo>
                      <a:pt x="1675428" y="106424"/>
                      <a:pt x="1668288" y="116924"/>
                      <a:pt x="1664088" y="116084"/>
                    </a:cubicBezTo>
                    <a:cubicBezTo>
                      <a:pt x="1654429" y="113984"/>
                      <a:pt x="1646029" y="106844"/>
                      <a:pt x="1654009" y="93405"/>
                    </a:cubicBezTo>
                    <a:cubicBezTo>
                      <a:pt x="1659049" y="85005"/>
                      <a:pt x="1657369" y="74926"/>
                      <a:pt x="1645189" y="74926"/>
                    </a:cubicBezTo>
                    <a:cubicBezTo>
                      <a:pt x="1617890" y="74926"/>
                      <a:pt x="1588912" y="68626"/>
                      <a:pt x="1567912" y="95085"/>
                    </a:cubicBezTo>
                    <a:cubicBezTo>
                      <a:pt x="1563713" y="100545"/>
                      <a:pt x="1550693" y="106844"/>
                      <a:pt x="1546913" y="104324"/>
                    </a:cubicBezTo>
                    <a:cubicBezTo>
                      <a:pt x="1518775" y="87105"/>
                      <a:pt x="1488536" y="95925"/>
                      <a:pt x="1459977" y="97185"/>
                    </a:cubicBezTo>
                    <a:cubicBezTo>
                      <a:pt x="1423439" y="98445"/>
                      <a:pt x="1382281" y="96765"/>
                      <a:pt x="1365061" y="142543"/>
                    </a:cubicBezTo>
                    <a:cubicBezTo>
                      <a:pt x="1363801" y="145483"/>
                      <a:pt x="1355822" y="148423"/>
                      <a:pt x="1352042" y="147163"/>
                    </a:cubicBezTo>
                    <a:cubicBezTo>
                      <a:pt x="1348262" y="146323"/>
                      <a:pt x="1344482" y="140863"/>
                      <a:pt x="1343222" y="137083"/>
                    </a:cubicBezTo>
                    <a:cubicBezTo>
                      <a:pt x="1339862" y="127843"/>
                      <a:pt x="1341122" y="113564"/>
                      <a:pt x="1335243" y="109364"/>
                    </a:cubicBezTo>
                    <a:cubicBezTo>
                      <a:pt x="1328103" y="104324"/>
                      <a:pt x="1315084" y="108944"/>
                      <a:pt x="1304584" y="107264"/>
                    </a:cubicBezTo>
                    <a:cubicBezTo>
                      <a:pt x="1286105" y="103904"/>
                      <a:pt x="1268885" y="118184"/>
                      <a:pt x="1249146" y="109784"/>
                    </a:cubicBezTo>
                    <a:cubicBezTo>
                      <a:pt x="1239067" y="105584"/>
                      <a:pt x="1234027" y="116504"/>
                      <a:pt x="1241587" y="125324"/>
                    </a:cubicBezTo>
                    <a:cubicBezTo>
                      <a:pt x="1257126" y="143803"/>
                      <a:pt x="1244106" y="158502"/>
                      <a:pt x="1235707" y="172361"/>
                    </a:cubicBezTo>
                    <a:cubicBezTo>
                      <a:pt x="1227727" y="184961"/>
                      <a:pt x="1215548" y="183701"/>
                      <a:pt x="1204628" y="174461"/>
                    </a:cubicBezTo>
                    <a:cubicBezTo>
                      <a:pt x="1194969" y="166482"/>
                      <a:pt x="1199168" y="160602"/>
                      <a:pt x="1205888" y="153042"/>
                    </a:cubicBezTo>
                    <a:cubicBezTo>
                      <a:pt x="1210088" y="148003"/>
                      <a:pt x="1214288" y="141703"/>
                      <a:pt x="1215968" y="135403"/>
                    </a:cubicBezTo>
                    <a:cubicBezTo>
                      <a:pt x="1217228" y="131203"/>
                      <a:pt x="1215548" y="124484"/>
                      <a:pt x="1212188" y="121544"/>
                    </a:cubicBezTo>
                    <a:cubicBezTo>
                      <a:pt x="1209668" y="119024"/>
                      <a:pt x="1200848" y="119024"/>
                      <a:pt x="1198748" y="121544"/>
                    </a:cubicBezTo>
                    <a:cubicBezTo>
                      <a:pt x="1186989" y="136243"/>
                      <a:pt x="1176909" y="152202"/>
                      <a:pt x="1165150" y="166902"/>
                    </a:cubicBezTo>
                    <a:cubicBezTo>
                      <a:pt x="1160530" y="172781"/>
                      <a:pt x="1152130" y="179501"/>
                      <a:pt x="1146251" y="179081"/>
                    </a:cubicBezTo>
                    <a:cubicBezTo>
                      <a:pt x="1141211" y="178241"/>
                      <a:pt x="1136591" y="168162"/>
                      <a:pt x="1132811" y="161862"/>
                    </a:cubicBezTo>
                    <a:cubicBezTo>
                      <a:pt x="1131131" y="159342"/>
                      <a:pt x="1133651" y="154722"/>
                      <a:pt x="1132811" y="151782"/>
                    </a:cubicBezTo>
                    <a:cubicBezTo>
                      <a:pt x="1131551" y="147583"/>
                      <a:pt x="1127352" y="140023"/>
                      <a:pt x="1126512" y="140023"/>
                    </a:cubicBezTo>
                    <a:cubicBezTo>
                      <a:pt x="1120212" y="141703"/>
                      <a:pt x="1111392" y="143803"/>
                      <a:pt x="1109292" y="148423"/>
                    </a:cubicBezTo>
                    <a:cubicBezTo>
                      <a:pt x="1103832" y="160602"/>
                      <a:pt x="1102572" y="174881"/>
                      <a:pt x="1097113" y="187481"/>
                    </a:cubicBezTo>
                    <a:cubicBezTo>
                      <a:pt x="1095433" y="192101"/>
                      <a:pt x="1087453" y="195880"/>
                      <a:pt x="1081994" y="195880"/>
                    </a:cubicBezTo>
                    <a:cubicBezTo>
                      <a:pt x="1078633" y="196300"/>
                      <a:pt x="1073174" y="189581"/>
                      <a:pt x="1071914" y="184961"/>
                    </a:cubicBezTo>
                    <a:cubicBezTo>
                      <a:pt x="1067294" y="167322"/>
                      <a:pt x="1057634" y="162282"/>
                      <a:pt x="1039575" y="168582"/>
                    </a:cubicBezTo>
                    <a:cubicBezTo>
                      <a:pt x="1034955" y="170262"/>
                      <a:pt x="1029076" y="169422"/>
                      <a:pt x="1024036" y="171102"/>
                    </a:cubicBezTo>
                    <a:cubicBezTo>
                      <a:pt x="987917" y="183281"/>
                      <a:pt x="951799" y="194621"/>
                      <a:pt x="940460" y="239139"/>
                    </a:cubicBezTo>
                    <a:cubicBezTo>
                      <a:pt x="936260" y="255098"/>
                      <a:pt x="923240" y="254678"/>
                      <a:pt x="911481" y="238299"/>
                    </a:cubicBezTo>
                    <a:cubicBezTo>
                      <a:pt x="901821" y="224859"/>
                      <a:pt x="894681" y="220240"/>
                      <a:pt x="877882" y="230739"/>
                    </a:cubicBezTo>
                    <a:cubicBezTo>
                      <a:pt x="854783" y="245438"/>
                      <a:pt x="828744" y="255518"/>
                      <a:pt x="803545" y="266018"/>
                    </a:cubicBezTo>
                    <a:cubicBezTo>
                      <a:pt x="777507" y="276937"/>
                      <a:pt x="756507" y="289956"/>
                      <a:pt x="767007" y="323555"/>
                    </a:cubicBezTo>
                    <a:cubicBezTo>
                      <a:pt x="768267" y="328175"/>
                      <a:pt x="766587" y="334055"/>
                      <a:pt x="764907" y="339094"/>
                    </a:cubicBezTo>
                    <a:cubicBezTo>
                      <a:pt x="760707" y="353794"/>
                      <a:pt x="743908" y="363453"/>
                      <a:pt x="732568" y="356734"/>
                    </a:cubicBezTo>
                    <a:cubicBezTo>
                      <a:pt x="718709" y="348334"/>
                      <a:pt x="728369" y="339514"/>
                      <a:pt x="733408" y="330695"/>
                    </a:cubicBezTo>
                    <a:cubicBezTo>
                      <a:pt x="735088" y="327755"/>
                      <a:pt x="735508" y="323975"/>
                      <a:pt x="735508" y="320615"/>
                    </a:cubicBezTo>
                    <a:cubicBezTo>
                      <a:pt x="735508" y="317255"/>
                      <a:pt x="734248" y="313475"/>
                      <a:pt x="732148" y="311376"/>
                    </a:cubicBezTo>
                    <a:cubicBezTo>
                      <a:pt x="730888" y="310116"/>
                      <a:pt x="726269" y="310536"/>
                      <a:pt x="724169" y="311796"/>
                    </a:cubicBezTo>
                    <a:cubicBezTo>
                      <a:pt x="688470" y="336154"/>
                      <a:pt x="650252" y="357994"/>
                      <a:pt x="617913" y="386552"/>
                    </a:cubicBezTo>
                    <a:cubicBezTo>
                      <a:pt x="557856" y="439470"/>
                      <a:pt x="501578" y="496168"/>
                      <a:pt x="443201" y="551185"/>
                    </a:cubicBezTo>
                    <a:cubicBezTo>
                      <a:pt x="433121" y="560845"/>
                      <a:pt x="432281" y="568405"/>
                      <a:pt x="436061" y="582684"/>
                    </a:cubicBezTo>
                    <a:cubicBezTo>
                      <a:pt x="441941" y="604103"/>
                      <a:pt x="422622" y="620062"/>
                      <a:pt x="398683" y="621322"/>
                    </a:cubicBezTo>
                    <a:cubicBezTo>
                      <a:pt x="391963" y="621742"/>
                      <a:pt x="382724" y="626782"/>
                      <a:pt x="378944" y="632662"/>
                    </a:cubicBezTo>
                    <a:cubicBezTo>
                      <a:pt x="361724" y="660801"/>
                      <a:pt x="344925" y="688939"/>
                      <a:pt x="329806" y="718338"/>
                    </a:cubicBezTo>
                    <a:cubicBezTo>
                      <a:pt x="315526" y="745637"/>
                      <a:pt x="299147" y="772516"/>
                      <a:pt x="305867" y="806534"/>
                    </a:cubicBezTo>
                    <a:cubicBezTo>
                      <a:pt x="309227" y="824174"/>
                      <a:pt x="295787" y="834673"/>
                      <a:pt x="285288" y="846853"/>
                    </a:cubicBezTo>
                    <a:cubicBezTo>
                      <a:pt x="273108" y="861132"/>
                      <a:pt x="259669" y="874991"/>
                      <a:pt x="250429" y="891371"/>
                    </a:cubicBezTo>
                    <a:cubicBezTo>
                      <a:pt x="228590" y="930429"/>
                      <a:pt x="209271" y="970747"/>
                      <a:pt x="189112" y="1010646"/>
                    </a:cubicBezTo>
                    <a:cubicBezTo>
                      <a:pt x="147114" y="1093382"/>
                      <a:pt x="123175" y="1184098"/>
                      <a:pt x="77397" y="1265574"/>
                    </a:cubicBezTo>
                    <a:cubicBezTo>
                      <a:pt x="66057" y="1286154"/>
                      <a:pt x="57237" y="1310093"/>
                      <a:pt x="54717" y="1333192"/>
                    </a:cubicBezTo>
                    <a:cubicBezTo>
                      <a:pt x="46738" y="1404169"/>
                      <a:pt x="32878" y="1474726"/>
                      <a:pt x="36238" y="1546962"/>
                    </a:cubicBezTo>
                    <a:cubicBezTo>
                      <a:pt x="37078" y="1563762"/>
                      <a:pt x="44638" y="1581401"/>
                      <a:pt x="42538" y="1597780"/>
                    </a:cubicBezTo>
                    <a:cubicBezTo>
                      <a:pt x="32038" y="1685556"/>
                      <a:pt x="75717" y="1768293"/>
                      <a:pt x="64797" y="1855649"/>
                    </a:cubicBezTo>
                    <a:cubicBezTo>
                      <a:pt x="78236" y="1880008"/>
                      <a:pt x="71517" y="1906467"/>
                      <a:pt x="75297" y="1932086"/>
                    </a:cubicBezTo>
                    <a:cubicBezTo>
                      <a:pt x="79916" y="1964005"/>
                      <a:pt x="86216" y="1996343"/>
                      <a:pt x="96296" y="2027002"/>
                    </a:cubicBezTo>
                    <a:cubicBezTo>
                      <a:pt x="106375" y="2056401"/>
                      <a:pt x="117295" y="2084539"/>
                      <a:pt x="117715" y="2116878"/>
                    </a:cubicBezTo>
                    <a:cubicBezTo>
                      <a:pt x="118135" y="2155096"/>
                      <a:pt x="159293" y="2180715"/>
                      <a:pt x="190372" y="2158876"/>
                    </a:cubicBezTo>
                    <a:cubicBezTo>
                      <a:pt x="233210" y="2129058"/>
                      <a:pt x="283608" y="2106799"/>
                      <a:pt x="305027" y="2050521"/>
                    </a:cubicBezTo>
                    <a:cubicBezTo>
                      <a:pt x="324346" y="1999703"/>
                      <a:pt x="364244" y="1962325"/>
                      <a:pt x="406662" y="1928726"/>
                    </a:cubicBezTo>
                    <a:cubicBezTo>
                      <a:pt x="426822" y="1912767"/>
                      <a:pt x="446981" y="1895968"/>
                      <a:pt x="466300" y="1878748"/>
                    </a:cubicBezTo>
                    <a:cubicBezTo>
                      <a:pt x="481839" y="1864889"/>
                      <a:pt x="495279" y="1848510"/>
                      <a:pt x="511238" y="1835070"/>
                    </a:cubicBezTo>
                    <a:cubicBezTo>
                      <a:pt x="525937" y="1822471"/>
                      <a:pt x="543156" y="1813231"/>
                      <a:pt x="563736" y="1817011"/>
                    </a:cubicBezTo>
                    <a:cubicBezTo>
                      <a:pt x="595234" y="1822891"/>
                      <a:pt x="625053" y="1835490"/>
                      <a:pt x="644792" y="1859849"/>
                    </a:cubicBezTo>
                    <a:cubicBezTo>
                      <a:pt x="686370" y="1911087"/>
                      <a:pt x="724169" y="1964844"/>
                      <a:pt x="762807" y="2018602"/>
                    </a:cubicBezTo>
                    <a:cubicBezTo>
                      <a:pt x="772047" y="2031202"/>
                      <a:pt x="774987" y="2050101"/>
                      <a:pt x="786326" y="2058501"/>
                    </a:cubicBezTo>
                    <a:cubicBezTo>
                      <a:pt x="815305" y="2078660"/>
                      <a:pt x="822025" y="2109738"/>
                      <a:pt x="827484" y="2138717"/>
                    </a:cubicBezTo>
                    <a:cubicBezTo>
                      <a:pt x="838824" y="2197515"/>
                      <a:pt x="872842" y="2228173"/>
                      <a:pt x="930380" y="2237833"/>
                    </a:cubicBezTo>
                    <a:cubicBezTo>
                      <a:pt x="958519" y="2242453"/>
                      <a:pt x="963559" y="2240353"/>
                      <a:pt x="964818" y="2212634"/>
                    </a:cubicBezTo>
                    <a:cubicBezTo>
                      <a:pt x="965238" y="2203814"/>
                      <a:pt x="964818" y="2194995"/>
                      <a:pt x="964818" y="2186595"/>
                    </a:cubicBezTo>
                    <a:cubicBezTo>
                      <a:pt x="964399" y="2113938"/>
                      <a:pt x="982038" y="2047581"/>
                      <a:pt x="1025716" y="1987943"/>
                    </a:cubicBezTo>
                    <a:cubicBezTo>
                      <a:pt x="1040835" y="1967364"/>
                      <a:pt x="1049235" y="1942585"/>
                      <a:pt x="1060574" y="1919067"/>
                    </a:cubicBezTo>
                    <a:cubicBezTo>
                      <a:pt x="1079054" y="1880008"/>
                      <a:pt x="1107192" y="1849349"/>
                      <a:pt x="1143311" y="1827511"/>
                    </a:cubicBezTo>
                    <a:cubicBezTo>
                      <a:pt x="1198748" y="1793492"/>
                      <a:pt x="1209248" y="1796012"/>
                      <a:pt x="1252506" y="1845570"/>
                    </a:cubicBezTo>
                    <a:cubicBezTo>
                      <a:pt x="1254606" y="1848089"/>
                      <a:pt x="1257966" y="1850189"/>
                      <a:pt x="1259646" y="1853549"/>
                    </a:cubicBezTo>
                    <a:cubicBezTo>
                      <a:pt x="1278545" y="1894287"/>
                      <a:pt x="1317603" y="1908147"/>
                      <a:pt x="1354982" y="1919067"/>
                    </a:cubicBezTo>
                    <a:cubicBezTo>
                      <a:pt x="1401180" y="1932506"/>
                      <a:pt x="1448218" y="1942166"/>
                      <a:pt x="1487276" y="1972404"/>
                    </a:cubicBezTo>
                    <a:cubicBezTo>
                      <a:pt x="1494836" y="1978284"/>
                      <a:pt x="1506175" y="1980804"/>
                      <a:pt x="1516255" y="1982904"/>
                    </a:cubicBezTo>
                    <a:cubicBezTo>
                      <a:pt x="1591011" y="2000123"/>
                      <a:pt x="1650229" y="2045061"/>
                      <a:pt x="1707767" y="2092099"/>
                    </a:cubicBezTo>
                    <a:cubicBezTo>
                      <a:pt x="1720786" y="2102599"/>
                      <a:pt x="1731705" y="2118138"/>
                      <a:pt x="1738005" y="2133677"/>
                    </a:cubicBezTo>
                    <a:cubicBezTo>
                      <a:pt x="1749345" y="2162236"/>
                      <a:pt x="1764884" y="2184915"/>
                      <a:pt x="1793023" y="2199614"/>
                    </a:cubicBezTo>
                    <a:cubicBezTo>
                      <a:pt x="1802263" y="2204654"/>
                      <a:pt x="1814022" y="2219354"/>
                      <a:pt x="1812342" y="2226913"/>
                    </a:cubicBezTo>
                    <a:cubicBezTo>
                      <a:pt x="1804782" y="2260092"/>
                      <a:pt x="1829141" y="2280671"/>
                      <a:pt x="1840901" y="2305450"/>
                    </a:cubicBezTo>
                    <a:cubicBezTo>
                      <a:pt x="1849720" y="2323509"/>
                      <a:pt x="1884579" y="2336109"/>
                      <a:pt x="1893819" y="2326449"/>
                    </a:cubicBezTo>
                    <a:cubicBezTo>
                      <a:pt x="1910198" y="2310070"/>
                      <a:pt x="1919858" y="2318469"/>
                      <a:pt x="1936657" y="2325609"/>
                    </a:cubicBezTo>
                    <a:cubicBezTo>
                      <a:pt x="1958076" y="2334849"/>
                      <a:pt x="1982855" y="2334849"/>
                      <a:pt x="2006794" y="2337369"/>
                    </a:cubicBezTo>
                    <a:cubicBezTo>
                      <a:pt x="2011414" y="2336528"/>
                      <a:pt x="2017713" y="2329809"/>
                      <a:pt x="2024013" y="2326869"/>
                    </a:cubicBezTo>
                    <a:close/>
                    <a:moveTo>
                      <a:pt x="1679628" y="3043358"/>
                    </a:moveTo>
                    <a:cubicBezTo>
                      <a:pt x="1742205" y="3038739"/>
                      <a:pt x="1804782" y="3042938"/>
                      <a:pt x="1866520" y="3029499"/>
                    </a:cubicBezTo>
                    <a:cubicBezTo>
                      <a:pt x="1896758" y="3023199"/>
                      <a:pt x="1928677" y="3024879"/>
                      <a:pt x="1958496" y="3017740"/>
                    </a:cubicBezTo>
                    <a:cubicBezTo>
                      <a:pt x="2024853" y="3000940"/>
                      <a:pt x="2090370" y="2981621"/>
                      <a:pt x="2158827" y="2971961"/>
                    </a:cubicBezTo>
                    <a:cubicBezTo>
                      <a:pt x="2239464" y="2960622"/>
                      <a:pt x="2305401" y="2914424"/>
                      <a:pt x="2373018" y="2873685"/>
                    </a:cubicBezTo>
                    <a:cubicBezTo>
                      <a:pt x="2450294" y="2827487"/>
                      <a:pt x="2510772" y="2757350"/>
                      <a:pt x="2595188" y="2721232"/>
                    </a:cubicBezTo>
                    <a:cubicBezTo>
                      <a:pt x="2614928" y="2712832"/>
                      <a:pt x="2623327" y="2693513"/>
                      <a:pt x="2622067" y="2669154"/>
                    </a:cubicBezTo>
                    <a:cubicBezTo>
                      <a:pt x="2619547" y="2631356"/>
                      <a:pt x="2616187" y="2592717"/>
                      <a:pt x="2629207" y="2555339"/>
                    </a:cubicBezTo>
                    <a:cubicBezTo>
                      <a:pt x="2632567" y="2546100"/>
                      <a:pt x="2633407" y="2532240"/>
                      <a:pt x="2628787" y="2524681"/>
                    </a:cubicBezTo>
                    <a:cubicBezTo>
                      <a:pt x="2616608" y="2505361"/>
                      <a:pt x="2627527" y="2491502"/>
                      <a:pt x="2634667" y="2475963"/>
                    </a:cubicBezTo>
                    <a:cubicBezTo>
                      <a:pt x="2659866" y="2420105"/>
                      <a:pt x="2706064" y="2383567"/>
                      <a:pt x="2754781" y="2349548"/>
                    </a:cubicBezTo>
                    <a:cubicBezTo>
                      <a:pt x="2785860" y="2328129"/>
                      <a:pt x="2818199" y="2311750"/>
                      <a:pt x="2857677" y="2314269"/>
                    </a:cubicBezTo>
                    <a:cubicBezTo>
                      <a:pt x="2864817" y="2314690"/>
                      <a:pt x="2874476" y="2308810"/>
                      <a:pt x="2878676" y="2302930"/>
                    </a:cubicBezTo>
                    <a:cubicBezTo>
                      <a:pt x="2885396" y="2293270"/>
                      <a:pt x="2888336" y="2281091"/>
                      <a:pt x="2892956" y="2270171"/>
                    </a:cubicBezTo>
                    <a:cubicBezTo>
                      <a:pt x="2921095" y="2203394"/>
                      <a:pt x="2936214" y="2132417"/>
                      <a:pt x="2958053" y="2063960"/>
                    </a:cubicBezTo>
                    <a:cubicBezTo>
                      <a:pt x="2987451" y="1971984"/>
                      <a:pt x="3007191" y="1878328"/>
                      <a:pt x="3017690" y="1782992"/>
                    </a:cubicBezTo>
                    <a:cubicBezTo>
                      <a:pt x="3026510" y="1704036"/>
                      <a:pt x="3026510" y="1624239"/>
                      <a:pt x="3039109" y="1545702"/>
                    </a:cubicBezTo>
                    <a:cubicBezTo>
                      <a:pt x="3039949" y="1540663"/>
                      <a:pt x="3040789" y="1533943"/>
                      <a:pt x="3038269" y="1530163"/>
                    </a:cubicBezTo>
                    <a:cubicBezTo>
                      <a:pt x="3025250" y="1509164"/>
                      <a:pt x="3031969" y="1486065"/>
                      <a:pt x="3029450" y="1463806"/>
                    </a:cubicBezTo>
                    <a:cubicBezTo>
                      <a:pt x="3024410" y="1423068"/>
                      <a:pt x="3021470" y="1381490"/>
                      <a:pt x="3012650" y="1341171"/>
                    </a:cubicBezTo>
                    <a:cubicBezTo>
                      <a:pt x="3000051" y="1286154"/>
                      <a:pt x="2984932" y="1231556"/>
                      <a:pt x="2967293" y="1177798"/>
                    </a:cubicBezTo>
                    <a:cubicBezTo>
                      <a:pt x="2927814" y="1057264"/>
                      <a:pt x="2884136" y="937989"/>
                      <a:pt x="2836258" y="820814"/>
                    </a:cubicBezTo>
                    <a:cubicBezTo>
                      <a:pt x="2790060" y="707419"/>
                      <a:pt x="2742182" y="593603"/>
                      <a:pt x="2651046" y="506247"/>
                    </a:cubicBezTo>
                    <a:cubicBezTo>
                      <a:pt x="2649786" y="504987"/>
                      <a:pt x="2648526" y="503727"/>
                      <a:pt x="2647686" y="502467"/>
                    </a:cubicBezTo>
                    <a:cubicBezTo>
                      <a:pt x="2602748" y="433590"/>
                      <a:pt x="2542690" y="377733"/>
                      <a:pt x="2490613" y="315575"/>
                    </a:cubicBezTo>
                    <a:cubicBezTo>
                      <a:pt x="2414596" y="224859"/>
                      <a:pt x="2310861" y="182441"/>
                      <a:pt x="2207125" y="141703"/>
                    </a:cubicBezTo>
                    <a:cubicBezTo>
                      <a:pt x="2158827" y="122804"/>
                      <a:pt x="2108849" y="98445"/>
                      <a:pt x="2052992" y="106004"/>
                    </a:cubicBezTo>
                    <a:cubicBezTo>
                      <a:pt x="2048372" y="106844"/>
                      <a:pt x="2043332" y="103484"/>
                      <a:pt x="2038292" y="101805"/>
                    </a:cubicBezTo>
                    <a:cubicBezTo>
                      <a:pt x="2007214" y="93405"/>
                      <a:pt x="2007214" y="93405"/>
                      <a:pt x="2004274" y="127843"/>
                    </a:cubicBezTo>
                    <a:cubicBezTo>
                      <a:pt x="2003434" y="137923"/>
                      <a:pt x="2002594" y="149262"/>
                      <a:pt x="1997974" y="157662"/>
                    </a:cubicBezTo>
                    <a:cubicBezTo>
                      <a:pt x="1975715" y="196720"/>
                      <a:pt x="1971515" y="238719"/>
                      <a:pt x="1971935" y="282817"/>
                    </a:cubicBezTo>
                    <a:cubicBezTo>
                      <a:pt x="1972775" y="367653"/>
                      <a:pt x="1971515" y="367653"/>
                      <a:pt x="2050472" y="400832"/>
                    </a:cubicBezTo>
                    <a:cubicBezTo>
                      <a:pt x="2059711" y="404612"/>
                      <a:pt x="2069791" y="406711"/>
                      <a:pt x="2079871" y="409231"/>
                    </a:cubicBezTo>
                    <a:cubicBezTo>
                      <a:pt x="2118929" y="419731"/>
                      <a:pt x="2138248" y="449970"/>
                      <a:pt x="2129428" y="490288"/>
                    </a:cubicBezTo>
                    <a:cubicBezTo>
                      <a:pt x="2123549" y="517167"/>
                      <a:pt x="2118509" y="545306"/>
                      <a:pt x="2105910" y="568825"/>
                    </a:cubicBezTo>
                    <a:cubicBezTo>
                      <a:pt x="2092470" y="594023"/>
                      <a:pt x="2079451" y="621322"/>
                      <a:pt x="2048792" y="634342"/>
                    </a:cubicBezTo>
                    <a:cubicBezTo>
                      <a:pt x="2033253" y="640641"/>
                      <a:pt x="2016453" y="651981"/>
                      <a:pt x="2008474" y="665420"/>
                    </a:cubicBezTo>
                    <a:cubicBezTo>
                      <a:pt x="2002594" y="675920"/>
                      <a:pt x="2015193" y="696079"/>
                      <a:pt x="2010154" y="708259"/>
                    </a:cubicBezTo>
                    <a:cubicBezTo>
                      <a:pt x="1997974" y="737237"/>
                      <a:pt x="2017293" y="745217"/>
                      <a:pt x="2035353" y="754876"/>
                    </a:cubicBezTo>
                    <a:cubicBezTo>
                      <a:pt x="2042492" y="759076"/>
                      <a:pt x="2052152" y="759076"/>
                      <a:pt x="2059711" y="762856"/>
                    </a:cubicBezTo>
                    <a:cubicBezTo>
                      <a:pt x="2088690" y="777135"/>
                      <a:pt x="2106750" y="811154"/>
                      <a:pt x="2097510" y="840553"/>
                    </a:cubicBezTo>
                    <a:cubicBezTo>
                      <a:pt x="2088270" y="869952"/>
                      <a:pt x="2075671" y="898930"/>
                      <a:pt x="2044592" y="913630"/>
                    </a:cubicBezTo>
                    <a:cubicBezTo>
                      <a:pt x="2031992" y="919509"/>
                      <a:pt x="2019393" y="925809"/>
                      <a:pt x="2008893" y="934209"/>
                    </a:cubicBezTo>
                    <a:cubicBezTo>
                      <a:pt x="1980335" y="957728"/>
                      <a:pt x="1978235" y="980407"/>
                      <a:pt x="2001754" y="1009385"/>
                    </a:cubicBezTo>
                    <a:cubicBezTo>
                      <a:pt x="2019393" y="1030805"/>
                      <a:pt x="2037452" y="1051804"/>
                      <a:pt x="2054672" y="1073643"/>
                    </a:cubicBezTo>
                    <a:cubicBezTo>
                      <a:pt x="2059711" y="1080363"/>
                      <a:pt x="2064331" y="1088342"/>
                      <a:pt x="2066011" y="1096322"/>
                    </a:cubicBezTo>
                    <a:cubicBezTo>
                      <a:pt x="2076091" y="1149660"/>
                      <a:pt x="2058452" y="1187038"/>
                      <a:pt x="2009733" y="1218957"/>
                    </a:cubicBezTo>
                    <a:cubicBezTo>
                      <a:pt x="2000914" y="1224416"/>
                      <a:pt x="1992934" y="1231136"/>
                      <a:pt x="1984535" y="1237016"/>
                    </a:cubicBezTo>
                    <a:cubicBezTo>
                      <a:pt x="1969415" y="1247515"/>
                      <a:pt x="1969835" y="1250035"/>
                      <a:pt x="1987055" y="1259695"/>
                    </a:cubicBezTo>
                    <a:cubicBezTo>
                      <a:pt x="2007634" y="1271454"/>
                      <a:pt x="2030733" y="1278174"/>
                      <a:pt x="2043752" y="1302113"/>
                    </a:cubicBezTo>
                    <a:cubicBezTo>
                      <a:pt x="2075251" y="1362170"/>
                      <a:pt x="2047952" y="1435667"/>
                      <a:pt x="1983275" y="1458766"/>
                    </a:cubicBezTo>
                    <a:cubicBezTo>
                      <a:pt x="1935397" y="1475986"/>
                      <a:pt x="1927417" y="1495305"/>
                      <a:pt x="1951776" y="1541923"/>
                    </a:cubicBezTo>
                    <a:cubicBezTo>
                      <a:pt x="1961436" y="1559982"/>
                      <a:pt x="1974035" y="1576781"/>
                      <a:pt x="1987474" y="1592321"/>
                    </a:cubicBezTo>
                    <a:cubicBezTo>
                      <a:pt x="2016873" y="1626759"/>
                      <a:pt x="2045432" y="1661198"/>
                      <a:pt x="2035772" y="1712015"/>
                    </a:cubicBezTo>
                    <a:cubicBezTo>
                      <a:pt x="2033673" y="1722515"/>
                      <a:pt x="2039972" y="1735114"/>
                      <a:pt x="2044172" y="1746454"/>
                    </a:cubicBezTo>
                    <a:cubicBezTo>
                      <a:pt x="2061811" y="1796012"/>
                      <a:pt x="2079871" y="1842630"/>
                      <a:pt x="2069371" y="1900167"/>
                    </a:cubicBezTo>
                    <a:cubicBezTo>
                      <a:pt x="2060131" y="1950985"/>
                      <a:pt x="2038712" y="1980804"/>
                      <a:pt x="1994614" y="2003063"/>
                    </a:cubicBezTo>
                    <a:cubicBezTo>
                      <a:pt x="1958076" y="2021542"/>
                      <a:pt x="1917758" y="2030782"/>
                      <a:pt x="1884579" y="2058920"/>
                    </a:cubicBezTo>
                    <a:cubicBezTo>
                      <a:pt x="1863580" y="2076560"/>
                      <a:pt x="1854760" y="2085379"/>
                      <a:pt x="1866100" y="2111838"/>
                    </a:cubicBezTo>
                    <a:cubicBezTo>
                      <a:pt x="1872399" y="2126538"/>
                      <a:pt x="1868620" y="2146277"/>
                      <a:pt x="1867360" y="2163496"/>
                    </a:cubicBezTo>
                    <a:cubicBezTo>
                      <a:pt x="1865680" y="2184075"/>
                      <a:pt x="1875339" y="2197515"/>
                      <a:pt x="1890879" y="2206754"/>
                    </a:cubicBezTo>
                    <a:cubicBezTo>
                      <a:pt x="1905578" y="2215574"/>
                      <a:pt x="1919858" y="2224394"/>
                      <a:pt x="1939177" y="2223133"/>
                    </a:cubicBezTo>
                    <a:cubicBezTo>
                      <a:pt x="1973195" y="2221033"/>
                      <a:pt x="2004694" y="2233213"/>
                      <a:pt x="2030313" y="2254212"/>
                    </a:cubicBezTo>
                    <a:cubicBezTo>
                      <a:pt x="2062231" y="2280671"/>
                      <a:pt x="2099190" y="2282771"/>
                      <a:pt x="2133628" y="2271431"/>
                    </a:cubicBezTo>
                    <a:cubicBezTo>
                      <a:pt x="2163447" y="2261772"/>
                      <a:pt x="2192426" y="2263452"/>
                      <a:pt x="2220984" y="2265552"/>
                    </a:cubicBezTo>
                    <a:cubicBezTo>
                      <a:pt x="2265923" y="2268911"/>
                      <a:pt x="2277682" y="2283191"/>
                      <a:pt x="2287342" y="2330229"/>
                    </a:cubicBezTo>
                    <a:cubicBezTo>
                      <a:pt x="2288182" y="2333589"/>
                      <a:pt x="2286502" y="2338209"/>
                      <a:pt x="2288182" y="2340728"/>
                    </a:cubicBezTo>
                    <a:cubicBezTo>
                      <a:pt x="2312121" y="2376427"/>
                      <a:pt x="2280622" y="2398686"/>
                      <a:pt x="2266763" y="2423885"/>
                    </a:cubicBezTo>
                    <a:cubicBezTo>
                      <a:pt x="2263403" y="2429765"/>
                      <a:pt x="2247863" y="2431445"/>
                      <a:pt x="2238624" y="2430605"/>
                    </a:cubicBezTo>
                    <a:cubicBezTo>
                      <a:pt x="2228964" y="2429765"/>
                      <a:pt x="2219725" y="2422625"/>
                      <a:pt x="2210065" y="2419685"/>
                    </a:cubicBezTo>
                    <a:cubicBezTo>
                      <a:pt x="2172267" y="2408765"/>
                      <a:pt x="2132788" y="2391966"/>
                      <a:pt x="2094150" y="2404146"/>
                    </a:cubicBezTo>
                    <a:cubicBezTo>
                      <a:pt x="2057612" y="2415905"/>
                      <a:pt x="2026533" y="2407925"/>
                      <a:pt x="1992934" y="2399946"/>
                    </a:cubicBezTo>
                    <a:cubicBezTo>
                      <a:pt x="1976555" y="2395746"/>
                      <a:pt x="1958916" y="2388186"/>
                      <a:pt x="1943376" y="2391126"/>
                    </a:cubicBezTo>
                    <a:cubicBezTo>
                      <a:pt x="1922377" y="2395326"/>
                      <a:pt x="1903058" y="2389866"/>
                      <a:pt x="1882899" y="2390286"/>
                    </a:cubicBezTo>
                    <a:cubicBezTo>
                      <a:pt x="1844261" y="2391126"/>
                      <a:pt x="1816542" y="2371807"/>
                      <a:pt x="1796383" y="2340728"/>
                    </a:cubicBezTo>
                    <a:cubicBezTo>
                      <a:pt x="1784203" y="2322249"/>
                      <a:pt x="1773284" y="2302090"/>
                      <a:pt x="1766984" y="2280671"/>
                    </a:cubicBezTo>
                    <a:cubicBezTo>
                      <a:pt x="1760264" y="2259672"/>
                      <a:pt x="1753125" y="2241613"/>
                      <a:pt x="1731705" y="2232793"/>
                    </a:cubicBezTo>
                    <a:cubicBezTo>
                      <a:pt x="1710706" y="2223553"/>
                      <a:pt x="1703147" y="2206334"/>
                      <a:pt x="1697267" y="2184915"/>
                    </a:cubicBezTo>
                    <a:cubicBezTo>
                      <a:pt x="1691807" y="2165596"/>
                      <a:pt x="1686768" y="2144177"/>
                      <a:pt x="1667448" y="2131997"/>
                    </a:cubicBezTo>
                    <a:cubicBezTo>
                      <a:pt x="1621250" y="2102599"/>
                      <a:pt x="1581772" y="2062700"/>
                      <a:pt x="1525914" y="2049681"/>
                    </a:cubicBezTo>
                    <a:cubicBezTo>
                      <a:pt x="1504495" y="2044641"/>
                      <a:pt x="1482236" y="2035821"/>
                      <a:pt x="1464177" y="2023642"/>
                    </a:cubicBezTo>
                    <a:cubicBezTo>
                      <a:pt x="1425959" y="1997603"/>
                      <a:pt x="1383120" y="1989204"/>
                      <a:pt x="1339862" y="1978284"/>
                    </a:cubicBezTo>
                    <a:cubicBezTo>
                      <a:pt x="1292404" y="1966105"/>
                      <a:pt x="1249986" y="1943425"/>
                      <a:pt x="1223527" y="1898487"/>
                    </a:cubicBezTo>
                    <a:cubicBezTo>
                      <a:pt x="1218488" y="1889668"/>
                      <a:pt x="1209668" y="1882948"/>
                      <a:pt x="1201688" y="1876228"/>
                    </a:cubicBezTo>
                    <a:cubicBezTo>
                      <a:pt x="1185309" y="1862789"/>
                      <a:pt x="1170610" y="1861529"/>
                      <a:pt x="1154650" y="1874128"/>
                    </a:cubicBezTo>
                    <a:cubicBezTo>
                      <a:pt x="1130711" y="1893028"/>
                      <a:pt x="1106352" y="1911927"/>
                      <a:pt x="1095013" y="1943006"/>
                    </a:cubicBezTo>
                    <a:cubicBezTo>
                      <a:pt x="1084513" y="1972404"/>
                      <a:pt x="1070234" y="1999703"/>
                      <a:pt x="1047975" y="2022802"/>
                    </a:cubicBezTo>
                    <a:cubicBezTo>
                      <a:pt x="1039155" y="2032042"/>
                      <a:pt x="1034115" y="2046321"/>
                      <a:pt x="1029916" y="2059340"/>
                    </a:cubicBezTo>
                    <a:cubicBezTo>
                      <a:pt x="1020676" y="2089159"/>
                      <a:pt x="1015636" y="2119398"/>
                      <a:pt x="1017316" y="2151317"/>
                    </a:cubicBezTo>
                    <a:cubicBezTo>
                      <a:pt x="1018996" y="2180715"/>
                      <a:pt x="1018996" y="2210534"/>
                      <a:pt x="1017736" y="2240353"/>
                    </a:cubicBezTo>
                    <a:cubicBezTo>
                      <a:pt x="1015636" y="2291170"/>
                      <a:pt x="982458" y="2313850"/>
                      <a:pt x="932480" y="2307130"/>
                    </a:cubicBezTo>
                    <a:cubicBezTo>
                      <a:pt x="898041" y="2302510"/>
                      <a:pt x="869482" y="2286551"/>
                      <a:pt x="843444" y="2268071"/>
                    </a:cubicBezTo>
                    <a:cubicBezTo>
                      <a:pt x="806485" y="2242033"/>
                      <a:pt x="774147" y="2208434"/>
                      <a:pt x="764907" y="2161816"/>
                    </a:cubicBezTo>
                    <a:cubicBezTo>
                      <a:pt x="760707" y="2139557"/>
                      <a:pt x="754827" y="2120658"/>
                      <a:pt x="738868" y="2103859"/>
                    </a:cubicBezTo>
                    <a:cubicBezTo>
                      <a:pt x="729629" y="2094199"/>
                      <a:pt x="724169" y="2080339"/>
                      <a:pt x="716609" y="2069000"/>
                    </a:cubicBezTo>
                    <a:cubicBezTo>
                      <a:pt x="684271" y="2020282"/>
                      <a:pt x="651932" y="1971144"/>
                      <a:pt x="618753" y="1922846"/>
                    </a:cubicBezTo>
                    <a:cubicBezTo>
                      <a:pt x="612034" y="1912767"/>
                      <a:pt x="602374" y="1904367"/>
                      <a:pt x="593134" y="1896808"/>
                    </a:cubicBezTo>
                    <a:cubicBezTo>
                      <a:pt x="559536" y="1869089"/>
                      <a:pt x="539377" y="1869929"/>
                      <a:pt x="508298" y="1900587"/>
                    </a:cubicBezTo>
                    <a:cubicBezTo>
                      <a:pt x="482259" y="1926206"/>
                      <a:pt x="459160" y="1956025"/>
                      <a:pt x="429341" y="1976604"/>
                    </a:cubicBezTo>
                    <a:cubicBezTo>
                      <a:pt x="383563" y="2008523"/>
                      <a:pt x="348705" y="2046741"/>
                      <a:pt x="327286" y="2097979"/>
                    </a:cubicBezTo>
                    <a:cubicBezTo>
                      <a:pt x="317626" y="2120658"/>
                      <a:pt x="303767" y="2139137"/>
                      <a:pt x="280668" y="2151736"/>
                    </a:cubicBezTo>
                    <a:cubicBezTo>
                      <a:pt x="253789" y="2166856"/>
                      <a:pt x="228590" y="2185755"/>
                      <a:pt x="204231" y="2205074"/>
                    </a:cubicBezTo>
                    <a:cubicBezTo>
                      <a:pt x="183232" y="2221454"/>
                      <a:pt x="180292" y="2234893"/>
                      <a:pt x="193312" y="2257572"/>
                    </a:cubicBezTo>
                    <a:cubicBezTo>
                      <a:pt x="206751" y="2281511"/>
                      <a:pt x="221870" y="2305030"/>
                      <a:pt x="238670" y="2326869"/>
                    </a:cubicBezTo>
                    <a:cubicBezTo>
                      <a:pt x="273948" y="2372227"/>
                      <a:pt x="313006" y="2414225"/>
                      <a:pt x="346185" y="2460423"/>
                    </a:cubicBezTo>
                    <a:cubicBezTo>
                      <a:pt x="411282" y="2550299"/>
                      <a:pt x="488979" y="2625476"/>
                      <a:pt x="582635" y="2684694"/>
                    </a:cubicBezTo>
                    <a:cubicBezTo>
                      <a:pt x="613293" y="2704013"/>
                      <a:pt x="645212" y="2722072"/>
                      <a:pt x="674191" y="2743911"/>
                    </a:cubicBezTo>
                    <a:cubicBezTo>
                      <a:pt x="742648" y="2794729"/>
                      <a:pt x="814885" y="2836307"/>
                      <a:pt x="899721" y="2853947"/>
                    </a:cubicBezTo>
                    <a:cubicBezTo>
                      <a:pt x="913161" y="2856886"/>
                      <a:pt x="925760" y="2863186"/>
                      <a:pt x="937939" y="2869486"/>
                    </a:cubicBezTo>
                    <a:cubicBezTo>
                      <a:pt x="990437" y="2895945"/>
                      <a:pt x="1047975" y="2908124"/>
                      <a:pt x="1103832" y="2923244"/>
                    </a:cubicBezTo>
                    <a:cubicBezTo>
                      <a:pt x="1187829" y="2945922"/>
                      <a:pt x="1270985" y="2974061"/>
                      <a:pt x="1357082" y="2989600"/>
                    </a:cubicBezTo>
                    <a:cubicBezTo>
                      <a:pt x="1365481" y="2991280"/>
                      <a:pt x="1372621" y="2997580"/>
                      <a:pt x="1381020" y="3000100"/>
                    </a:cubicBezTo>
                    <a:cubicBezTo>
                      <a:pt x="1413359" y="3010180"/>
                      <a:pt x="1445698" y="3024039"/>
                      <a:pt x="1478876" y="3028239"/>
                    </a:cubicBezTo>
                    <a:cubicBezTo>
                      <a:pt x="1544394" y="3036218"/>
                      <a:pt x="1612011" y="3038739"/>
                      <a:pt x="1679628" y="3043358"/>
                    </a:cubicBezTo>
                    <a:close/>
                    <a:moveTo>
                      <a:pt x="2173947" y="2328129"/>
                    </a:moveTo>
                    <a:cubicBezTo>
                      <a:pt x="2169747" y="2329389"/>
                      <a:pt x="2166387" y="2330649"/>
                      <a:pt x="2163027" y="2331489"/>
                    </a:cubicBezTo>
                    <a:cubicBezTo>
                      <a:pt x="2165547" y="2335689"/>
                      <a:pt x="2167227" y="2341148"/>
                      <a:pt x="2171007" y="2343248"/>
                    </a:cubicBezTo>
                    <a:cubicBezTo>
                      <a:pt x="2176886" y="2346188"/>
                      <a:pt x="2184026" y="2347028"/>
                      <a:pt x="2190746" y="2348288"/>
                    </a:cubicBezTo>
                    <a:cubicBezTo>
                      <a:pt x="2203765" y="2350808"/>
                      <a:pt x="2222245" y="2373907"/>
                      <a:pt x="2228964" y="2349968"/>
                    </a:cubicBezTo>
                    <a:cubicBezTo>
                      <a:pt x="2234424" y="2330649"/>
                      <a:pt x="2203345" y="2342408"/>
                      <a:pt x="2193266" y="2329809"/>
                    </a:cubicBezTo>
                    <a:cubicBezTo>
                      <a:pt x="2190326" y="2326029"/>
                      <a:pt x="2179826" y="2328549"/>
                      <a:pt x="2173947" y="232812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8953ED07-E0FD-8295-CAE6-72A36457E282}"/>
                  </a:ext>
                </a:extLst>
              </p:cNvPr>
              <p:cNvSpPr/>
              <p:nvPr/>
            </p:nvSpPr>
            <p:spPr>
              <a:xfrm>
                <a:off x="7604650" y="4371499"/>
                <a:ext cx="1077001" cy="1060384"/>
              </a:xfrm>
              <a:custGeom>
                <a:avLst/>
                <a:gdLst>
                  <a:gd name="connsiteX0" fmla="*/ 1076972 w 1077001"/>
                  <a:gd name="connsiteY0" fmla="*/ 540609 h 1060384"/>
                  <a:gd name="connsiteX1" fmla="*/ 970297 w 1077001"/>
                  <a:gd name="connsiteY1" fmla="*/ 852656 h 1060384"/>
                  <a:gd name="connsiteX2" fmla="*/ 906879 w 1077001"/>
                  <a:gd name="connsiteY2" fmla="*/ 912293 h 1060384"/>
                  <a:gd name="connsiteX3" fmla="*/ 764926 w 1077001"/>
                  <a:gd name="connsiteY3" fmla="*/ 1016029 h 1060384"/>
                  <a:gd name="connsiteX4" fmla="*/ 755686 w 1077001"/>
                  <a:gd name="connsiteY4" fmla="*/ 1020649 h 1060384"/>
                  <a:gd name="connsiteX5" fmla="*/ 581393 w 1077001"/>
                  <a:gd name="connsiteY5" fmla="*/ 1058867 h 1060384"/>
                  <a:gd name="connsiteX6" fmla="*/ 337384 w 1077001"/>
                  <a:gd name="connsiteY6" fmla="*/ 1026948 h 1060384"/>
                  <a:gd name="connsiteX7" fmla="*/ 318485 w 1077001"/>
                  <a:gd name="connsiteY7" fmla="*/ 1019388 h 1060384"/>
                  <a:gd name="connsiteX8" fmla="*/ 38777 w 1077001"/>
                  <a:gd name="connsiteY8" fmla="*/ 745140 h 1060384"/>
                  <a:gd name="connsiteX9" fmla="*/ 5178 w 1077001"/>
                  <a:gd name="connsiteY9" fmla="*/ 493991 h 1060384"/>
                  <a:gd name="connsiteX10" fmla="*/ 31217 w 1077001"/>
                  <a:gd name="connsiteY10" fmla="*/ 362957 h 1060384"/>
                  <a:gd name="connsiteX11" fmla="*/ 62716 w 1077001"/>
                  <a:gd name="connsiteY11" fmla="*/ 281480 h 1060384"/>
                  <a:gd name="connsiteX12" fmla="*/ 125713 w 1077001"/>
                  <a:gd name="connsiteY12" fmla="*/ 180685 h 1060384"/>
                  <a:gd name="connsiteX13" fmla="*/ 296226 w 1077001"/>
                  <a:gd name="connsiteY13" fmla="*/ 53430 h 1060384"/>
                  <a:gd name="connsiteX14" fmla="*/ 419700 w 1077001"/>
                  <a:gd name="connsiteY14" fmla="*/ 20672 h 1060384"/>
                  <a:gd name="connsiteX15" fmla="*/ 572574 w 1077001"/>
                  <a:gd name="connsiteY15" fmla="*/ 932 h 1060384"/>
                  <a:gd name="connsiteX16" fmla="*/ 674209 w 1077001"/>
                  <a:gd name="connsiteY16" fmla="*/ 15631 h 1060384"/>
                  <a:gd name="connsiteX17" fmla="*/ 919059 w 1077001"/>
                  <a:gd name="connsiteY17" fmla="*/ 144566 h 1060384"/>
                  <a:gd name="connsiteX18" fmla="*/ 1015235 w 1077001"/>
                  <a:gd name="connsiteY18" fmla="*/ 281900 h 1060384"/>
                  <a:gd name="connsiteX19" fmla="*/ 1066053 w 1077001"/>
                  <a:gd name="connsiteY19" fmla="*/ 433094 h 1060384"/>
                  <a:gd name="connsiteX20" fmla="*/ 1076972 w 1077001"/>
                  <a:gd name="connsiteY20" fmla="*/ 540609 h 1060384"/>
                  <a:gd name="connsiteX21" fmla="*/ 1037494 w 1077001"/>
                  <a:gd name="connsiteY21" fmla="*/ 551108 h 1060384"/>
                  <a:gd name="connsiteX22" fmla="*/ 1022374 w 1077001"/>
                  <a:gd name="connsiteY22" fmla="*/ 443593 h 1060384"/>
                  <a:gd name="connsiteX23" fmla="*/ 982056 w 1077001"/>
                  <a:gd name="connsiteY23" fmla="*/ 338178 h 1060384"/>
                  <a:gd name="connsiteX24" fmla="*/ 923679 w 1077001"/>
                  <a:gd name="connsiteY24" fmla="*/ 240742 h 1060384"/>
                  <a:gd name="connsiteX25" fmla="*/ 824983 w 1077001"/>
                  <a:gd name="connsiteY25" fmla="*/ 151706 h 1060384"/>
                  <a:gd name="connsiteX26" fmla="*/ 728387 w 1077001"/>
                  <a:gd name="connsiteY26" fmla="*/ 103828 h 1060384"/>
                  <a:gd name="connsiteX27" fmla="*/ 589373 w 1077001"/>
                  <a:gd name="connsiteY27" fmla="*/ 53430 h 1060384"/>
                  <a:gd name="connsiteX28" fmla="*/ 548635 w 1077001"/>
                  <a:gd name="connsiteY28" fmla="*/ 74009 h 1060384"/>
                  <a:gd name="connsiteX29" fmla="*/ 498657 w 1077001"/>
                  <a:gd name="connsiteY29" fmla="*/ 122307 h 1060384"/>
                  <a:gd name="connsiteX30" fmla="*/ 460019 w 1077001"/>
                  <a:gd name="connsiteY30" fmla="*/ 99628 h 1060384"/>
                  <a:gd name="connsiteX31" fmla="*/ 468839 w 1077001"/>
                  <a:gd name="connsiteY31" fmla="*/ 70649 h 1060384"/>
                  <a:gd name="connsiteX32" fmla="*/ 439019 w 1077001"/>
                  <a:gd name="connsiteY32" fmla="*/ 82829 h 1060384"/>
                  <a:gd name="connsiteX33" fmla="*/ 407941 w 1077001"/>
                  <a:gd name="connsiteY33" fmla="*/ 84089 h 1060384"/>
                  <a:gd name="connsiteX34" fmla="*/ 362163 w 1077001"/>
                  <a:gd name="connsiteY34" fmla="*/ 90808 h 1060384"/>
                  <a:gd name="connsiteX35" fmla="*/ 258427 w 1077001"/>
                  <a:gd name="connsiteY35" fmla="*/ 117267 h 1060384"/>
                  <a:gd name="connsiteX36" fmla="*/ 231128 w 1077001"/>
                  <a:gd name="connsiteY36" fmla="*/ 131967 h 1060384"/>
                  <a:gd name="connsiteX37" fmla="*/ 120254 w 1077001"/>
                  <a:gd name="connsiteY37" fmla="*/ 259221 h 1060384"/>
                  <a:gd name="connsiteX38" fmla="*/ 110594 w 1077001"/>
                  <a:gd name="connsiteY38" fmla="*/ 277700 h 1060384"/>
                  <a:gd name="connsiteX39" fmla="*/ 62296 w 1077001"/>
                  <a:gd name="connsiteY39" fmla="*/ 417134 h 1060384"/>
                  <a:gd name="connsiteX40" fmla="*/ 50957 w 1077001"/>
                  <a:gd name="connsiteY40" fmla="*/ 598567 h 1060384"/>
                  <a:gd name="connsiteX41" fmla="*/ 60196 w 1077001"/>
                  <a:gd name="connsiteY41" fmla="*/ 648964 h 1060384"/>
                  <a:gd name="connsiteX42" fmla="*/ 163931 w 1077001"/>
                  <a:gd name="connsiteY42" fmla="*/ 825777 h 1060384"/>
                  <a:gd name="connsiteX43" fmla="*/ 333604 w 1077001"/>
                  <a:gd name="connsiteY43" fmla="*/ 960591 h 1060384"/>
                  <a:gd name="connsiteX44" fmla="*/ 549055 w 1077001"/>
                  <a:gd name="connsiteY44" fmla="*/ 1005529 h 1060384"/>
                  <a:gd name="connsiteX45" fmla="*/ 681349 w 1077001"/>
                  <a:gd name="connsiteY45" fmla="*/ 987470 h 1060384"/>
                  <a:gd name="connsiteX46" fmla="*/ 971557 w 1077001"/>
                  <a:gd name="connsiteY46" fmla="*/ 782518 h 1060384"/>
                  <a:gd name="connsiteX47" fmla="*/ 1007255 w 1077001"/>
                  <a:gd name="connsiteY47" fmla="*/ 697682 h 1060384"/>
                  <a:gd name="connsiteX48" fmla="*/ 1037494 w 1077001"/>
                  <a:gd name="connsiteY48" fmla="*/ 551108 h 106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077001" h="1060384">
                    <a:moveTo>
                      <a:pt x="1076972" y="540609"/>
                    </a:moveTo>
                    <a:cubicBezTo>
                      <a:pt x="1078232" y="657364"/>
                      <a:pt x="1039174" y="760680"/>
                      <a:pt x="970297" y="852656"/>
                    </a:cubicBezTo>
                    <a:cubicBezTo>
                      <a:pt x="953077" y="875755"/>
                      <a:pt x="925359" y="890454"/>
                      <a:pt x="906879" y="912293"/>
                    </a:cubicBezTo>
                    <a:cubicBezTo>
                      <a:pt x="867821" y="958491"/>
                      <a:pt x="814483" y="984950"/>
                      <a:pt x="764926" y="1016029"/>
                    </a:cubicBezTo>
                    <a:cubicBezTo>
                      <a:pt x="761986" y="1017708"/>
                      <a:pt x="759046" y="1019808"/>
                      <a:pt x="755686" y="1020649"/>
                    </a:cubicBezTo>
                    <a:cubicBezTo>
                      <a:pt x="698568" y="1037448"/>
                      <a:pt x="641031" y="1053827"/>
                      <a:pt x="581393" y="1058867"/>
                    </a:cubicBezTo>
                    <a:cubicBezTo>
                      <a:pt x="498237" y="1066427"/>
                      <a:pt x="418020" y="1044167"/>
                      <a:pt x="337384" y="1026948"/>
                    </a:cubicBezTo>
                    <a:cubicBezTo>
                      <a:pt x="330664" y="1025688"/>
                      <a:pt x="324365" y="1022329"/>
                      <a:pt x="318485" y="1019388"/>
                    </a:cubicBezTo>
                    <a:cubicBezTo>
                      <a:pt x="197110" y="956811"/>
                      <a:pt x="100514" y="870295"/>
                      <a:pt x="38777" y="745140"/>
                    </a:cubicBezTo>
                    <a:cubicBezTo>
                      <a:pt x="-1541" y="663664"/>
                      <a:pt x="-5741" y="582187"/>
                      <a:pt x="5178" y="493991"/>
                    </a:cubicBezTo>
                    <a:cubicBezTo>
                      <a:pt x="10638" y="449053"/>
                      <a:pt x="27437" y="407895"/>
                      <a:pt x="31217" y="362957"/>
                    </a:cubicBezTo>
                    <a:cubicBezTo>
                      <a:pt x="33317" y="335238"/>
                      <a:pt x="48857" y="307099"/>
                      <a:pt x="62716" y="281480"/>
                    </a:cubicBezTo>
                    <a:cubicBezTo>
                      <a:pt x="81615" y="246622"/>
                      <a:pt x="104714" y="214283"/>
                      <a:pt x="125713" y="180685"/>
                    </a:cubicBezTo>
                    <a:cubicBezTo>
                      <a:pt x="166031" y="116427"/>
                      <a:pt x="225249" y="76109"/>
                      <a:pt x="296226" y="53430"/>
                    </a:cubicBezTo>
                    <a:cubicBezTo>
                      <a:pt x="336964" y="40411"/>
                      <a:pt x="381482" y="37471"/>
                      <a:pt x="419700" y="20672"/>
                    </a:cubicBezTo>
                    <a:cubicBezTo>
                      <a:pt x="470098" y="-1588"/>
                      <a:pt x="520916" y="-1168"/>
                      <a:pt x="572574" y="932"/>
                    </a:cubicBezTo>
                    <a:cubicBezTo>
                      <a:pt x="606592" y="2192"/>
                      <a:pt x="641871" y="5552"/>
                      <a:pt x="674209" y="15631"/>
                    </a:cubicBezTo>
                    <a:cubicBezTo>
                      <a:pt x="763666" y="42930"/>
                      <a:pt x="847662" y="81989"/>
                      <a:pt x="919059" y="144566"/>
                    </a:cubicBezTo>
                    <a:cubicBezTo>
                      <a:pt x="961897" y="182365"/>
                      <a:pt x="998436" y="224783"/>
                      <a:pt x="1015235" y="281900"/>
                    </a:cubicBezTo>
                    <a:cubicBezTo>
                      <a:pt x="1030354" y="332718"/>
                      <a:pt x="1047573" y="383116"/>
                      <a:pt x="1066053" y="433094"/>
                    </a:cubicBezTo>
                    <a:cubicBezTo>
                      <a:pt x="1079072" y="468372"/>
                      <a:pt x="1076132" y="504491"/>
                      <a:pt x="1076972" y="540609"/>
                    </a:cubicBezTo>
                    <a:close/>
                    <a:moveTo>
                      <a:pt x="1037494" y="551108"/>
                    </a:moveTo>
                    <a:cubicBezTo>
                      <a:pt x="1032874" y="514990"/>
                      <a:pt x="1031614" y="478452"/>
                      <a:pt x="1022374" y="443593"/>
                    </a:cubicBezTo>
                    <a:cubicBezTo>
                      <a:pt x="1013135" y="407475"/>
                      <a:pt x="998436" y="371776"/>
                      <a:pt x="982056" y="338178"/>
                    </a:cubicBezTo>
                    <a:cubicBezTo>
                      <a:pt x="965257" y="304159"/>
                      <a:pt x="942578" y="273501"/>
                      <a:pt x="923679" y="240742"/>
                    </a:cubicBezTo>
                    <a:cubicBezTo>
                      <a:pt x="900160" y="200424"/>
                      <a:pt x="868241" y="170185"/>
                      <a:pt x="824983" y="151706"/>
                    </a:cubicBezTo>
                    <a:cubicBezTo>
                      <a:pt x="791804" y="137426"/>
                      <a:pt x="756106" y="125667"/>
                      <a:pt x="728387" y="103828"/>
                    </a:cubicBezTo>
                    <a:cubicBezTo>
                      <a:pt x="686389" y="71069"/>
                      <a:pt x="636831" y="66870"/>
                      <a:pt x="589373" y="53430"/>
                    </a:cubicBezTo>
                    <a:cubicBezTo>
                      <a:pt x="571314" y="48390"/>
                      <a:pt x="555775" y="51330"/>
                      <a:pt x="548635" y="74009"/>
                    </a:cubicBezTo>
                    <a:cubicBezTo>
                      <a:pt x="541075" y="98368"/>
                      <a:pt x="524276" y="115587"/>
                      <a:pt x="498657" y="122307"/>
                    </a:cubicBezTo>
                    <a:cubicBezTo>
                      <a:pt x="481858" y="126927"/>
                      <a:pt x="458759" y="114327"/>
                      <a:pt x="460019" y="99628"/>
                    </a:cubicBezTo>
                    <a:cubicBezTo>
                      <a:pt x="460859" y="89548"/>
                      <a:pt x="465898" y="80309"/>
                      <a:pt x="468839" y="70649"/>
                    </a:cubicBezTo>
                    <a:cubicBezTo>
                      <a:pt x="459179" y="74849"/>
                      <a:pt x="449519" y="80729"/>
                      <a:pt x="439019" y="82829"/>
                    </a:cubicBezTo>
                    <a:cubicBezTo>
                      <a:pt x="428940" y="84929"/>
                      <a:pt x="418020" y="82829"/>
                      <a:pt x="407941" y="84089"/>
                    </a:cubicBezTo>
                    <a:cubicBezTo>
                      <a:pt x="392821" y="85769"/>
                      <a:pt x="377282" y="87448"/>
                      <a:pt x="362163" y="90808"/>
                    </a:cubicBezTo>
                    <a:cubicBezTo>
                      <a:pt x="327304" y="98788"/>
                      <a:pt x="292866" y="107608"/>
                      <a:pt x="258427" y="117267"/>
                    </a:cubicBezTo>
                    <a:cubicBezTo>
                      <a:pt x="248768" y="120207"/>
                      <a:pt x="238688" y="125247"/>
                      <a:pt x="231128" y="131967"/>
                    </a:cubicBezTo>
                    <a:cubicBezTo>
                      <a:pt x="187451" y="168505"/>
                      <a:pt x="137893" y="200004"/>
                      <a:pt x="120254" y="259221"/>
                    </a:cubicBezTo>
                    <a:cubicBezTo>
                      <a:pt x="118154" y="265941"/>
                      <a:pt x="115213" y="272661"/>
                      <a:pt x="110594" y="277700"/>
                    </a:cubicBezTo>
                    <a:cubicBezTo>
                      <a:pt x="75735" y="317599"/>
                      <a:pt x="71535" y="369257"/>
                      <a:pt x="62296" y="417134"/>
                    </a:cubicBezTo>
                    <a:cubicBezTo>
                      <a:pt x="50536" y="476352"/>
                      <a:pt x="46336" y="537669"/>
                      <a:pt x="50957" y="598567"/>
                    </a:cubicBezTo>
                    <a:cubicBezTo>
                      <a:pt x="52216" y="615366"/>
                      <a:pt x="55576" y="632585"/>
                      <a:pt x="60196" y="648964"/>
                    </a:cubicBezTo>
                    <a:cubicBezTo>
                      <a:pt x="79515" y="717001"/>
                      <a:pt x="120673" y="770759"/>
                      <a:pt x="163931" y="825777"/>
                    </a:cubicBezTo>
                    <a:cubicBezTo>
                      <a:pt x="210970" y="884994"/>
                      <a:pt x="273547" y="920693"/>
                      <a:pt x="333604" y="960591"/>
                    </a:cubicBezTo>
                    <a:cubicBezTo>
                      <a:pt x="398701" y="1003429"/>
                      <a:pt x="476398" y="994609"/>
                      <a:pt x="549055" y="1005529"/>
                    </a:cubicBezTo>
                    <a:cubicBezTo>
                      <a:pt x="593993" y="1012249"/>
                      <a:pt x="637251" y="997969"/>
                      <a:pt x="681349" y="987470"/>
                    </a:cubicBezTo>
                    <a:cubicBezTo>
                      <a:pt x="806504" y="958071"/>
                      <a:pt x="896380" y="882054"/>
                      <a:pt x="971557" y="782518"/>
                    </a:cubicBezTo>
                    <a:cubicBezTo>
                      <a:pt x="990876" y="756900"/>
                      <a:pt x="994236" y="725401"/>
                      <a:pt x="1007255" y="697682"/>
                    </a:cubicBezTo>
                    <a:cubicBezTo>
                      <a:pt x="1028254" y="651064"/>
                      <a:pt x="1035394" y="602347"/>
                      <a:pt x="1037494" y="55110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C667DBF-8EE4-32E2-9A55-651C53F33F08}"/>
                  </a:ext>
                </a:extLst>
              </p:cNvPr>
              <p:cNvSpPr/>
              <p:nvPr/>
            </p:nvSpPr>
            <p:spPr>
              <a:xfrm>
                <a:off x="6911925" y="2222544"/>
                <a:ext cx="216045" cy="367327"/>
              </a:xfrm>
              <a:custGeom>
                <a:avLst/>
                <a:gdLst>
                  <a:gd name="connsiteX0" fmla="*/ 110769 w 216045"/>
                  <a:gd name="connsiteY0" fmla="*/ 0 h 367327"/>
                  <a:gd name="connsiteX1" fmla="*/ 198966 w 216045"/>
                  <a:gd name="connsiteY1" fmla="*/ 41578 h 367327"/>
                  <a:gd name="connsiteX2" fmla="*/ 210305 w 216045"/>
                  <a:gd name="connsiteY2" fmla="*/ 133554 h 367327"/>
                  <a:gd name="connsiteX3" fmla="*/ 187626 w 216045"/>
                  <a:gd name="connsiteY3" fmla="*/ 243169 h 367327"/>
                  <a:gd name="connsiteX4" fmla="*/ 146468 w 216045"/>
                  <a:gd name="connsiteY4" fmla="*/ 341865 h 367327"/>
                  <a:gd name="connsiteX5" fmla="*/ 80951 w 216045"/>
                  <a:gd name="connsiteY5" fmla="*/ 358664 h 367327"/>
                  <a:gd name="connsiteX6" fmla="*/ 36013 w 216045"/>
                  <a:gd name="connsiteY6" fmla="*/ 293987 h 367327"/>
                  <a:gd name="connsiteX7" fmla="*/ 30133 w 216045"/>
                  <a:gd name="connsiteY7" fmla="*/ 260389 h 367327"/>
                  <a:gd name="connsiteX8" fmla="*/ 9134 w 216045"/>
                  <a:gd name="connsiteY8" fmla="*/ 197392 h 367327"/>
                  <a:gd name="connsiteX9" fmla="*/ 70871 w 216045"/>
                  <a:gd name="connsiteY9" fmla="*/ 14279 h 367327"/>
                  <a:gd name="connsiteX10" fmla="*/ 110769 w 216045"/>
                  <a:gd name="connsiteY10" fmla="*/ 0 h 367327"/>
                  <a:gd name="connsiteX11" fmla="*/ 167887 w 216045"/>
                  <a:gd name="connsiteY11" fmla="*/ 120535 h 367327"/>
                  <a:gd name="connsiteX12" fmla="*/ 156967 w 216045"/>
                  <a:gd name="connsiteY12" fmla="*/ 92816 h 367327"/>
                  <a:gd name="connsiteX13" fmla="*/ 77171 w 216045"/>
                  <a:gd name="connsiteY13" fmla="*/ 78117 h 367327"/>
                  <a:gd name="connsiteX14" fmla="*/ 76751 w 216045"/>
                  <a:gd name="connsiteY14" fmla="*/ 94496 h 367327"/>
                  <a:gd name="connsiteX15" fmla="*/ 78431 w 216045"/>
                  <a:gd name="connsiteY15" fmla="*/ 146994 h 367327"/>
                  <a:gd name="connsiteX16" fmla="*/ 67511 w 216045"/>
                  <a:gd name="connsiteY16" fmla="*/ 157913 h 367327"/>
                  <a:gd name="connsiteX17" fmla="*/ 66671 w 216045"/>
                  <a:gd name="connsiteY17" fmla="*/ 211671 h 367327"/>
                  <a:gd name="connsiteX18" fmla="*/ 78011 w 216045"/>
                  <a:gd name="connsiteY18" fmla="*/ 220910 h 367327"/>
                  <a:gd name="connsiteX19" fmla="*/ 91450 w 216045"/>
                  <a:gd name="connsiteY19" fmla="*/ 209571 h 367327"/>
                  <a:gd name="connsiteX20" fmla="*/ 110349 w 216045"/>
                  <a:gd name="connsiteY20" fmla="*/ 190672 h 367327"/>
                  <a:gd name="connsiteX21" fmla="*/ 119169 w 216045"/>
                  <a:gd name="connsiteY21" fmla="*/ 213771 h 367327"/>
                  <a:gd name="connsiteX22" fmla="*/ 127149 w 216045"/>
                  <a:gd name="connsiteY22" fmla="*/ 229310 h 367327"/>
                  <a:gd name="connsiteX23" fmla="*/ 141008 w 216045"/>
                  <a:gd name="connsiteY23" fmla="*/ 217970 h 367327"/>
                  <a:gd name="connsiteX24" fmla="*/ 159067 w 216045"/>
                  <a:gd name="connsiteY24" fmla="*/ 151194 h 367327"/>
                  <a:gd name="connsiteX25" fmla="*/ 167887 w 216045"/>
                  <a:gd name="connsiteY25" fmla="*/ 120535 h 367327"/>
                  <a:gd name="connsiteX26" fmla="*/ 113289 w 216045"/>
                  <a:gd name="connsiteY26" fmla="*/ 314566 h 367327"/>
                  <a:gd name="connsiteX27" fmla="*/ 122949 w 216045"/>
                  <a:gd name="connsiteY27" fmla="*/ 296927 h 367327"/>
                  <a:gd name="connsiteX28" fmla="*/ 102790 w 216045"/>
                  <a:gd name="connsiteY28" fmla="*/ 248629 h 367327"/>
                  <a:gd name="connsiteX29" fmla="*/ 85151 w 216045"/>
                  <a:gd name="connsiteY29" fmla="*/ 247369 h 367327"/>
                  <a:gd name="connsiteX30" fmla="*/ 75491 w 216045"/>
                  <a:gd name="connsiteY30" fmla="*/ 268368 h 367327"/>
                  <a:gd name="connsiteX31" fmla="*/ 99430 w 216045"/>
                  <a:gd name="connsiteY31" fmla="*/ 307427 h 367327"/>
                  <a:gd name="connsiteX32" fmla="*/ 113289 w 216045"/>
                  <a:gd name="connsiteY32" fmla="*/ 314566 h 36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16045" h="367327">
                    <a:moveTo>
                      <a:pt x="110769" y="0"/>
                    </a:moveTo>
                    <a:cubicBezTo>
                      <a:pt x="150668" y="5460"/>
                      <a:pt x="182586" y="12599"/>
                      <a:pt x="198966" y="41578"/>
                    </a:cubicBezTo>
                    <a:cubicBezTo>
                      <a:pt x="214505" y="68877"/>
                      <a:pt x="222065" y="99116"/>
                      <a:pt x="210305" y="133554"/>
                    </a:cubicBezTo>
                    <a:cubicBezTo>
                      <a:pt x="198126" y="168413"/>
                      <a:pt x="194766" y="206631"/>
                      <a:pt x="187626" y="243169"/>
                    </a:cubicBezTo>
                    <a:cubicBezTo>
                      <a:pt x="180486" y="278868"/>
                      <a:pt x="167467" y="312466"/>
                      <a:pt x="146468" y="341865"/>
                    </a:cubicBezTo>
                    <a:cubicBezTo>
                      <a:pt x="125049" y="371684"/>
                      <a:pt x="117489" y="372524"/>
                      <a:pt x="80951" y="358664"/>
                    </a:cubicBezTo>
                    <a:cubicBezTo>
                      <a:pt x="46512" y="346065"/>
                      <a:pt x="35173" y="328846"/>
                      <a:pt x="36013" y="293987"/>
                    </a:cubicBezTo>
                    <a:cubicBezTo>
                      <a:pt x="36433" y="282648"/>
                      <a:pt x="33073" y="271308"/>
                      <a:pt x="30133" y="260389"/>
                    </a:cubicBezTo>
                    <a:cubicBezTo>
                      <a:pt x="23833" y="238970"/>
                      <a:pt x="16694" y="218391"/>
                      <a:pt x="9134" y="197392"/>
                    </a:cubicBezTo>
                    <a:cubicBezTo>
                      <a:pt x="-18165" y="120535"/>
                      <a:pt x="19633" y="64257"/>
                      <a:pt x="70871" y="14279"/>
                    </a:cubicBezTo>
                    <a:cubicBezTo>
                      <a:pt x="81371" y="4200"/>
                      <a:pt x="101530" y="3360"/>
                      <a:pt x="110769" y="0"/>
                    </a:cubicBezTo>
                    <a:close/>
                    <a:moveTo>
                      <a:pt x="167887" y="120535"/>
                    </a:moveTo>
                    <a:cubicBezTo>
                      <a:pt x="164527" y="111295"/>
                      <a:pt x="162427" y="100796"/>
                      <a:pt x="156967" y="92816"/>
                    </a:cubicBezTo>
                    <a:cubicBezTo>
                      <a:pt x="136388" y="62997"/>
                      <a:pt x="109090" y="57957"/>
                      <a:pt x="77171" y="78117"/>
                    </a:cubicBezTo>
                    <a:cubicBezTo>
                      <a:pt x="74651" y="79797"/>
                      <a:pt x="74231" y="92816"/>
                      <a:pt x="76751" y="94496"/>
                    </a:cubicBezTo>
                    <a:cubicBezTo>
                      <a:pt x="102370" y="111715"/>
                      <a:pt x="88930" y="129354"/>
                      <a:pt x="78431" y="146994"/>
                    </a:cubicBezTo>
                    <a:cubicBezTo>
                      <a:pt x="75911" y="151194"/>
                      <a:pt x="70031" y="153713"/>
                      <a:pt x="67511" y="157913"/>
                    </a:cubicBezTo>
                    <a:cubicBezTo>
                      <a:pt x="56592" y="175552"/>
                      <a:pt x="58692" y="194032"/>
                      <a:pt x="66671" y="211671"/>
                    </a:cubicBezTo>
                    <a:cubicBezTo>
                      <a:pt x="68351" y="215871"/>
                      <a:pt x="75071" y="221750"/>
                      <a:pt x="78011" y="220910"/>
                    </a:cubicBezTo>
                    <a:cubicBezTo>
                      <a:pt x="83470" y="219651"/>
                      <a:pt x="90190" y="214611"/>
                      <a:pt x="91450" y="209571"/>
                    </a:cubicBezTo>
                    <a:cubicBezTo>
                      <a:pt x="94390" y="199071"/>
                      <a:pt x="96070" y="188152"/>
                      <a:pt x="110349" y="190672"/>
                    </a:cubicBezTo>
                    <a:cubicBezTo>
                      <a:pt x="125049" y="193192"/>
                      <a:pt x="123369" y="202011"/>
                      <a:pt x="119169" y="213771"/>
                    </a:cubicBezTo>
                    <a:cubicBezTo>
                      <a:pt x="117909" y="217551"/>
                      <a:pt x="124209" y="223850"/>
                      <a:pt x="127149" y="229310"/>
                    </a:cubicBezTo>
                    <a:cubicBezTo>
                      <a:pt x="132189" y="225530"/>
                      <a:pt x="141428" y="220910"/>
                      <a:pt x="141008" y="217970"/>
                    </a:cubicBezTo>
                    <a:cubicBezTo>
                      <a:pt x="138068" y="192772"/>
                      <a:pt x="149828" y="172612"/>
                      <a:pt x="159067" y="151194"/>
                    </a:cubicBezTo>
                    <a:cubicBezTo>
                      <a:pt x="163267" y="141954"/>
                      <a:pt x="164947" y="131874"/>
                      <a:pt x="167887" y="120535"/>
                    </a:cubicBezTo>
                    <a:close/>
                    <a:moveTo>
                      <a:pt x="113289" y="314566"/>
                    </a:moveTo>
                    <a:cubicBezTo>
                      <a:pt x="117069" y="307427"/>
                      <a:pt x="124209" y="298607"/>
                      <a:pt x="122949" y="296927"/>
                    </a:cubicBezTo>
                    <a:cubicBezTo>
                      <a:pt x="111189" y="282648"/>
                      <a:pt x="100690" y="268788"/>
                      <a:pt x="102790" y="248629"/>
                    </a:cubicBezTo>
                    <a:cubicBezTo>
                      <a:pt x="96490" y="247789"/>
                      <a:pt x="87670" y="244430"/>
                      <a:pt x="85151" y="247369"/>
                    </a:cubicBezTo>
                    <a:cubicBezTo>
                      <a:pt x="79691" y="252409"/>
                      <a:pt x="73391" y="263329"/>
                      <a:pt x="75491" y="268368"/>
                    </a:cubicBezTo>
                    <a:cubicBezTo>
                      <a:pt x="81371" y="282228"/>
                      <a:pt x="90610" y="294827"/>
                      <a:pt x="99430" y="307427"/>
                    </a:cubicBezTo>
                    <a:cubicBezTo>
                      <a:pt x="101530" y="310787"/>
                      <a:pt x="107410" y="311627"/>
                      <a:pt x="113289" y="31456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5302A7C5-D357-38E9-A52C-1924D8E8EC67}"/>
                  </a:ext>
                </a:extLst>
              </p:cNvPr>
              <p:cNvSpPr/>
              <p:nvPr/>
            </p:nvSpPr>
            <p:spPr>
              <a:xfrm>
                <a:off x="7016112" y="3440191"/>
                <a:ext cx="232112" cy="229002"/>
              </a:xfrm>
              <a:custGeom>
                <a:avLst/>
                <a:gdLst>
                  <a:gd name="connsiteX0" fmla="*/ 232113 w 232112"/>
                  <a:gd name="connsiteY0" fmla="*/ 119996 h 229002"/>
                  <a:gd name="connsiteX1" fmla="*/ 164915 w 232112"/>
                  <a:gd name="connsiteY1" fmla="*/ 224991 h 229002"/>
                  <a:gd name="connsiteX2" fmla="*/ 30941 w 232112"/>
                  <a:gd name="connsiteY2" fmla="*/ 205252 h 229002"/>
                  <a:gd name="connsiteX3" fmla="*/ 9102 w 232112"/>
                  <a:gd name="connsiteY3" fmla="*/ 160734 h 229002"/>
                  <a:gd name="connsiteX4" fmla="*/ 7842 w 232112"/>
                  <a:gd name="connsiteY4" fmla="*/ 145195 h 229002"/>
                  <a:gd name="connsiteX5" fmla="*/ 14562 w 232112"/>
                  <a:gd name="connsiteY5" fmla="*/ 71698 h 229002"/>
                  <a:gd name="connsiteX6" fmla="*/ 82599 w 232112"/>
                  <a:gd name="connsiteY6" fmla="*/ 5341 h 229002"/>
                  <a:gd name="connsiteX7" fmla="*/ 102338 w 232112"/>
                  <a:gd name="connsiteY7" fmla="*/ 721 h 229002"/>
                  <a:gd name="connsiteX8" fmla="*/ 133837 w 232112"/>
                  <a:gd name="connsiteY8" fmla="*/ 11221 h 229002"/>
                  <a:gd name="connsiteX9" fmla="*/ 106538 w 232112"/>
                  <a:gd name="connsiteY9" fmla="*/ 51959 h 229002"/>
                  <a:gd name="connsiteX10" fmla="*/ 52780 w 232112"/>
                  <a:gd name="connsiteY10" fmla="*/ 84717 h 229002"/>
                  <a:gd name="connsiteX11" fmla="*/ 83439 w 232112"/>
                  <a:gd name="connsiteY11" fmla="*/ 152335 h 229002"/>
                  <a:gd name="connsiteX12" fmla="*/ 115777 w 232112"/>
                  <a:gd name="connsiteY12" fmla="*/ 167034 h 229002"/>
                  <a:gd name="connsiteX13" fmla="*/ 130897 w 232112"/>
                  <a:gd name="connsiteY13" fmla="*/ 165354 h 229002"/>
                  <a:gd name="connsiteX14" fmla="*/ 163655 w 232112"/>
                  <a:gd name="connsiteY14" fmla="*/ 100257 h 229002"/>
                  <a:gd name="connsiteX15" fmla="*/ 191374 w 232112"/>
                  <a:gd name="connsiteY15" fmla="*/ 35160 h 229002"/>
                  <a:gd name="connsiteX16" fmla="*/ 206493 w 232112"/>
                  <a:gd name="connsiteY16" fmla="*/ 41039 h 229002"/>
                  <a:gd name="connsiteX17" fmla="*/ 227072 w 232112"/>
                  <a:gd name="connsiteY17" fmla="*/ 98997 h 229002"/>
                  <a:gd name="connsiteX18" fmla="*/ 232113 w 232112"/>
                  <a:gd name="connsiteY18" fmla="*/ 119996 h 229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2112" h="229002">
                    <a:moveTo>
                      <a:pt x="232113" y="119996"/>
                    </a:moveTo>
                    <a:cubicBezTo>
                      <a:pt x="224133" y="163254"/>
                      <a:pt x="202294" y="199793"/>
                      <a:pt x="164915" y="224991"/>
                    </a:cubicBezTo>
                    <a:cubicBezTo>
                      <a:pt x="147276" y="236751"/>
                      <a:pt x="48580" y="220371"/>
                      <a:pt x="30941" y="205252"/>
                    </a:cubicBezTo>
                    <a:cubicBezTo>
                      <a:pt x="17081" y="193493"/>
                      <a:pt x="7002" y="180053"/>
                      <a:pt x="9102" y="160734"/>
                    </a:cubicBezTo>
                    <a:cubicBezTo>
                      <a:pt x="9522" y="155694"/>
                      <a:pt x="10362" y="149395"/>
                      <a:pt x="7842" y="145195"/>
                    </a:cubicBezTo>
                    <a:cubicBezTo>
                      <a:pt x="-7277" y="118736"/>
                      <a:pt x="1962" y="95637"/>
                      <a:pt x="14562" y="71698"/>
                    </a:cubicBezTo>
                    <a:cubicBezTo>
                      <a:pt x="30521" y="41879"/>
                      <a:pt x="50260" y="17100"/>
                      <a:pt x="82599" y="5341"/>
                    </a:cubicBezTo>
                    <a:cubicBezTo>
                      <a:pt x="88899" y="2821"/>
                      <a:pt x="96038" y="301"/>
                      <a:pt x="102338" y="721"/>
                    </a:cubicBezTo>
                    <a:cubicBezTo>
                      <a:pt x="113677" y="1141"/>
                      <a:pt x="127957" y="-4739"/>
                      <a:pt x="133837" y="11221"/>
                    </a:cubicBezTo>
                    <a:cubicBezTo>
                      <a:pt x="139296" y="25920"/>
                      <a:pt x="124177" y="50279"/>
                      <a:pt x="106538" y="51959"/>
                    </a:cubicBezTo>
                    <a:cubicBezTo>
                      <a:pt x="82599" y="54479"/>
                      <a:pt x="60340" y="60358"/>
                      <a:pt x="52780" y="84717"/>
                    </a:cubicBezTo>
                    <a:cubicBezTo>
                      <a:pt x="43120" y="114116"/>
                      <a:pt x="69159" y="132175"/>
                      <a:pt x="83439" y="152335"/>
                    </a:cubicBezTo>
                    <a:cubicBezTo>
                      <a:pt x="89318" y="160734"/>
                      <a:pt x="104438" y="163254"/>
                      <a:pt x="115777" y="167034"/>
                    </a:cubicBezTo>
                    <a:cubicBezTo>
                      <a:pt x="119977" y="168294"/>
                      <a:pt x="126277" y="167454"/>
                      <a:pt x="130897" y="165354"/>
                    </a:cubicBezTo>
                    <a:cubicBezTo>
                      <a:pt x="143916" y="159054"/>
                      <a:pt x="168275" y="113276"/>
                      <a:pt x="163655" y="100257"/>
                    </a:cubicBezTo>
                    <a:cubicBezTo>
                      <a:pt x="152736" y="69178"/>
                      <a:pt x="171635" y="51959"/>
                      <a:pt x="191374" y="35160"/>
                    </a:cubicBezTo>
                    <a:cubicBezTo>
                      <a:pt x="193474" y="33480"/>
                      <a:pt x="206493" y="38939"/>
                      <a:pt x="206493" y="41039"/>
                    </a:cubicBezTo>
                    <a:cubicBezTo>
                      <a:pt x="206493" y="62878"/>
                      <a:pt x="216993" y="80518"/>
                      <a:pt x="227072" y="98997"/>
                    </a:cubicBezTo>
                    <a:cubicBezTo>
                      <a:pt x="230852" y="104037"/>
                      <a:pt x="230433" y="111596"/>
                      <a:pt x="232113" y="11999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8C51E2B9-DB7B-E7D8-ED22-7038B660E63D}"/>
                  </a:ext>
                </a:extLst>
              </p:cNvPr>
              <p:cNvSpPr/>
              <p:nvPr/>
            </p:nvSpPr>
            <p:spPr>
              <a:xfrm>
                <a:off x="7123934" y="3774622"/>
                <a:ext cx="132585" cy="158508"/>
              </a:xfrm>
              <a:custGeom>
                <a:avLst/>
                <a:gdLst>
                  <a:gd name="connsiteX0" fmla="*/ 72213 w 132585"/>
                  <a:gd name="connsiteY0" fmla="*/ 158508 h 158508"/>
                  <a:gd name="connsiteX1" fmla="*/ 5435 w 132585"/>
                  <a:gd name="connsiteY1" fmla="*/ 113150 h 158508"/>
                  <a:gd name="connsiteX2" fmla="*/ 18035 w 132585"/>
                  <a:gd name="connsiteY2" fmla="*/ 31674 h 158508"/>
                  <a:gd name="connsiteX3" fmla="*/ 103291 w 132585"/>
                  <a:gd name="connsiteY3" fmla="*/ 17395 h 158508"/>
                  <a:gd name="connsiteX4" fmla="*/ 102031 w 132585"/>
                  <a:gd name="connsiteY4" fmla="*/ 148849 h 158508"/>
                  <a:gd name="connsiteX5" fmla="*/ 72213 w 132585"/>
                  <a:gd name="connsiteY5" fmla="*/ 158508 h 158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585" h="158508">
                    <a:moveTo>
                      <a:pt x="72213" y="158508"/>
                    </a:moveTo>
                    <a:cubicBezTo>
                      <a:pt x="26435" y="158089"/>
                      <a:pt x="18875" y="147589"/>
                      <a:pt x="5435" y="113150"/>
                    </a:cubicBezTo>
                    <a:cubicBezTo>
                      <a:pt x="-6744" y="81232"/>
                      <a:pt x="3336" y="57293"/>
                      <a:pt x="18035" y="31674"/>
                    </a:cubicBezTo>
                    <a:cubicBezTo>
                      <a:pt x="39034" y="-4445"/>
                      <a:pt x="73052" y="-10324"/>
                      <a:pt x="103291" y="17395"/>
                    </a:cubicBezTo>
                    <a:cubicBezTo>
                      <a:pt x="142349" y="53093"/>
                      <a:pt x="142769" y="115670"/>
                      <a:pt x="102031" y="148849"/>
                    </a:cubicBezTo>
                    <a:cubicBezTo>
                      <a:pt x="92372" y="156828"/>
                      <a:pt x="76412" y="157248"/>
                      <a:pt x="72213" y="15850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4BBFCF65-865A-A0BB-6AF2-1961D7A94E11}"/>
                  </a:ext>
                </a:extLst>
              </p:cNvPr>
              <p:cNvSpPr/>
              <p:nvPr/>
            </p:nvSpPr>
            <p:spPr>
              <a:xfrm>
                <a:off x="7098700" y="3156989"/>
                <a:ext cx="126694" cy="157705"/>
              </a:xfrm>
              <a:custGeom>
                <a:avLst/>
                <a:gdLst>
                  <a:gd name="connsiteX0" fmla="*/ 10 w 126694"/>
                  <a:gd name="connsiteY0" fmla="*/ 80651 h 157705"/>
                  <a:gd name="connsiteX1" fmla="*/ 10 w 126694"/>
                  <a:gd name="connsiteY1" fmla="*/ 75611 h 157705"/>
                  <a:gd name="connsiteX2" fmla="*/ 39909 w 126694"/>
                  <a:gd name="connsiteY2" fmla="*/ 2534 h 157705"/>
                  <a:gd name="connsiteX3" fmla="*/ 115506 w 126694"/>
                  <a:gd name="connsiteY3" fmla="*/ 37393 h 157705"/>
                  <a:gd name="connsiteX4" fmla="*/ 123905 w 126694"/>
                  <a:gd name="connsiteY4" fmla="*/ 91151 h 157705"/>
                  <a:gd name="connsiteX5" fmla="*/ 115085 w 126694"/>
                  <a:gd name="connsiteY5" fmla="*/ 109630 h 157705"/>
                  <a:gd name="connsiteX6" fmla="*/ 62168 w 126694"/>
                  <a:gd name="connsiteY6" fmla="*/ 157087 h 157705"/>
                  <a:gd name="connsiteX7" fmla="*/ 10 w 126694"/>
                  <a:gd name="connsiteY7" fmla="*/ 80651 h 157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6694" h="157705">
                    <a:moveTo>
                      <a:pt x="10" y="80651"/>
                    </a:moveTo>
                    <a:cubicBezTo>
                      <a:pt x="10" y="78971"/>
                      <a:pt x="10" y="77291"/>
                      <a:pt x="10" y="75611"/>
                    </a:cubicBezTo>
                    <a:cubicBezTo>
                      <a:pt x="-410" y="43692"/>
                      <a:pt x="11770" y="17654"/>
                      <a:pt x="39909" y="2534"/>
                    </a:cubicBezTo>
                    <a:cubicBezTo>
                      <a:pt x="57968" y="-7125"/>
                      <a:pt x="94086" y="12194"/>
                      <a:pt x="115506" y="37393"/>
                    </a:cubicBezTo>
                    <a:cubicBezTo>
                      <a:pt x="129785" y="54192"/>
                      <a:pt x="127685" y="72251"/>
                      <a:pt x="123905" y="91151"/>
                    </a:cubicBezTo>
                    <a:cubicBezTo>
                      <a:pt x="122645" y="97870"/>
                      <a:pt x="118865" y="103750"/>
                      <a:pt x="115085" y="109630"/>
                    </a:cubicBezTo>
                    <a:cubicBezTo>
                      <a:pt x="102066" y="130629"/>
                      <a:pt x="96606" y="162547"/>
                      <a:pt x="62168" y="157087"/>
                    </a:cubicBezTo>
                    <a:cubicBezTo>
                      <a:pt x="21010" y="149528"/>
                      <a:pt x="10" y="121809"/>
                      <a:pt x="10" y="8065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60B6AD31-B8CC-5963-9F6B-AC9A667A63FB}"/>
                  </a:ext>
                </a:extLst>
              </p:cNvPr>
              <p:cNvSpPr/>
              <p:nvPr/>
            </p:nvSpPr>
            <p:spPr>
              <a:xfrm>
                <a:off x="7109389" y="3523130"/>
                <a:ext cx="40588" cy="52595"/>
              </a:xfrm>
              <a:custGeom>
                <a:avLst/>
                <a:gdLst>
                  <a:gd name="connsiteX0" fmla="*/ 22500 w 40588"/>
                  <a:gd name="connsiteY0" fmla="*/ 52595 h 52595"/>
                  <a:gd name="connsiteX1" fmla="*/ 9061 w 40588"/>
                  <a:gd name="connsiteY1" fmla="*/ 46296 h 52595"/>
                  <a:gd name="connsiteX2" fmla="*/ 4441 w 40588"/>
                  <a:gd name="connsiteY2" fmla="*/ 14377 h 52595"/>
                  <a:gd name="connsiteX3" fmla="*/ 33840 w 40588"/>
                  <a:gd name="connsiteY3" fmla="*/ 1358 h 52595"/>
                  <a:gd name="connsiteX4" fmla="*/ 40560 w 40588"/>
                  <a:gd name="connsiteY4" fmla="*/ 7657 h 52595"/>
                  <a:gd name="connsiteX5" fmla="*/ 22500 w 40588"/>
                  <a:gd name="connsiteY5" fmla="*/ 52595 h 52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88" h="52595">
                    <a:moveTo>
                      <a:pt x="22500" y="52595"/>
                    </a:moveTo>
                    <a:cubicBezTo>
                      <a:pt x="14941" y="49235"/>
                      <a:pt x="11161" y="48396"/>
                      <a:pt x="9061" y="46296"/>
                    </a:cubicBezTo>
                    <a:cubicBezTo>
                      <a:pt x="-1859" y="37056"/>
                      <a:pt x="-2279" y="26136"/>
                      <a:pt x="4441" y="14377"/>
                    </a:cubicBezTo>
                    <a:cubicBezTo>
                      <a:pt x="11161" y="3037"/>
                      <a:pt x="20400" y="-2842"/>
                      <a:pt x="33840" y="1358"/>
                    </a:cubicBezTo>
                    <a:cubicBezTo>
                      <a:pt x="36780" y="2198"/>
                      <a:pt x="40979" y="6397"/>
                      <a:pt x="40560" y="7657"/>
                    </a:cubicBezTo>
                    <a:cubicBezTo>
                      <a:pt x="35100" y="22777"/>
                      <a:pt x="28800" y="37476"/>
                      <a:pt x="22500" y="5259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E9247E9-8541-4463-017C-E7B281F7C7E5}"/>
                  </a:ext>
                </a:extLst>
              </p:cNvPr>
              <p:cNvSpPr/>
              <p:nvPr/>
            </p:nvSpPr>
            <p:spPr>
              <a:xfrm>
                <a:off x="6295082" y="3241840"/>
                <a:ext cx="48035" cy="134814"/>
              </a:xfrm>
              <a:custGeom>
                <a:avLst/>
                <a:gdLst>
                  <a:gd name="connsiteX0" fmla="*/ 16162 w 48035"/>
                  <a:gd name="connsiteY0" fmla="*/ 78536 h 134814"/>
                  <a:gd name="connsiteX1" fmla="*/ 8603 w 48035"/>
                  <a:gd name="connsiteY1" fmla="*/ 64677 h 134814"/>
                  <a:gd name="connsiteX2" fmla="*/ 9862 w 48035"/>
                  <a:gd name="connsiteY2" fmla="*/ 21419 h 134814"/>
                  <a:gd name="connsiteX3" fmla="*/ 28762 w 48035"/>
                  <a:gd name="connsiteY3" fmla="*/ 0 h 134814"/>
                  <a:gd name="connsiteX4" fmla="*/ 47661 w 48035"/>
                  <a:gd name="connsiteY4" fmla="*/ 31919 h 134814"/>
                  <a:gd name="connsiteX5" fmla="*/ 39261 w 48035"/>
                  <a:gd name="connsiteY5" fmla="*/ 97856 h 134814"/>
                  <a:gd name="connsiteX6" fmla="*/ 25402 w 48035"/>
                  <a:gd name="connsiteY6" fmla="*/ 124315 h 134814"/>
                  <a:gd name="connsiteX7" fmla="*/ 3563 w 48035"/>
                  <a:gd name="connsiteY7" fmla="*/ 134814 h 134814"/>
                  <a:gd name="connsiteX8" fmla="*/ 623 w 48035"/>
                  <a:gd name="connsiteY8" fmla="*/ 110875 h 134814"/>
                  <a:gd name="connsiteX9" fmla="*/ 16162 w 48035"/>
                  <a:gd name="connsiteY9" fmla="*/ 78536 h 134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35" h="134814">
                    <a:moveTo>
                      <a:pt x="16162" y="78536"/>
                    </a:moveTo>
                    <a:cubicBezTo>
                      <a:pt x="13642" y="73917"/>
                      <a:pt x="11962" y="68457"/>
                      <a:pt x="8603" y="64677"/>
                    </a:cubicBezTo>
                    <a:cubicBezTo>
                      <a:pt x="-4417" y="49978"/>
                      <a:pt x="5243" y="34858"/>
                      <a:pt x="9862" y="21419"/>
                    </a:cubicBezTo>
                    <a:cubicBezTo>
                      <a:pt x="12802" y="13019"/>
                      <a:pt x="22462" y="7139"/>
                      <a:pt x="28762" y="0"/>
                    </a:cubicBezTo>
                    <a:cubicBezTo>
                      <a:pt x="35481" y="10919"/>
                      <a:pt x="50601" y="26039"/>
                      <a:pt x="47661" y="31919"/>
                    </a:cubicBezTo>
                    <a:cubicBezTo>
                      <a:pt x="36321" y="53758"/>
                      <a:pt x="42201" y="76017"/>
                      <a:pt x="39261" y="97856"/>
                    </a:cubicBezTo>
                    <a:cubicBezTo>
                      <a:pt x="38001" y="107515"/>
                      <a:pt x="31702" y="117175"/>
                      <a:pt x="25402" y="124315"/>
                    </a:cubicBezTo>
                    <a:cubicBezTo>
                      <a:pt x="20362" y="129774"/>
                      <a:pt x="11122" y="131454"/>
                      <a:pt x="3563" y="134814"/>
                    </a:cubicBezTo>
                    <a:cubicBezTo>
                      <a:pt x="2303" y="126834"/>
                      <a:pt x="-1477" y="118015"/>
                      <a:pt x="623" y="110875"/>
                    </a:cubicBezTo>
                    <a:cubicBezTo>
                      <a:pt x="3143" y="99536"/>
                      <a:pt x="10703" y="89456"/>
                      <a:pt x="16162" y="7853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113D4613-8021-811F-4C0B-71FC8F3DBA5D}"/>
                  </a:ext>
                </a:extLst>
              </p:cNvPr>
              <p:cNvSpPr/>
              <p:nvPr/>
            </p:nvSpPr>
            <p:spPr>
              <a:xfrm>
                <a:off x="6014008" y="2009613"/>
                <a:ext cx="59029" cy="117395"/>
              </a:xfrm>
              <a:custGeom>
                <a:avLst/>
                <a:gdLst>
                  <a:gd name="connsiteX0" fmla="*/ 26348 w 59029"/>
                  <a:gd name="connsiteY0" fmla="*/ 0 h 117395"/>
                  <a:gd name="connsiteX1" fmla="*/ 35588 w 59029"/>
                  <a:gd name="connsiteY1" fmla="*/ 10920 h 117395"/>
                  <a:gd name="connsiteX2" fmla="*/ 57427 w 59029"/>
                  <a:gd name="connsiteY2" fmla="*/ 88196 h 117395"/>
                  <a:gd name="connsiteX3" fmla="*/ 58687 w 59029"/>
                  <a:gd name="connsiteY3" fmla="*/ 103316 h 117395"/>
                  <a:gd name="connsiteX4" fmla="*/ 52807 w 59029"/>
                  <a:gd name="connsiteY4" fmla="*/ 116335 h 117395"/>
                  <a:gd name="connsiteX5" fmla="*/ 39368 w 59029"/>
                  <a:gd name="connsiteY5" fmla="*/ 114655 h 117395"/>
                  <a:gd name="connsiteX6" fmla="*/ 17109 w 59029"/>
                  <a:gd name="connsiteY6" fmla="*/ 86936 h 117395"/>
                  <a:gd name="connsiteX7" fmla="*/ 7029 w 59029"/>
                  <a:gd name="connsiteY7" fmla="*/ 63837 h 117395"/>
                  <a:gd name="connsiteX8" fmla="*/ 16269 w 59029"/>
                  <a:gd name="connsiteY8" fmla="*/ 1260 h 117395"/>
                  <a:gd name="connsiteX9" fmla="*/ 26348 w 59029"/>
                  <a:gd name="connsiteY9" fmla="*/ 0 h 11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029" h="117395">
                    <a:moveTo>
                      <a:pt x="26348" y="0"/>
                    </a:moveTo>
                    <a:cubicBezTo>
                      <a:pt x="29288" y="3360"/>
                      <a:pt x="36008" y="7560"/>
                      <a:pt x="35588" y="10920"/>
                    </a:cubicBezTo>
                    <a:cubicBezTo>
                      <a:pt x="33488" y="39478"/>
                      <a:pt x="46927" y="63417"/>
                      <a:pt x="57427" y="88196"/>
                    </a:cubicBezTo>
                    <a:cubicBezTo>
                      <a:pt x="59527" y="92816"/>
                      <a:pt x="59107" y="98696"/>
                      <a:pt x="58687" y="103316"/>
                    </a:cubicBezTo>
                    <a:cubicBezTo>
                      <a:pt x="57847" y="107935"/>
                      <a:pt x="56587" y="114235"/>
                      <a:pt x="52807" y="116335"/>
                    </a:cubicBezTo>
                    <a:cubicBezTo>
                      <a:pt x="49867" y="118435"/>
                      <a:pt x="41888" y="117175"/>
                      <a:pt x="39368" y="114655"/>
                    </a:cubicBezTo>
                    <a:cubicBezTo>
                      <a:pt x="30968" y="106255"/>
                      <a:pt x="23828" y="97016"/>
                      <a:pt x="17109" y="86936"/>
                    </a:cubicBezTo>
                    <a:cubicBezTo>
                      <a:pt x="12489" y="80217"/>
                      <a:pt x="11229" y="71397"/>
                      <a:pt x="7029" y="63837"/>
                    </a:cubicBezTo>
                    <a:cubicBezTo>
                      <a:pt x="-4730" y="41578"/>
                      <a:pt x="-1791" y="17639"/>
                      <a:pt x="16269" y="1260"/>
                    </a:cubicBezTo>
                    <a:cubicBezTo>
                      <a:pt x="18789" y="0"/>
                      <a:pt x="22568" y="420"/>
                      <a:pt x="26348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9D5C88E-9C90-16E1-1836-FE956B6ABEED}"/>
                  </a:ext>
                </a:extLst>
              </p:cNvPr>
              <p:cNvSpPr/>
              <p:nvPr/>
            </p:nvSpPr>
            <p:spPr>
              <a:xfrm>
                <a:off x="5738183" y="1821240"/>
                <a:ext cx="72443" cy="111146"/>
              </a:xfrm>
              <a:custGeom>
                <a:avLst/>
                <a:gdLst>
                  <a:gd name="connsiteX0" fmla="*/ 72443 w 72443"/>
                  <a:gd name="connsiteY0" fmla="*/ 10720 h 111146"/>
                  <a:gd name="connsiteX1" fmla="*/ 68663 w 72443"/>
                  <a:gd name="connsiteY1" fmla="*/ 25840 h 111146"/>
                  <a:gd name="connsiteX2" fmla="*/ 31285 w 72443"/>
                  <a:gd name="connsiteY2" fmla="*/ 99757 h 111146"/>
                  <a:gd name="connsiteX3" fmla="*/ 6086 w 72443"/>
                  <a:gd name="connsiteY3" fmla="*/ 108156 h 111146"/>
                  <a:gd name="connsiteX4" fmla="*/ 206 w 72443"/>
                  <a:gd name="connsiteY4" fmla="*/ 85477 h 111146"/>
                  <a:gd name="connsiteX5" fmla="*/ 9866 w 72443"/>
                  <a:gd name="connsiteY5" fmla="*/ 67418 h 111146"/>
                  <a:gd name="connsiteX6" fmla="*/ 53124 w 72443"/>
                  <a:gd name="connsiteY6" fmla="*/ 3161 h 111146"/>
                  <a:gd name="connsiteX7" fmla="*/ 60684 w 72443"/>
                  <a:gd name="connsiteY7" fmla="*/ 221 h 111146"/>
                  <a:gd name="connsiteX8" fmla="*/ 72443 w 72443"/>
                  <a:gd name="connsiteY8" fmla="*/ 10720 h 11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443" h="111146">
                    <a:moveTo>
                      <a:pt x="72443" y="10720"/>
                    </a:moveTo>
                    <a:cubicBezTo>
                      <a:pt x="71183" y="16180"/>
                      <a:pt x="70763" y="21220"/>
                      <a:pt x="68663" y="25840"/>
                    </a:cubicBezTo>
                    <a:cubicBezTo>
                      <a:pt x="56484" y="50619"/>
                      <a:pt x="43044" y="74978"/>
                      <a:pt x="31285" y="99757"/>
                    </a:cubicBezTo>
                    <a:cubicBezTo>
                      <a:pt x="25405" y="112776"/>
                      <a:pt x="14486" y="113196"/>
                      <a:pt x="6086" y="108156"/>
                    </a:cubicBezTo>
                    <a:cubicBezTo>
                      <a:pt x="1046" y="105216"/>
                      <a:pt x="-634" y="93457"/>
                      <a:pt x="206" y="85477"/>
                    </a:cubicBezTo>
                    <a:cubicBezTo>
                      <a:pt x="626" y="79177"/>
                      <a:pt x="6086" y="73298"/>
                      <a:pt x="9866" y="67418"/>
                    </a:cubicBezTo>
                    <a:cubicBezTo>
                      <a:pt x="24145" y="45999"/>
                      <a:pt x="38425" y="24580"/>
                      <a:pt x="53124" y="3161"/>
                    </a:cubicBezTo>
                    <a:cubicBezTo>
                      <a:pt x="54384" y="1061"/>
                      <a:pt x="59004" y="-619"/>
                      <a:pt x="60684" y="221"/>
                    </a:cubicBezTo>
                    <a:cubicBezTo>
                      <a:pt x="64463" y="2741"/>
                      <a:pt x="68243" y="6521"/>
                      <a:pt x="72443" y="1072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C5F5BBA4-BB96-DA8A-4562-B68C8FD5F7DB}"/>
                  </a:ext>
                </a:extLst>
              </p:cNvPr>
              <p:cNvSpPr/>
              <p:nvPr/>
            </p:nvSpPr>
            <p:spPr>
              <a:xfrm>
                <a:off x="6325524" y="1829307"/>
                <a:ext cx="91300" cy="90916"/>
              </a:xfrm>
              <a:custGeom>
                <a:avLst/>
                <a:gdLst>
                  <a:gd name="connsiteX0" fmla="*/ 0 w 91300"/>
                  <a:gd name="connsiteY0" fmla="*/ 77830 h 90916"/>
                  <a:gd name="connsiteX1" fmla="*/ 10920 w 91300"/>
                  <a:gd name="connsiteY1" fmla="*/ 62711 h 90916"/>
                  <a:gd name="connsiteX2" fmla="*/ 56278 w 91300"/>
                  <a:gd name="connsiteY2" fmla="*/ 7693 h 90916"/>
                  <a:gd name="connsiteX3" fmla="*/ 77697 w 91300"/>
                  <a:gd name="connsiteY3" fmla="*/ 553 h 90916"/>
                  <a:gd name="connsiteX4" fmla="*/ 88196 w 91300"/>
                  <a:gd name="connsiteY4" fmla="*/ 24912 h 90916"/>
                  <a:gd name="connsiteX5" fmla="*/ 56278 w 91300"/>
                  <a:gd name="connsiteY5" fmla="*/ 53471 h 90916"/>
                  <a:gd name="connsiteX6" fmla="*/ 26879 w 91300"/>
                  <a:gd name="connsiteY6" fmla="*/ 87490 h 90916"/>
                  <a:gd name="connsiteX7" fmla="*/ 13439 w 91300"/>
                  <a:gd name="connsiteY7" fmla="*/ 90430 h 90916"/>
                  <a:gd name="connsiteX8" fmla="*/ 0 w 91300"/>
                  <a:gd name="connsiteY8" fmla="*/ 77830 h 90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300" h="90916">
                    <a:moveTo>
                      <a:pt x="0" y="77830"/>
                    </a:moveTo>
                    <a:cubicBezTo>
                      <a:pt x="3780" y="72790"/>
                      <a:pt x="7140" y="67331"/>
                      <a:pt x="10920" y="62711"/>
                    </a:cubicBezTo>
                    <a:cubicBezTo>
                      <a:pt x="25619" y="44232"/>
                      <a:pt x="40318" y="25332"/>
                      <a:pt x="56278" y="7693"/>
                    </a:cubicBezTo>
                    <a:cubicBezTo>
                      <a:pt x="60897" y="2653"/>
                      <a:pt x="71817" y="-1546"/>
                      <a:pt x="77697" y="553"/>
                    </a:cubicBezTo>
                    <a:cubicBezTo>
                      <a:pt x="87356" y="3913"/>
                      <a:pt x="96176" y="14833"/>
                      <a:pt x="88196" y="24912"/>
                    </a:cubicBezTo>
                    <a:cubicBezTo>
                      <a:pt x="79797" y="35832"/>
                      <a:pt x="84836" y="64811"/>
                      <a:pt x="56278" y="53471"/>
                    </a:cubicBezTo>
                    <a:cubicBezTo>
                      <a:pt x="46618" y="64811"/>
                      <a:pt x="37378" y="76570"/>
                      <a:pt x="26879" y="87490"/>
                    </a:cubicBezTo>
                    <a:cubicBezTo>
                      <a:pt x="23939" y="90430"/>
                      <a:pt x="17219" y="91689"/>
                      <a:pt x="13439" y="90430"/>
                    </a:cubicBezTo>
                    <a:cubicBezTo>
                      <a:pt x="9660" y="88750"/>
                      <a:pt x="6300" y="83710"/>
                      <a:pt x="0" y="778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901FE5A9-B7D6-6AEE-1C6C-698C84291F02}"/>
                  </a:ext>
                </a:extLst>
              </p:cNvPr>
              <p:cNvSpPr/>
              <p:nvPr/>
            </p:nvSpPr>
            <p:spPr>
              <a:xfrm>
                <a:off x="6452219" y="3371694"/>
                <a:ext cx="52636" cy="74701"/>
              </a:xfrm>
              <a:custGeom>
                <a:avLst/>
                <a:gdLst>
                  <a:gd name="connsiteX0" fmla="*/ 52637 w 52636"/>
                  <a:gd name="connsiteY0" fmla="*/ 19240 h 74701"/>
                  <a:gd name="connsiteX1" fmla="*/ 27858 w 52636"/>
                  <a:gd name="connsiteY1" fmla="*/ 68798 h 74701"/>
                  <a:gd name="connsiteX2" fmla="*/ 11899 w 52636"/>
                  <a:gd name="connsiteY2" fmla="*/ 74258 h 74701"/>
                  <a:gd name="connsiteX3" fmla="*/ 139 w 52636"/>
                  <a:gd name="connsiteY3" fmla="*/ 59558 h 74701"/>
                  <a:gd name="connsiteX4" fmla="*/ 29538 w 52636"/>
                  <a:gd name="connsiteY4" fmla="*/ 1181 h 74701"/>
                  <a:gd name="connsiteX5" fmla="*/ 37938 w 52636"/>
                  <a:gd name="connsiteY5" fmla="*/ 761 h 74701"/>
                  <a:gd name="connsiteX6" fmla="*/ 52637 w 52636"/>
                  <a:gd name="connsiteY6" fmla="*/ 19240 h 7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636" h="74701">
                    <a:moveTo>
                      <a:pt x="52637" y="19240"/>
                    </a:moveTo>
                    <a:cubicBezTo>
                      <a:pt x="44657" y="36039"/>
                      <a:pt x="37098" y="52839"/>
                      <a:pt x="27858" y="68798"/>
                    </a:cubicBezTo>
                    <a:cubicBezTo>
                      <a:pt x="25758" y="72578"/>
                      <a:pt x="16099" y="75938"/>
                      <a:pt x="11899" y="74258"/>
                    </a:cubicBezTo>
                    <a:cubicBezTo>
                      <a:pt x="6439" y="71738"/>
                      <a:pt x="-1121" y="62498"/>
                      <a:pt x="139" y="59558"/>
                    </a:cubicBezTo>
                    <a:cubicBezTo>
                      <a:pt x="8539" y="39399"/>
                      <a:pt x="19459" y="20500"/>
                      <a:pt x="29538" y="1181"/>
                    </a:cubicBezTo>
                    <a:cubicBezTo>
                      <a:pt x="30378" y="-79"/>
                      <a:pt x="36258" y="-499"/>
                      <a:pt x="37938" y="761"/>
                    </a:cubicBezTo>
                    <a:cubicBezTo>
                      <a:pt x="42977" y="5380"/>
                      <a:pt x="46337" y="11260"/>
                      <a:pt x="52637" y="192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47537767-F584-FB23-1912-2AB0A2CF4E21}"/>
                  </a:ext>
                </a:extLst>
              </p:cNvPr>
              <p:cNvSpPr/>
              <p:nvPr/>
            </p:nvSpPr>
            <p:spPr>
              <a:xfrm>
                <a:off x="5078989" y="2444125"/>
                <a:ext cx="62606" cy="52874"/>
              </a:xfrm>
              <a:custGeom>
                <a:avLst/>
                <a:gdLst>
                  <a:gd name="connsiteX0" fmla="*/ 62606 w 62606"/>
                  <a:gd name="connsiteY0" fmla="*/ 29568 h 52874"/>
                  <a:gd name="connsiteX1" fmla="*/ 43707 w 62606"/>
                  <a:gd name="connsiteY1" fmla="*/ 52247 h 52874"/>
                  <a:gd name="connsiteX2" fmla="*/ 29 w 62606"/>
                  <a:gd name="connsiteY2" fmla="*/ 33348 h 52874"/>
                  <a:gd name="connsiteX3" fmla="*/ 26908 w 62606"/>
                  <a:gd name="connsiteY3" fmla="*/ 169 h 52874"/>
                  <a:gd name="connsiteX4" fmla="*/ 62606 w 62606"/>
                  <a:gd name="connsiteY4" fmla="*/ 29568 h 52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06" h="52874">
                    <a:moveTo>
                      <a:pt x="62606" y="29568"/>
                    </a:moveTo>
                    <a:cubicBezTo>
                      <a:pt x="58407" y="35027"/>
                      <a:pt x="52527" y="45527"/>
                      <a:pt x="43707" y="52247"/>
                    </a:cubicBezTo>
                    <a:cubicBezTo>
                      <a:pt x="38247" y="56447"/>
                      <a:pt x="449" y="38387"/>
                      <a:pt x="29" y="33348"/>
                    </a:cubicBezTo>
                    <a:cubicBezTo>
                      <a:pt x="-811" y="22428"/>
                      <a:pt x="16828" y="1009"/>
                      <a:pt x="26908" y="169"/>
                    </a:cubicBezTo>
                    <a:cubicBezTo>
                      <a:pt x="44547" y="-1511"/>
                      <a:pt x="60506" y="9409"/>
                      <a:pt x="62606" y="2956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A118481-9CEC-AD00-7596-6ADE7AF95CBB}"/>
                  </a:ext>
                </a:extLst>
              </p:cNvPr>
              <p:cNvSpPr/>
              <p:nvPr/>
            </p:nvSpPr>
            <p:spPr>
              <a:xfrm>
                <a:off x="5036532" y="3442885"/>
                <a:ext cx="55924" cy="65470"/>
              </a:xfrm>
              <a:custGeom>
                <a:avLst/>
                <a:gdLst>
                  <a:gd name="connsiteX0" fmla="*/ 55925 w 55924"/>
                  <a:gd name="connsiteY0" fmla="*/ 13986 h 65470"/>
                  <a:gd name="connsiteX1" fmla="*/ 18546 w 55924"/>
                  <a:gd name="connsiteY1" fmla="*/ 65224 h 65470"/>
                  <a:gd name="connsiteX2" fmla="*/ 3007 w 55924"/>
                  <a:gd name="connsiteY2" fmla="*/ 58924 h 65470"/>
                  <a:gd name="connsiteX3" fmla="*/ 26946 w 55924"/>
                  <a:gd name="connsiteY3" fmla="*/ 127 h 65470"/>
                  <a:gd name="connsiteX4" fmla="*/ 55925 w 55924"/>
                  <a:gd name="connsiteY4" fmla="*/ 13986 h 65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24" h="65470">
                    <a:moveTo>
                      <a:pt x="55925" y="13986"/>
                    </a:moveTo>
                    <a:cubicBezTo>
                      <a:pt x="42065" y="33305"/>
                      <a:pt x="30726" y="49684"/>
                      <a:pt x="18546" y="65224"/>
                    </a:cubicBezTo>
                    <a:cubicBezTo>
                      <a:pt x="17286" y="66484"/>
                      <a:pt x="5527" y="62704"/>
                      <a:pt x="3007" y="58924"/>
                    </a:cubicBezTo>
                    <a:cubicBezTo>
                      <a:pt x="-6652" y="41705"/>
                      <a:pt x="8467" y="3067"/>
                      <a:pt x="26946" y="127"/>
                    </a:cubicBezTo>
                    <a:cubicBezTo>
                      <a:pt x="34506" y="-1133"/>
                      <a:pt x="43325" y="7266"/>
                      <a:pt x="55925" y="1398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5185A472-56C0-4A1D-E804-CFCCCB3CC213}"/>
                  </a:ext>
                </a:extLst>
              </p:cNvPr>
              <p:cNvSpPr/>
              <p:nvPr/>
            </p:nvSpPr>
            <p:spPr>
              <a:xfrm>
                <a:off x="4944123" y="3335381"/>
                <a:ext cx="48022" cy="62692"/>
              </a:xfrm>
              <a:custGeom>
                <a:avLst/>
                <a:gdLst>
                  <a:gd name="connsiteX0" fmla="*/ 13940 w 48022"/>
                  <a:gd name="connsiteY0" fmla="*/ 62692 h 62692"/>
                  <a:gd name="connsiteX1" fmla="*/ 920 w 48022"/>
                  <a:gd name="connsiteY1" fmla="*/ 49673 h 62692"/>
                  <a:gd name="connsiteX2" fmla="*/ 3860 w 48022"/>
                  <a:gd name="connsiteY2" fmla="*/ 21114 h 62692"/>
                  <a:gd name="connsiteX3" fmla="*/ 36199 w 48022"/>
                  <a:gd name="connsiteY3" fmla="*/ 955 h 62692"/>
                  <a:gd name="connsiteX4" fmla="*/ 47958 w 48022"/>
                  <a:gd name="connsiteY4" fmla="*/ 14394 h 62692"/>
                  <a:gd name="connsiteX5" fmla="*/ 25279 w 48022"/>
                  <a:gd name="connsiteY5" fmla="*/ 59333 h 62692"/>
                  <a:gd name="connsiteX6" fmla="*/ 13940 w 48022"/>
                  <a:gd name="connsiteY6" fmla="*/ 62692 h 62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022" h="62692">
                    <a:moveTo>
                      <a:pt x="13940" y="62692"/>
                    </a:moveTo>
                    <a:cubicBezTo>
                      <a:pt x="10160" y="58913"/>
                      <a:pt x="1760" y="54713"/>
                      <a:pt x="920" y="49673"/>
                    </a:cubicBezTo>
                    <a:cubicBezTo>
                      <a:pt x="-760" y="40433"/>
                      <a:pt x="-340" y="29094"/>
                      <a:pt x="3860" y="21114"/>
                    </a:cubicBezTo>
                    <a:cubicBezTo>
                      <a:pt x="10160" y="9355"/>
                      <a:pt x="19819" y="-3665"/>
                      <a:pt x="36199" y="955"/>
                    </a:cubicBezTo>
                    <a:cubicBezTo>
                      <a:pt x="41238" y="2215"/>
                      <a:pt x="48798" y="11875"/>
                      <a:pt x="47958" y="14394"/>
                    </a:cubicBezTo>
                    <a:cubicBezTo>
                      <a:pt x="41658" y="29934"/>
                      <a:pt x="33259" y="44633"/>
                      <a:pt x="25279" y="59333"/>
                    </a:cubicBezTo>
                    <a:cubicBezTo>
                      <a:pt x="24439" y="61432"/>
                      <a:pt x="19399" y="61013"/>
                      <a:pt x="13940" y="626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15799C7A-EE6E-D359-3F9E-CE0520BC5C6E}"/>
                  </a:ext>
                </a:extLst>
              </p:cNvPr>
              <p:cNvSpPr/>
              <p:nvPr/>
            </p:nvSpPr>
            <p:spPr>
              <a:xfrm>
                <a:off x="5476515" y="3201489"/>
                <a:ext cx="49117" cy="59731"/>
              </a:xfrm>
              <a:custGeom>
                <a:avLst/>
                <a:gdLst>
                  <a:gd name="connsiteX0" fmla="*/ 36763 w 49117"/>
                  <a:gd name="connsiteY0" fmla="*/ 33 h 59731"/>
                  <a:gd name="connsiteX1" fmla="*/ 48943 w 49117"/>
                  <a:gd name="connsiteY1" fmla="*/ 17672 h 59731"/>
                  <a:gd name="connsiteX2" fmla="*/ 41803 w 49117"/>
                  <a:gd name="connsiteY2" fmla="*/ 35731 h 59731"/>
                  <a:gd name="connsiteX3" fmla="*/ 8625 w 49117"/>
                  <a:gd name="connsiteY3" fmla="*/ 57990 h 59731"/>
                  <a:gd name="connsiteX4" fmla="*/ 225 w 49117"/>
                  <a:gd name="connsiteY4" fmla="*/ 32791 h 59731"/>
                  <a:gd name="connsiteX5" fmla="*/ 36763 w 49117"/>
                  <a:gd name="connsiteY5" fmla="*/ 33 h 59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17" h="59731">
                    <a:moveTo>
                      <a:pt x="36763" y="33"/>
                    </a:moveTo>
                    <a:cubicBezTo>
                      <a:pt x="40123" y="4653"/>
                      <a:pt x="47263" y="10532"/>
                      <a:pt x="48943" y="17672"/>
                    </a:cubicBezTo>
                    <a:cubicBezTo>
                      <a:pt x="50203" y="22712"/>
                      <a:pt x="44323" y="29431"/>
                      <a:pt x="41803" y="35731"/>
                    </a:cubicBezTo>
                    <a:cubicBezTo>
                      <a:pt x="35504" y="50851"/>
                      <a:pt x="27104" y="64710"/>
                      <a:pt x="8625" y="57990"/>
                    </a:cubicBezTo>
                    <a:cubicBezTo>
                      <a:pt x="3165" y="55890"/>
                      <a:pt x="-1035" y="40771"/>
                      <a:pt x="225" y="32791"/>
                    </a:cubicBezTo>
                    <a:cubicBezTo>
                      <a:pt x="2325" y="14732"/>
                      <a:pt x="20384" y="-807"/>
                      <a:pt x="36763" y="3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8BDF638A-F692-286A-77BA-7DFA83E7A266}"/>
                  </a:ext>
                </a:extLst>
              </p:cNvPr>
              <p:cNvSpPr/>
              <p:nvPr/>
            </p:nvSpPr>
            <p:spPr>
              <a:xfrm>
                <a:off x="6406823" y="2047824"/>
                <a:ext cx="43435" cy="70982"/>
              </a:xfrm>
              <a:custGeom>
                <a:avLst/>
                <a:gdLst>
                  <a:gd name="connsiteX0" fmla="*/ 43435 w 43435"/>
                  <a:gd name="connsiteY0" fmla="*/ 21847 h 70982"/>
                  <a:gd name="connsiteX1" fmla="*/ 42176 w 43435"/>
                  <a:gd name="connsiteY1" fmla="*/ 39906 h 70982"/>
                  <a:gd name="connsiteX2" fmla="*/ 22436 w 43435"/>
                  <a:gd name="connsiteY2" fmla="*/ 69725 h 70982"/>
                  <a:gd name="connsiteX3" fmla="*/ 597 w 43435"/>
                  <a:gd name="connsiteY3" fmla="*/ 37806 h 70982"/>
                  <a:gd name="connsiteX4" fmla="*/ 3957 w 43435"/>
                  <a:gd name="connsiteY4" fmla="*/ 23527 h 70982"/>
                  <a:gd name="connsiteX5" fmla="*/ 26216 w 43435"/>
                  <a:gd name="connsiteY5" fmla="*/ 1268 h 70982"/>
                  <a:gd name="connsiteX6" fmla="*/ 43435 w 43435"/>
                  <a:gd name="connsiteY6" fmla="*/ 21847 h 70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435" h="70982">
                    <a:moveTo>
                      <a:pt x="43435" y="21847"/>
                    </a:moveTo>
                    <a:cubicBezTo>
                      <a:pt x="42595" y="32766"/>
                      <a:pt x="42595" y="36546"/>
                      <a:pt x="42176" y="39906"/>
                    </a:cubicBezTo>
                    <a:cubicBezTo>
                      <a:pt x="40496" y="60065"/>
                      <a:pt x="29996" y="75605"/>
                      <a:pt x="22436" y="69725"/>
                    </a:cubicBezTo>
                    <a:cubicBezTo>
                      <a:pt x="12777" y="61745"/>
                      <a:pt x="6477" y="49146"/>
                      <a:pt x="597" y="37806"/>
                    </a:cubicBezTo>
                    <a:cubicBezTo>
                      <a:pt x="-1083" y="34446"/>
                      <a:pt x="1017" y="26467"/>
                      <a:pt x="3957" y="23527"/>
                    </a:cubicBezTo>
                    <a:cubicBezTo>
                      <a:pt x="12357" y="16387"/>
                      <a:pt x="8577" y="-5452"/>
                      <a:pt x="26216" y="1268"/>
                    </a:cubicBezTo>
                    <a:cubicBezTo>
                      <a:pt x="35456" y="4208"/>
                      <a:pt x="40076" y="17647"/>
                      <a:pt x="43435" y="218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40E9228-D5BB-7F4B-805E-5FE389509D2A}"/>
                  </a:ext>
                </a:extLst>
              </p:cNvPr>
              <p:cNvSpPr/>
              <p:nvPr/>
            </p:nvSpPr>
            <p:spPr>
              <a:xfrm>
                <a:off x="5577116" y="3251115"/>
                <a:ext cx="55019" cy="59138"/>
              </a:xfrm>
              <a:custGeom>
                <a:avLst/>
                <a:gdLst>
                  <a:gd name="connsiteX0" fmla="*/ 0 w 55019"/>
                  <a:gd name="connsiteY0" fmla="*/ 31463 h 59138"/>
                  <a:gd name="connsiteX1" fmla="*/ 28559 w 55019"/>
                  <a:gd name="connsiteY1" fmla="*/ 1225 h 59138"/>
                  <a:gd name="connsiteX2" fmla="*/ 54598 w 55019"/>
                  <a:gd name="connsiteY2" fmla="*/ 20124 h 59138"/>
                  <a:gd name="connsiteX3" fmla="*/ 33599 w 55019"/>
                  <a:gd name="connsiteY3" fmla="*/ 58762 h 59138"/>
                  <a:gd name="connsiteX4" fmla="*/ 20999 w 55019"/>
                  <a:gd name="connsiteY4" fmla="*/ 55402 h 59138"/>
                  <a:gd name="connsiteX5" fmla="*/ 0 w 55019"/>
                  <a:gd name="connsiteY5" fmla="*/ 31463 h 59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019" h="59138">
                    <a:moveTo>
                      <a:pt x="0" y="31463"/>
                    </a:moveTo>
                    <a:cubicBezTo>
                      <a:pt x="10919" y="19284"/>
                      <a:pt x="18059" y="5845"/>
                      <a:pt x="28559" y="1225"/>
                    </a:cubicBezTo>
                    <a:cubicBezTo>
                      <a:pt x="40738" y="-3815"/>
                      <a:pt x="50818" y="7525"/>
                      <a:pt x="54598" y="20124"/>
                    </a:cubicBezTo>
                    <a:cubicBezTo>
                      <a:pt x="57537" y="30624"/>
                      <a:pt x="44518" y="54562"/>
                      <a:pt x="33599" y="58762"/>
                    </a:cubicBezTo>
                    <a:cubicBezTo>
                      <a:pt x="30238" y="60022"/>
                      <a:pt x="23939" y="57923"/>
                      <a:pt x="20999" y="55402"/>
                    </a:cubicBezTo>
                    <a:cubicBezTo>
                      <a:pt x="13859" y="48683"/>
                      <a:pt x="7980" y="40703"/>
                      <a:pt x="0" y="314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82E82B4-0C4A-F612-A859-EEAC01AE06B5}"/>
                  </a:ext>
                </a:extLst>
              </p:cNvPr>
              <p:cNvSpPr/>
              <p:nvPr/>
            </p:nvSpPr>
            <p:spPr>
              <a:xfrm>
                <a:off x="6054372" y="3210321"/>
                <a:ext cx="56961" cy="60130"/>
              </a:xfrm>
              <a:custGeom>
                <a:avLst/>
                <a:gdLst>
                  <a:gd name="connsiteX0" fmla="*/ 56961 w 56961"/>
                  <a:gd name="connsiteY0" fmla="*/ 8000 h 60130"/>
                  <a:gd name="connsiteX1" fmla="*/ 23363 w 56961"/>
                  <a:gd name="connsiteY1" fmla="*/ 58818 h 60130"/>
                  <a:gd name="connsiteX2" fmla="*/ 9923 w 56961"/>
                  <a:gd name="connsiteY2" fmla="*/ 57558 h 60130"/>
                  <a:gd name="connsiteX3" fmla="*/ 264 w 56961"/>
                  <a:gd name="connsiteY3" fmla="*/ 41179 h 60130"/>
                  <a:gd name="connsiteX4" fmla="*/ 29662 w 56961"/>
                  <a:gd name="connsiteY4" fmla="*/ 441 h 60130"/>
                  <a:gd name="connsiteX5" fmla="*/ 56961 w 56961"/>
                  <a:gd name="connsiteY5" fmla="*/ 8000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961" h="60130">
                    <a:moveTo>
                      <a:pt x="56961" y="8000"/>
                    </a:moveTo>
                    <a:cubicBezTo>
                      <a:pt x="43942" y="28580"/>
                      <a:pt x="34282" y="44119"/>
                      <a:pt x="23363" y="58818"/>
                    </a:cubicBezTo>
                    <a:cubicBezTo>
                      <a:pt x="21683" y="60918"/>
                      <a:pt x="12443" y="60498"/>
                      <a:pt x="9923" y="57558"/>
                    </a:cubicBezTo>
                    <a:cubicBezTo>
                      <a:pt x="5303" y="53358"/>
                      <a:pt x="-1416" y="44119"/>
                      <a:pt x="264" y="41179"/>
                    </a:cubicBezTo>
                    <a:cubicBezTo>
                      <a:pt x="8663" y="26480"/>
                      <a:pt x="18323" y="12620"/>
                      <a:pt x="29662" y="441"/>
                    </a:cubicBezTo>
                    <a:cubicBezTo>
                      <a:pt x="32182" y="-1659"/>
                      <a:pt x="43102" y="4221"/>
                      <a:pt x="56961" y="80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6B2D336F-F3F8-AA34-F9FA-9864DF6D89C9}"/>
                  </a:ext>
                </a:extLst>
              </p:cNvPr>
              <p:cNvSpPr/>
              <p:nvPr/>
            </p:nvSpPr>
            <p:spPr>
              <a:xfrm>
                <a:off x="6051334" y="1831722"/>
                <a:ext cx="38116" cy="68276"/>
              </a:xfrm>
              <a:custGeom>
                <a:avLst/>
                <a:gdLst>
                  <a:gd name="connsiteX0" fmla="*/ 15481 w 38116"/>
                  <a:gd name="connsiteY0" fmla="*/ 68276 h 68276"/>
                  <a:gd name="connsiteX1" fmla="*/ 2881 w 38116"/>
                  <a:gd name="connsiteY1" fmla="*/ 53577 h 68276"/>
                  <a:gd name="connsiteX2" fmla="*/ 15061 w 38116"/>
                  <a:gd name="connsiteY2" fmla="*/ 659 h 68276"/>
                  <a:gd name="connsiteX3" fmla="*/ 30600 w 38116"/>
                  <a:gd name="connsiteY3" fmla="*/ 4019 h 68276"/>
                  <a:gd name="connsiteX4" fmla="*/ 26400 w 38116"/>
                  <a:gd name="connsiteY4" fmla="*/ 64916 h 68276"/>
                  <a:gd name="connsiteX5" fmla="*/ 15481 w 38116"/>
                  <a:gd name="connsiteY5" fmla="*/ 68276 h 6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16" h="68276">
                    <a:moveTo>
                      <a:pt x="15481" y="68276"/>
                    </a:moveTo>
                    <a:cubicBezTo>
                      <a:pt x="11281" y="63656"/>
                      <a:pt x="5401" y="59457"/>
                      <a:pt x="2881" y="53577"/>
                    </a:cubicBezTo>
                    <a:cubicBezTo>
                      <a:pt x="-5099" y="33418"/>
                      <a:pt x="4981" y="16618"/>
                      <a:pt x="15061" y="659"/>
                    </a:cubicBezTo>
                    <a:cubicBezTo>
                      <a:pt x="16321" y="-1021"/>
                      <a:pt x="28080" y="659"/>
                      <a:pt x="30600" y="4019"/>
                    </a:cubicBezTo>
                    <a:cubicBezTo>
                      <a:pt x="42360" y="19978"/>
                      <a:pt x="39840" y="49797"/>
                      <a:pt x="26400" y="64916"/>
                    </a:cubicBezTo>
                    <a:cubicBezTo>
                      <a:pt x="24300" y="66596"/>
                      <a:pt x="20100" y="66596"/>
                      <a:pt x="15481" y="6827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1737767-2E85-974A-099B-0F4B22D5B861}"/>
                  </a:ext>
                </a:extLst>
              </p:cNvPr>
              <p:cNvSpPr/>
              <p:nvPr/>
            </p:nvSpPr>
            <p:spPr>
              <a:xfrm>
                <a:off x="6171225" y="1837421"/>
                <a:ext cx="47839" cy="61502"/>
              </a:xfrm>
              <a:custGeom>
                <a:avLst/>
                <a:gdLst>
                  <a:gd name="connsiteX0" fmla="*/ 32924 w 47839"/>
                  <a:gd name="connsiteY0" fmla="*/ 0 h 61502"/>
                  <a:gd name="connsiteX1" fmla="*/ 47204 w 47839"/>
                  <a:gd name="connsiteY1" fmla="*/ 18479 h 61502"/>
                  <a:gd name="connsiteX2" fmla="*/ 26204 w 47839"/>
                  <a:gd name="connsiteY2" fmla="*/ 61317 h 61502"/>
                  <a:gd name="connsiteX3" fmla="*/ 3945 w 47839"/>
                  <a:gd name="connsiteY3" fmla="*/ 53758 h 61502"/>
                  <a:gd name="connsiteX4" fmla="*/ 166 w 47839"/>
                  <a:gd name="connsiteY4" fmla="*/ 45358 h 61502"/>
                  <a:gd name="connsiteX5" fmla="*/ 21165 w 47839"/>
                  <a:gd name="connsiteY5" fmla="*/ 4200 h 61502"/>
                  <a:gd name="connsiteX6" fmla="*/ 32924 w 47839"/>
                  <a:gd name="connsiteY6" fmla="*/ 0 h 6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39" h="61502">
                    <a:moveTo>
                      <a:pt x="32924" y="0"/>
                    </a:moveTo>
                    <a:cubicBezTo>
                      <a:pt x="37544" y="5460"/>
                      <a:pt x="44684" y="11340"/>
                      <a:pt x="47204" y="18479"/>
                    </a:cubicBezTo>
                    <a:cubicBezTo>
                      <a:pt x="50984" y="31079"/>
                      <a:pt x="37124" y="59637"/>
                      <a:pt x="26204" y="61317"/>
                    </a:cubicBezTo>
                    <a:cubicBezTo>
                      <a:pt x="19065" y="62577"/>
                      <a:pt x="11085" y="57118"/>
                      <a:pt x="3945" y="53758"/>
                    </a:cubicBezTo>
                    <a:cubicBezTo>
                      <a:pt x="1846" y="52498"/>
                      <a:pt x="-674" y="47458"/>
                      <a:pt x="166" y="45358"/>
                    </a:cubicBezTo>
                    <a:cubicBezTo>
                      <a:pt x="6466" y="31499"/>
                      <a:pt x="13605" y="17639"/>
                      <a:pt x="21165" y="4200"/>
                    </a:cubicBezTo>
                    <a:cubicBezTo>
                      <a:pt x="22005" y="1680"/>
                      <a:pt x="27045" y="1680"/>
                      <a:pt x="32924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3541077A-CAA0-66A8-319A-26CBC00BD1CB}"/>
                  </a:ext>
                </a:extLst>
              </p:cNvPr>
              <p:cNvSpPr/>
              <p:nvPr/>
            </p:nvSpPr>
            <p:spPr>
              <a:xfrm>
                <a:off x="5047628" y="2897504"/>
                <a:ext cx="52808" cy="56924"/>
              </a:xfrm>
              <a:custGeom>
                <a:avLst/>
                <a:gdLst>
                  <a:gd name="connsiteX0" fmla="*/ 52809 w 52808"/>
                  <a:gd name="connsiteY0" fmla="*/ 18010 h 56924"/>
                  <a:gd name="connsiteX1" fmla="*/ 26350 w 52808"/>
                  <a:gd name="connsiteY1" fmla="*/ 55388 h 56924"/>
                  <a:gd name="connsiteX2" fmla="*/ 8711 w 52808"/>
                  <a:gd name="connsiteY2" fmla="*/ 53708 h 56924"/>
                  <a:gd name="connsiteX3" fmla="*/ 311 w 52808"/>
                  <a:gd name="connsiteY3" fmla="*/ 37329 h 56924"/>
                  <a:gd name="connsiteX4" fmla="*/ 20470 w 52808"/>
                  <a:gd name="connsiteY4" fmla="*/ 2470 h 56924"/>
                  <a:gd name="connsiteX5" fmla="*/ 38109 w 52808"/>
                  <a:gd name="connsiteY5" fmla="*/ 1630 h 56924"/>
                  <a:gd name="connsiteX6" fmla="*/ 52809 w 52808"/>
                  <a:gd name="connsiteY6" fmla="*/ 18010 h 56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08" h="56924">
                    <a:moveTo>
                      <a:pt x="52809" y="18010"/>
                    </a:moveTo>
                    <a:cubicBezTo>
                      <a:pt x="43569" y="31449"/>
                      <a:pt x="36009" y="44469"/>
                      <a:pt x="26350" y="55388"/>
                    </a:cubicBezTo>
                    <a:cubicBezTo>
                      <a:pt x="23830" y="58328"/>
                      <a:pt x="13330" y="56648"/>
                      <a:pt x="8711" y="53708"/>
                    </a:cubicBezTo>
                    <a:cubicBezTo>
                      <a:pt x="4091" y="50348"/>
                      <a:pt x="-1369" y="41529"/>
                      <a:pt x="311" y="37329"/>
                    </a:cubicBezTo>
                    <a:cubicBezTo>
                      <a:pt x="5351" y="25150"/>
                      <a:pt x="12070" y="12970"/>
                      <a:pt x="20470" y="2470"/>
                    </a:cubicBezTo>
                    <a:cubicBezTo>
                      <a:pt x="22990" y="-889"/>
                      <a:pt x="33070" y="-469"/>
                      <a:pt x="38109" y="1630"/>
                    </a:cubicBezTo>
                    <a:cubicBezTo>
                      <a:pt x="43989" y="4570"/>
                      <a:pt x="47349" y="11290"/>
                      <a:pt x="52809" y="180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EDD0D061-1065-C4B9-368A-6D9C54C98F4D}"/>
                  </a:ext>
                </a:extLst>
              </p:cNvPr>
              <p:cNvSpPr/>
              <p:nvPr/>
            </p:nvSpPr>
            <p:spPr>
              <a:xfrm>
                <a:off x="4952810" y="3534567"/>
                <a:ext cx="48658" cy="61126"/>
              </a:xfrm>
              <a:custGeom>
                <a:avLst/>
                <a:gdLst>
                  <a:gd name="connsiteX0" fmla="*/ 40531 w 48658"/>
                  <a:gd name="connsiteY0" fmla="*/ 0 h 61126"/>
                  <a:gd name="connsiteX1" fmla="*/ 48510 w 48658"/>
                  <a:gd name="connsiteY1" fmla="*/ 13020 h 61126"/>
                  <a:gd name="connsiteX2" fmla="*/ 28351 w 48658"/>
                  <a:gd name="connsiteY2" fmla="*/ 54598 h 61126"/>
                  <a:gd name="connsiteX3" fmla="*/ 16172 w 48658"/>
                  <a:gd name="connsiteY3" fmla="*/ 60897 h 61126"/>
                  <a:gd name="connsiteX4" fmla="*/ 1052 w 48658"/>
                  <a:gd name="connsiteY4" fmla="*/ 47878 h 61126"/>
                  <a:gd name="connsiteX5" fmla="*/ 40531 w 48658"/>
                  <a:gd name="connsiteY5" fmla="*/ 0 h 6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658" h="61126">
                    <a:moveTo>
                      <a:pt x="40531" y="0"/>
                    </a:moveTo>
                    <a:cubicBezTo>
                      <a:pt x="42631" y="3360"/>
                      <a:pt x="49770" y="9660"/>
                      <a:pt x="48510" y="13020"/>
                    </a:cubicBezTo>
                    <a:cubicBezTo>
                      <a:pt x="43471" y="27299"/>
                      <a:pt x="36331" y="41158"/>
                      <a:pt x="28351" y="54598"/>
                    </a:cubicBezTo>
                    <a:cubicBezTo>
                      <a:pt x="26251" y="57958"/>
                      <a:pt x="18692" y="62158"/>
                      <a:pt x="16172" y="60897"/>
                    </a:cubicBezTo>
                    <a:cubicBezTo>
                      <a:pt x="10292" y="58378"/>
                      <a:pt x="3152" y="53338"/>
                      <a:pt x="1052" y="47878"/>
                    </a:cubicBezTo>
                    <a:cubicBezTo>
                      <a:pt x="-5247" y="30239"/>
                      <a:pt x="17852" y="420"/>
                      <a:pt x="4053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BD07ACD-FA1A-EA8F-8BD3-7E896064B2D2}"/>
                  </a:ext>
                </a:extLst>
              </p:cNvPr>
              <p:cNvSpPr/>
              <p:nvPr/>
            </p:nvSpPr>
            <p:spPr>
              <a:xfrm>
                <a:off x="5174151" y="2971039"/>
                <a:ext cx="46941" cy="60389"/>
              </a:xfrm>
              <a:custGeom>
                <a:avLst/>
                <a:gdLst>
                  <a:gd name="connsiteX0" fmla="*/ 11542 w 46941"/>
                  <a:gd name="connsiteY0" fmla="*/ 60390 h 60389"/>
                  <a:gd name="connsiteX1" fmla="*/ 202 w 46941"/>
                  <a:gd name="connsiteY1" fmla="*/ 37291 h 60389"/>
                  <a:gd name="connsiteX2" fmla="*/ 20781 w 46941"/>
                  <a:gd name="connsiteY2" fmla="*/ 3272 h 60389"/>
                  <a:gd name="connsiteX3" fmla="*/ 33801 w 46941"/>
                  <a:gd name="connsiteY3" fmla="*/ 752 h 60389"/>
                  <a:gd name="connsiteX4" fmla="*/ 46820 w 46941"/>
                  <a:gd name="connsiteY4" fmla="*/ 14612 h 60389"/>
                  <a:gd name="connsiteX5" fmla="*/ 24141 w 46941"/>
                  <a:gd name="connsiteY5" fmla="*/ 57870 h 60389"/>
                  <a:gd name="connsiteX6" fmla="*/ 11542 w 46941"/>
                  <a:gd name="connsiteY6" fmla="*/ 60390 h 60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41" h="60389">
                    <a:moveTo>
                      <a:pt x="11542" y="60390"/>
                    </a:moveTo>
                    <a:cubicBezTo>
                      <a:pt x="7762" y="53250"/>
                      <a:pt x="-1478" y="43591"/>
                      <a:pt x="202" y="37291"/>
                    </a:cubicBezTo>
                    <a:cubicBezTo>
                      <a:pt x="3562" y="25112"/>
                      <a:pt x="12802" y="13772"/>
                      <a:pt x="20781" y="3272"/>
                    </a:cubicBezTo>
                    <a:cubicBezTo>
                      <a:pt x="22881" y="332"/>
                      <a:pt x="30861" y="-927"/>
                      <a:pt x="33801" y="752"/>
                    </a:cubicBezTo>
                    <a:cubicBezTo>
                      <a:pt x="39260" y="4112"/>
                      <a:pt x="48080" y="12092"/>
                      <a:pt x="46820" y="14612"/>
                    </a:cubicBezTo>
                    <a:cubicBezTo>
                      <a:pt x="40520" y="29731"/>
                      <a:pt x="32121" y="44011"/>
                      <a:pt x="24141" y="57870"/>
                    </a:cubicBezTo>
                    <a:cubicBezTo>
                      <a:pt x="23301" y="59970"/>
                      <a:pt x="18261" y="59550"/>
                      <a:pt x="11542" y="6039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FD3B8881-E021-450E-85DA-163CA3322FF2}"/>
                  </a:ext>
                </a:extLst>
              </p:cNvPr>
              <p:cNvSpPr/>
              <p:nvPr/>
            </p:nvSpPr>
            <p:spPr>
              <a:xfrm>
                <a:off x="6165511" y="2070914"/>
                <a:ext cx="42097" cy="55753"/>
              </a:xfrm>
              <a:custGeom>
                <a:avLst/>
                <a:gdLst>
                  <a:gd name="connsiteX0" fmla="*/ 0 w 42097"/>
                  <a:gd name="connsiteY0" fmla="*/ 30675 h 55753"/>
                  <a:gd name="connsiteX1" fmla="*/ 2520 w 42097"/>
                  <a:gd name="connsiteY1" fmla="*/ 13036 h 55753"/>
                  <a:gd name="connsiteX2" fmla="*/ 21839 w 42097"/>
                  <a:gd name="connsiteY2" fmla="*/ 17 h 55753"/>
                  <a:gd name="connsiteX3" fmla="*/ 40318 w 42097"/>
                  <a:gd name="connsiteY3" fmla="*/ 13876 h 55753"/>
                  <a:gd name="connsiteX4" fmla="*/ 20579 w 42097"/>
                  <a:gd name="connsiteY4" fmla="*/ 55454 h 55753"/>
                  <a:gd name="connsiteX5" fmla="*/ 8400 w 42097"/>
                  <a:gd name="connsiteY5" fmla="*/ 50835 h 55753"/>
                  <a:gd name="connsiteX6" fmla="*/ 0 w 42097"/>
                  <a:gd name="connsiteY6" fmla="*/ 30675 h 55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097" h="55753">
                    <a:moveTo>
                      <a:pt x="0" y="30675"/>
                    </a:moveTo>
                    <a:cubicBezTo>
                      <a:pt x="840" y="22696"/>
                      <a:pt x="0" y="15976"/>
                      <a:pt x="2520" y="13036"/>
                    </a:cubicBezTo>
                    <a:cubicBezTo>
                      <a:pt x="7560" y="7156"/>
                      <a:pt x="15119" y="-403"/>
                      <a:pt x="21839" y="17"/>
                    </a:cubicBezTo>
                    <a:cubicBezTo>
                      <a:pt x="28139" y="17"/>
                      <a:pt x="37378" y="7576"/>
                      <a:pt x="40318" y="13876"/>
                    </a:cubicBezTo>
                    <a:cubicBezTo>
                      <a:pt x="46618" y="27316"/>
                      <a:pt x="35279" y="50415"/>
                      <a:pt x="20579" y="55454"/>
                    </a:cubicBezTo>
                    <a:cubicBezTo>
                      <a:pt x="17219" y="56714"/>
                      <a:pt x="10080" y="53774"/>
                      <a:pt x="8400" y="50835"/>
                    </a:cubicBezTo>
                    <a:cubicBezTo>
                      <a:pt x="3780" y="44115"/>
                      <a:pt x="1680" y="35715"/>
                      <a:pt x="0" y="3067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757C0B32-5730-C750-C4A5-59CE2205F19C}"/>
                  </a:ext>
                </a:extLst>
              </p:cNvPr>
              <p:cNvSpPr/>
              <p:nvPr/>
            </p:nvSpPr>
            <p:spPr>
              <a:xfrm>
                <a:off x="5398204" y="2280501"/>
                <a:ext cx="46198" cy="58328"/>
              </a:xfrm>
              <a:custGeom>
                <a:avLst/>
                <a:gdLst>
                  <a:gd name="connsiteX0" fmla="*/ 46198 w 46198"/>
                  <a:gd name="connsiteY0" fmla="*/ 47458 h 58328"/>
                  <a:gd name="connsiteX1" fmla="*/ 38638 w 46198"/>
                  <a:gd name="connsiteY1" fmla="*/ 57538 h 58328"/>
                  <a:gd name="connsiteX2" fmla="*/ 9240 w 46198"/>
                  <a:gd name="connsiteY2" fmla="*/ 55018 h 58328"/>
                  <a:gd name="connsiteX3" fmla="*/ 0 w 46198"/>
                  <a:gd name="connsiteY3" fmla="*/ 28559 h 58328"/>
                  <a:gd name="connsiteX4" fmla="*/ 10920 w 46198"/>
                  <a:gd name="connsiteY4" fmla="*/ 5460 h 58328"/>
                  <a:gd name="connsiteX5" fmla="*/ 19739 w 46198"/>
                  <a:gd name="connsiteY5" fmla="*/ 0 h 58328"/>
                  <a:gd name="connsiteX6" fmla="*/ 46198 w 46198"/>
                  <a:gd name="connsiteY6" fmla="*/ 47458 h 5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198" h="58328">
                    <a:moveTo>
                      <a:pt x="46198" y="47458"/>
                    </a:moveTo>
                    <a:cubicBezTo>
                      <a:pt x="42838" y="52498"/>
                      <a:pt x="40738" y="57538"/>
                      <a:pt x="38638" y="57538"/>
                    </a:cubicBezTo>
                    <a:cubicBezTo>
                      <a:pt x="28559" y="57957"/>
                      <a:pt x="15959" y="60057"/>
                      <a:pt x="9240" y="55018"/>
                    </a:cubicBezTo>
                    <a:cubicBezTo>
                      <a:pt x="2940" y="50398"/>
                      <a:pt x="0" y="37798"/>
                      <a:pt x="0" y="28559"/>
                    </a:cubicBezTo>
                    <a:cubicBezTo>
                      <a:pt x="0" y="20999"/>
                      <a:pt x="6300" y="13019"/>
                      <a:pt x="10920" y="5460"/>
                    </a:cubicBezTo>
                    <a:cubicBezTo>
                      <a:pt x="12599" y="2940"/>
                      <a:pt x="16799" y="1680"/>
                      <a:pt x="19739" y="0"/>
                    </a:cubicBezTo>
                    <a:cubicBezTo>
                      <a:pt x="28559" y="16379"/>
                      <a:pt x="37378" y="32339"/>
                      <a:pt x="46198" y="474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AB8336A7-D10E-938F-BB4A-3B9DA33C6488}"/>
                  </a:ext>
                </a:extLst>
              </p:cNvPr>
              <p:cNvSpPr/>
              <p:nvPr/>
            </p:nvSpPr>
            <p:spPr>
              <a:xfrm>
                <a:off x="6549252" y="3483487"/>
                <a:ext cx="43985" cy="59479"/>
              </a:xfrm>
              <a:custGeom>
                <a:avLst/>
                <a:gdLst>
                  <a:gd name="connsiteX0" fmla="*/ 10622 w 43985"/>
                  <a:gd name="connsiteY0" fmla="*/ 59480 h 59479"/>
                  <a:gd name="connsiteX1" fmla="*/ 122 w 43985"/>
                  <a:gd name="connsiteY1" fmla="*/ 43101 h 59479"/>
                  <a:gd name="connsiteX2" fmla="*/ 17342 w 43985"/>
                  <a:gd name="connsiteY2" fmla="*/ 6562 h 59479"/>
                  <a:gd name="connsiteX3" fmla="*/ 41700 w 43985"/>
                  <a:gd name="connsiteY3" fmla="*/ 8662 h 59479"/>
                  <a:gd name="connsiteX4" fmla="*/ 10622 w 43985"/>
                  <a:gd name="connsiteY4" fmla="*/ 59480 h 5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985" h="59479">
                    <a:moveTo>
                      <a:pt x="10622" y="59480"/>
                    </a:moveTo>
                    <a:cubicBezTo>
                      <a:pt x="7682" y="55280"/>
                      <a:pt x="-1138" y="47720"/>
                      <a:pt x="122" y="43101"/>
                    </a:cubicBezTo>
                    <a:cubicBezTo>
                      <a:pt x="3482" y="30501"/>
                      <a:pt x="10622" y="18322"/>
                      <a:pt x="17342" y="6562"/>
                    </a:cubicBezTo>
                    <a:cubicBezTo>
                      <a:pt x="23221" y="-3097"/>
                      <a:pt x="35821" y="-1838"/>
                      <a:pt x="41700" y="8662"/>
                    </a:cubicBezTo>
                    <a:cubicBezTo>
                      <a:pt x="50520" y="25461"/>
                      <a:pt x="32461" y="58640"/>
                      <a:pt x="10622" y="594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21A2FB2-1D4D-1C87-B758-FF4AD163780F}"/>
                  </a:ext>
                </a:extLst>
              </p:cNvPr>
              <p:cNvSpPr/>
              <p:nvPr/>
            </p:nvSpPr>
            <p:spPr>
              <a:xfrm>
                <a:off x="5972685" y="1693204"/>
                <a:ext cx="43712" cy="58540"/>
              </a:xfrm>
              <a:custGeom>
                <a:avLst/>
                <a:gdLst>
                  <a:gd name="connsiteX0" fmla="*/ 11813 w 43712"/>
                  <a:gd name="connsiteY0" fmla="*/ 58540 h 58540"/>
                  <a:gd name="connsiteX1" fmla="*/ 54 w 43712"/>
                  <a:gd name="connsiteY1" fmla="*/ 46781 h 58540"/>
                  <a:gd name="connsiteX2" fmla="*/ 25673 w 43712"/>
                  <a:gd name="connsiteY2" fmla="*/ 163 h 58540"/>
                  <a:gd name="connsiteX3" fmla="*/ 38272 w 43712"/>
                  <a:gd name="connsiteY3" fmla="*/ 5203 h 58540"/>
                  <a:gd name="connsiteX4" fmla="*/ 42892 w 43712"/>
                  <a:gd name="connsiteY4" fmla="*/ 27042 h 58540"/>
                  <a:gd name="connsiteX5" fmla="*/ 11813 w 43712"/>
                  <a:gd name="connsiteY5" fmla="*/ 58540 h 58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712" h="58540">
                    <a:moveTo>
                      <a:pt x="11813" y="58540"/>
                    </a:moveTo>
                    <a:cubicBezTo>
                      <a:pt x="8453" y="55600"/>
                      <a:pt x="-786" y="48881"/>
                      <a:pt x="54" y="46781"/>
                    </a:cubicBezTo>
                    <a:cubicBezTo>
                      <a:pt x="7193" y="30821"/>
                      <a:pt x="16433" y="15282"/>
                      <a:pt x="25673" y="163"/>
                    </a:cubicBezTo>
                    <a:cubicBezTo>
                      <a:pt x="26093" y="-677"/>
                      <a:pt x="36592" y="1843"/>
                      <a:pt x="38272" y="5203"/>
                    </a:cubicBezTo>
                    <a:cubicBezTo>
                      <a:pt x="41632" y="11922"/>
                      <a:pt x="45412" y="21582"/>
                      <a:pt x="42892" y="27042"/>
                    </a:cubicBezTo>
                    <a:cubicBezTo>
                      <a:pt x="36592" y="39221"/>
                      <a:pt x="34912" y="57700"/>
                      <a:pt x="11813" y="585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63ABB162-C85A-44C5-B49E-172CB8ABE846}"/>
                  </a:ext>
                </a:extLst>
              </p:cNvPr>
              <p:cNvSpPr/>
              <p:nvPr/>
            </p:nvSpPr>
            <p:spPr>
              <a:xfrm>
                <a:off x="6177358" y="3179263"/>
                <a:ext cx="50730" cy="52171"/>
              </a:xfrm>
              <a:custGeom>
                <a:avLst/>
                <a:gdLst>
                  <a:gd name="connsiteX0" fmla="*/ 50730 w 50730"/>
                  <a:gd name="connsiteY0" fmla="*/ 11340 h 52171"/>
                  <a:gd name="connsiteX1" fmla="*/ 41071 w 50730"/>
                  <a:gd name="connsiteY1" fmla="*/ 33599 h 52171"/>
                  <a:gd name="connsiteX2" fmla="*/ 7472 w 50730"/>
                  <a:gd name="connsiteY2" fmla="*/ 50818 h 52171"/>
                  <a:gd name="connsiteX3" fmla="*/ 333 w 50730"/>
                  <a:gd name="connsiteY3" fmla="*/ 34018 h 52171"/>
                  <a:gd name="connsiteX4" fmla="*/ 25532 w 50730"/>
                  <a:gd name="connsiteY4" fmla="*/ 0 h 52171"/>
                  <a:gd name="connsiteX5" fmla="*/ 50730 w 50730"/>
                  <a:gd name="connsiteY5" fmla="*/ 11340 h 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30" h="52171">
                    <a:moveTo>
                      <a:pt x="50730" y="11340"/>
                    </a:moveTo>
                    <a:cubicBezTo>
                      <a:pt x="46531" y="20999"/>
                      <a:pt x="44011" y="27299"/>
                      <a:pt x="41071" y="33599"/>
                    </a:cubicBezTo>
                    <a:cubicBezTo>
                      <a:pt x="34351" y="47878"/>
                      <a:pt x="23012" y="55438"/>
                      <a:pt x="7472" y="50818"/>
                    </a:cubicBezTo>
                    <a:cubicBezTo>
                      <a:pt x="3692" y="49558"/>
                      <a:pt x="-1347" y="38218"/>
                      <a:pt x="333" y="34018"/>
                    </a:cubicBezTo>
                    <a:cubicBezTo>
                      <a:pt x="5792" y="20999"/>
                      <a:pt x="4532" y="0"/>
                      <a:pt x="25532" y="0"/>
                    </a:cubicBezTo>
                    <a:cubicBezTo>
                      <a:pt x="34351" y="0"/>
                      <a:pt x="42751" y="7560"/>
                      <a:pt x="50730" y="113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1A148725-728E-86D3-0BA1-FABE829A4AB6}"/>
                  </a:ext>
                </a:extLst>
              </p:cNvPr>
              <p:cNvSpPr/>
              <p:nvPr/>
            </p:nvSpPr>
            <p:spPr>
              <a:xfrm>
                <a:off x="5624306" y="3443432"/>
                <a:ext cx="37281" cy="66776"/>
              </a:xfrm>
              <a:custGeom>
                <a:avLst/>
                <a:gdLst>
                  <a:gd name="connsiteX0" fmla="*/ 7408 w 37281"/>
                  <a:gd name="connsiteY0" fmla="*/ 66777 h 66776"/>
                  <a:gd name="connsiteX1" fmla="*/ 688 w 37281"/>
                  <a:gd name="connsiteY1" fmla="*/ 55858 h 66776"/>
                  <a:gd name="connsiteX2" fmla="*/ 1528 w 37281"/>
                  <a:gd name="connsiteY2" fmla="*/ 20999 h 66776"/>
                  <a:gd name="connsiteX3" fmla="*/ 14128 w 37281"/>
                  <a:gd name="connsiteY3" fmla="*/ 0 h 66776"/>
                  <a:gd name="connsiteX4" fmla="*/ 35967 w 37281"/>
                  <a:gd name="connsiteY4" fmla="*/ 21419 h 66776"/>
                  <a:gd name="connsiteX5" fmla="*/ 15808 w 37281"/>
                  <a:gd name="connsiteY5" fmla="*/ 65517 h 66776"/>
                  <a:gd name="connsiteX6" fmla="*/ 7408 w 37281"/>
                  <a:gd name="connsiteY6" fmla="*/ 66777 h 66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81" h="66776">
                    <a:moveTo>
                      <a:pt x="7408" y="66777"/>
                    </a:moveTo>
                    <a:cubicBezTo>
                      <a:pt x="6148" y="64677"/>
                      <a:pt x="1108" y="60477"/>
                      <a:pt x="688" y="55858"/>
                    </a:cubicBezTo>
                    <a:cubicBezTo>
                      <a:pt x="-152" y="44098"/>
                      <a:pt x="-572" y="32338"/>
                      <a:pt x="1528" y="20999"/>
                    </a:cubicBezTo>
                    <a:cubicBezTo>
                      <a:pt x="3208" y="13439"/>
                      <a:pt x="9928" y="7139"/>
                      <a:pt x="14128" y="0"/>
                    </a:cubicBezTo>
                    <a:cubicBezTo>
                      <a:pt x="21687" y="7139"/>
                      <a:pt x="30927" y="13019"/>
                      <a:pt x="35967" y="21419"/>
                    </a:cubicBezTo>
                    <a:cubicBezTo>
                      <a:pt x="41846" y="30659"/>
                      <a:pt x="26727" y="60057"/>
                      <a:pt x="15808" y="65517"/>
                    </a:cubicBezTo>
                    <a:cubicBezTo>
                      <a:pt x="14548" y="65937"/>
                      <a:pt x="12868" y="65937"/>
                      <a:pt x="7408" y="6677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D15AC889-CE95-2338-2ACA-F95377721AD8}"/>
                  </a:ext>
                </a:extLst>
              </p:cNvPr>
              <p:cNvSpPr/>
              <p:nvPr/>
            </p:nvSpPr>
            <p:spPr>
              <a:xfrm>
                <a:off x="5118916" y="2308783"/>
                <a:ext cx="52629" cy="50749"/>
              </a:xfrm>
              <a:custGeom>
                <a:avLst/>
                <a:gdLst>
                  <a:gd name="connsiteX0" fmla="*/ 0 w 52629"/>
                  <a:gd name="connsiteY0" fmla="*/ 38076 h 50749"/>
                  <a:gd name="connsiteX1" fmla="*/ 23939 w 52629"/>
                  <a:gd name="connsiteY1" fmla="*/ 3637 h 50749"/>
                  <a:gd name="connsiteX2" fmla="*/ 49138 w 52629"/>
                  <a:gd name="connsiteY2" fmla="*/ 12037 h 50749"/>
                  <a:gd name="connsiteX3" fmla="*/ 38219 w 52629"/>
                  <a:gd name="connsiteY3" fmla="*/ 47315 h 50749"/>
                  <a:gd name="connsiteX4" fmla="*/ 6300 w 52629"/>
                  <a:gd name="connsiteY4" fmla="*/ 49415 h 50749"/>
                  <a:gd name="connsiteX5" fmla="*/ 0 w 52629"/>
                  <a:gd name="connsiteY5" fmla="*/ 38076 h 50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629" h="50749">
                    <a:moveTo>
                      <a:pt x="0" y="38076"/>
                    </a:moveTo>
                    <a:cubicBezTo>
                      <a:pt x="7140" y="27156"/>
                      <a:pt x="13859" y="13297"/>
                      <a:pt x="23939" y="3637"/>
                    </a:cubicBezTo>
                    <a:cubicBezTo>
                      <a:pt x="33179" y="-4763"/>
                      <a:pt x="43258" y="2797"/>
                      <a:pt x="49138" y="12037"/>
                    </a:cubicBezTo>
                    <a:cubicBezTo>
                      <a:pt x="59218" y="27156"/>
                      <a:pt x="44938" y="38916"/>
                      <a:pt x="38219" y="47315"/>
                    </a:cubicBezTo>
                    <a:cubicBezTo>
                      <a:pt x="33599" y="53195"/>
                      <a:pt x="17219" y="49835"/>
                      <a:pt x="6300" y="49415"/>
                    </a:cubicBezTo>
                    <a:cubicBezTo>
                      <a:pt x="4620" y="48995"/>
                      <a:pt x="2940" y="43955"/>
                      <a:pt x="0" y="3807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91E3CACC-FE18-8878-04DE-62A418B989F3}"/>
                  </a:ext>
                </a:extLst>
              </p:cNvPr>
              <p:cNvSpPr/>
              <p:nvPr/>
            </p:nvSpPr>
            <p:spPr>
              <a:xfrm>
                <a:off x="4962238" y="2570701"/>
                <a:ext cx="49864" cy="51993"/>
              </a:xfrm>
              <a:custGeom>
                <a:avLst/>
                <a:gdLst>
                  <a:gd name="connsiteX0" fmla="*/ 43283 w 49864"/>
                  <a:gd name="connsiteY0" fmla="*/ 8 h 51993"/>
                  <a:gd name="connsiteX1" fmla="*/ 49582 w 49864"/>
                  <a:gd name="connsiteY1" fmla="*/ 13867 h 51993"/>
                  <a:gd name="connsiteX2" fmla="*/ 28163 w 49864"/>
                  <a:gd name="connsiteY2" fmla="*/ 48726 h 51993"/>
                  <a:gd name="connsiteX3" fmla="*/ 9264 w 49864"/>
                  <a:gd name="connsiteY3" fmla="*/ 50406 h 51993"/>
                  <a:gd name="connsiteX4" fmla="*/ 25 w 49864"/>
                  <a:gd name="connsiteY4" fmla="*/ 34026 h 51993"/>
                  <a:gd name="connsiteX5" fmla="*/ 43283 w 49864"/>
                  <a:gd name="connsiteY5" fmla="*/ 8 h 51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864" h="51993">
                    <a:moveTo>
                      <a:pt x="43283" y="8"/>
                    </a:moveTo>
                    <a:cubicBezTo>
                      <a:pt x="44963" y="3368"/>
                      <a:pt x="51262" y="10507"/>
                      <a:pt x="49582" y="13867"/>
                    </a:cubicBezTo>
                    <a:cubicBezTo>
                      <a:pt x="44123" y="26047"/>
                      <a:pt x="36983" y="38226"/>
                      <a:pt x="28163" y="48726"/>
                    </a:cubicBezTo>
                    <a:cubicBezTo>
                      <a:pt x="25223" y="52505"/>
                      <a:pt x="14304" y="52926"/>
                      <a:pt x="9264" y="50406"/>
                    </a:cubicBezTo>
                    <a:cubicBezTo>
                      <a:pt x="4644" y="47886"/>
                      <a:pt x="-395" y="39906"/>
                      <a:pt x="25" y="34026"/>
                    </a:cubicBezTo>
                    <a:cubicBezTo>
                      <a:pt x="1284" y="16387"/>
                      <a:pt x="21444" y="-412"/>
                      <a:pt x="43283" y="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38A2C93-B913-69BE-40AA-66591DC6F09A}"/>
                  </a:ext>
                </a:extLst>
              </p:cNvPr>
              <p:cNvSpPr/>
              <p:nvPr/>
            </p:nvSpPr>
            <p:spPr>
              <a:xfrm>
                <a:off x="6165426" y="3240914"/>
                <a:ext cx="38866" cy="61682"/>
              </a:xfrm>
              <a:custGeom>
                <a:avLst/>
                <a:gdLst>
                  <a:gd name="connsiteX0" fmla="*/ 23603 w 38866"/>
                  <a:gd name="connsiteY0" fmla="*/ 926 h 61682"/>
                  <a:gd name="connsiteX1" fmla="*/ 31163 w 38866"/>
                  <a:gd name="connsiteY1" fmla="*/ 6805 h 61682"/>
                  <a:gd name="connsiteX2" fmla="*/ 34103 w 38866"/>
                  <a:gd name="connsiteY2" fmla="*/ 39564 h 61682"/>
                  <a:gd name="connsiteX3" fmla="*/ 9744 w 38866"/>
                  <a:gd name="connsiteY3" fmla="*/ 61403 h 61682"/>
                  <a:gd name="connsiteX4" fmla="*/ 924 w 38866"/>
                  <a:gd name="connsiteY4" fmla="*/ 45444 h 61682"/>
                  <a:gd name="connsiteX5" fmla="*/ 18144 w 38866"/>
                  <a:gd name="connsiteY5" fmla="*/ 86 h 61682"/>
                  <a:gd name="connsiteX6" fmla="*/ 23603 w 38866"/>
                  <a:gd name="connsiteY6" fmla="*/ 926 h 6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866" h="61682">
                    <a:moveTo>
                      <a:pt x="23603" y="926"/>
                    </a:moveTo>
                    <a:cubicBezTo>
                      <a:pt x="26123" y="3026"/>
                      <a:pt x="29903" y="4286"/>
                      <a:pt x="31163" y="6805"/>
                    </a:cubicBezTo>
                    <a:cubicBezTo>
                      <a:pt x="36623" y="16885"/>
                      <a:pt x="43763" y="26545"/>
                      <a:pt x="34103" y="39564"/>
                    </a:cubicBezTo>
                    <a:cubicBezTo>
                      <a:pt x="26963" y="48804"/>
                      <a:pt x="25703" y="63923"/>
                      <a:pt x="9744" y="61403"/>
                    </a:cubicBezTo>
                    <a:cubicBezTo>
                      <a:pt x="5964" y="60983"/>
                      <a:pt x="1764" y="51324"/>
                      <a:pt x="924" y="45444"/>
                    </a:cubicBezTo>
                    <a:cubicBezTo>
                      <a:pt x="-1596" y="27804"/>
                      <a:pt x="84" y="10585"/>
                      <a:pt x="18144" y="86"/>
                    </a:cubicBezTo>
                    <a:cubicBezTo>
                      <a:pt x="19403" y="-334"/>
                      <a:pt x="21924" y="926"/>
                      <a:pt x="23603" y="92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E479985-9C28-2DD0-7FC4-624D9A9A3B99}"/>
                  </a:ext>
                </a:extLst>
              </p:cNvPr>
              <p:cNvSpPr/>
              <p:nvPr/>
            </p:nvSpPr>
            <p:spPr>
              <a:xfrm>
                <a:off x="6647630" y="2583652"/>
                <a:ext cx="41250" cy="58873"/>
              </a:xfrm>
              <a:custGeom>
                <a:avLst/>
                <a:gdLst>
                  <a:gd name="connsiteX0" fmla="*/ 10520 w 41250"/>
                  <a:gd name="connsiteY0" fmla="*/ 58874 h 58873"/>
                  <a:gd name="connsiteX1" fmla="*/ 5900 w 41250"/>
                  <a:gd name="connsiteY1" fmla="*/ 57194 h 58873"/>
                  <a:gd name="connsiteX2" fmla="*/ 21019 w 41250"/>
                  <a:gd name="connsiteY2" fmla="*/ 76 h 58873"/>
                  <a:gd name="connsiteX3" fmla="*/ 41178 w 41250"/>
                  <a:gd name="connsiteY3" fmla="*/ 16876 h 58873"/>
                  <a:gd name="connsiteX4" fmla="*/ 19759 w 41250"/>
                  <a:gd name="connsiteY4" fmla="*/ 56774 h 58873"/>
                  <a:gd name="connsiteX5" fmla="*/ 10520 w 41250"/>
                  <a:gd name="connsiteY5" fmla="*/ 58874 h 58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250" h="58873">
                    <a:moveTo>
                      <a:pt x="10520" y="58874"/>
                    </a:moveTo>
                    <a:cubicBezTo>
                      <a:pt x="8840" y="58454"/>
                      <a:pt x="7160" y="58034"/>
                      <a:pt x="5900" y="57194"/>
                    </a:cubicBezTo>
                    <a:cubicBezTo>
                      <a:pt x="-7120" y="45014"/>
                      <a:pt x="2960" y="3436"/>
                      <a:pt x="21019" y="76"/>
                    </a:cubicBezTo>
                    <a:cubicBezTo>
                      <a:pt x="26899" y="-1184"/>
                      <a:pt x="42439" y="13516"/>
                      <a:pt x="41178" y="16876"/>
                    </a:cubicBezTo>
                    <a:cubicBezTo>
                      <a:pt x="36979" y="31155"/>
                      <a:pt x="27739" y="43754"/>
                      <a:pt x="19759" y="56774"/>
                    </a:cubicBezTo>
                    <a:cubicBezTo>
                      <a:pt x="18919" y="58454"/>
                      <a:pt x="13880" y="58034"/>
                      <a:pt x="10520" y="5887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4B61F857-1BC9-43AE-5D0C-9A286F8538A5}"/>
                  </a:ext>
                </a:extLst>
              </p:cNvPr>
              <p:cNvSpPr/>
              <p:nvPr/>
            </p:nvSpPr>
            <p:spPr>
              <a:xfrm>
                <a:off x="6622005" y="2467640"/>
                <a:ext cx="52524" cy="50277"/>
              </a:xfrm>
              <a:custGeom>
                <a:avLst/>
                <a:gdLst>
                  <a:gd name="connsiteX0" fmla="*/ 52524 w 52524"/>
                  <a:gd name="connsiteY0" fmla="*/ 17392 h 50277"/>
                  <a:gd name="connsiteX1" fmla="*/ 21026 w 52524"/>
                  <a:gd name="connsiteY1" fmla="*/ 50151 h 50277"/>
                  <a:gd name="connsiteX2" fmla="*/ 27 w 52524"/>
                  <a:gd name="connsiteY2" fmla="*/ 35032 h 50277"/>
                  <a:gd name="connsiteX3" fmla="*/ 25645 w 52524"/>
                  <a:gd name="connsiteY3" fmla="*/ 173 h 50277"/>
                  <a:gd name="connsiteX4" fmla="*/ 52524 w 52524"/>
                  <a:gd name="connsiteY4" fmla="*/ 17392 h 50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524" h="50277">
                    <a:moveTo>
                      <a:pt x="52524" y="17392"/>
                    </a:moveTo>
                    <a:cubicBezTo>
                      <a:pt x="40345" y="30412"/>
                      <a:pt x="31945" y="42171"/>
                      <a:pt x="21026" y="50151"/>
                    </a:cubicBezTo>
                    <a:cubicBezTo>
                      <a:pt x="18506" y="51831"/>
                      <a:pt x="-813" y="36291"/>
                      <a:pt x="27" y="35032"/>
                    </a:cubicBezTo>
                    <a:cubicBezTo>
                      <a:pt x="6746" y="22432"/>
                      <a:pt x="15566" y="10253"/>
                      <a:pt x="25645" y="173"/>
                    </a:cubicBezTo>
                    <a:cubicBezTo>
                      <a:pt x="26905" y="-1507"/>
                      <a:pt x="39925" y="9413"/>
                      <a:pt x="52524" y="173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84AC4F9-474D-1C70-A6A0-6F0288D42299}"/>
                  </a:ext>
                </a:extLst>
              </p:cNvPr>
              <p:cNvSpPr/>
              <p:nvPr/>
            </p:nvSpPr>
            <p:spPr>
              <a:xfrm>
                <a:off x="5383294" y="3054528"/>
                <a:ext cx="44728" cy="57863"/>
              </a:xfrm>
              <a:custGeom>
                <a:avLst/>
                <a:gdLst>
                  <a:gd name="connsiteX0" fmla="*/ 44729 w 44728"/>
                  <a:gd name="connsiteY0" fmla="*/ 26879 h 57863"/>
                  <a:gd name="connsiteX1" fmla="*/ 25829 w 44728"/>
                  <a:gd name="connsiteY1" fmla="*/ 55858 h 57863"/>
                  <a:gd name="connsiteX2" fmla="*/ 8190 w 44728"/>
                  <a:gd name="connsiteY2" fmla="*/ 55438 h 57863"/>
                  <a:gd name="connsiteX3" fmla="*/ 210 w 44728"/>
                  <a:gd name="connsiteY3" fmla="*/ 38638 h 57863"/>
                  <a:gd name="connsiteX4" fmla="*/ 13650 w 44728"/>
                  <a:gd name="connsiteY4" fmla="*/ 17219 h 57863"/>
                  <a:gd name="connsiteX5" fmla="*/ 29189 w 44728"/>
                  <a:gd name="connsiteY5" fmla="*/ 0 h 57863"/>
                  <a:gd name="connsiteX6" fmla="*/ 44729 w 44728"/>
                  <a:gd name="connsiteY6" fmla="*/ 26879 h 5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728" h="57863">
                    <a:moveTo>
                      <a:pt x="44729" y="26879"/>
                    </a:moveTo>
                    <a:cubicBezTo>
                      <a:pt x="38429" y="37378"/>
                      <a:pt x="33389" y="47878"/>
                      <a:pt x="25829" y="55858"/>
                    </a:cubicBezTo>
                    <a:cubicBezTo>
                      <a:pt x="22889" y="58797"/>
                      <a:pt x="12390" y="58378"/>
                      <a:pt x="8190" y="55438"/>
                    </a:cubicBezTo>
                    <a:cubicBezTo>
                      <a:pt x="3570" y="52078"/>
                      <a:pt x="-1050" y="43678"/>
                      <a:pt x="210" y="38638"/>
                    </a:cubicBezTo>
                    <a:cubicBezTo>
                      <a:pt x="1890" y="30659"/>
                      <a:pt x="8190" y="23939"/>
                      <a:pt x="13650" y="17219"/>
                    </a:cubicBezTo>
                    <a:cubicBezTo>
                      <a:pt x="18270" y="11340"/>
                      <a:pt x="24149" y="5880"/>
                      <a:pt x="29189" y="0"/>
                    </a:cubicBezTo>
                    <a:cubicBezTo>
                      <a:pt x="33809" y="7980"/>
                      <a:pt x="38429" y="15959"/>
                      <a:pt x="44729" y="2687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7CCB4F1E-A352-D7C5-DBD1-678516D18AEB}"/>
                  </a:ext>
                </a:extLst>
              </p:cNvPr>
              <p:cNvSpPr/>
              <p:nvPr/>
            </p:nvSpPr>
            <p:spPr>
              <a:xfrm>
                <a:off x="5000286" y="2687402"/>
                <a:ext cx="42810" cy="58019"/>
              </a:xfrm>
              <a:custGeom>
                <a:avLst/>
                <a:gdLst>
                  <a:gd name="connsiteX0" fmla="*/ 17414 w 42810"/>
                  <a:gd name="connsiteY0" fmla="*/ 58019 h 58019"/>
                  <a:gd name="connsiteX1" fmla="*/ 1455 w 42810"/>
                  <a:gd name="connsiteY1" fmla="*/ 26941 h 58019"/>
                  <a:gd name="connsiteX2" fmla="*/ 15734 w 42810"/>
                  <a:gd name="connsiteY2" fmla="*/ 5522 h 58019"/>
                  <a:gd name="connsiteX3" fmla="*/ 41353 w 42810"/>
                  <a:gd name="connsiteY3" fmla="*/ 9301 h 58019"/>
                  <a:gd name="connsiteX4" fmla="*/ 22034 w 42810"/>
                  <a:gd name="connsiteY4" fmla="*/ 57599 h 58019"/>
                  <a:gd name="connsiteX5" fmla="*/ 17414 w 42810"/>
                  <a:gd name="connsiteY5" fmla="*/ 58019 h 58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810" h="58019">
                    <a:moveTo>
                      <a:pt x="17414" y="58019"/>
                    </a:moveTo>
                    <a:cubicBezTo>
                      <a:pt x="6915" y="56759"/>
                      <a:pt x="-4005" y="36180"/>
                      <a:pt x="1455" y="26941"/>
                    </a:cubicBezTo>
                    <a:cubicBezTo>
                      <a:pt x="6075" y="19801"/>
                      <a:pt x="10274" y="12241"/>
                      <a:pt x="15734" y="5522"/>
                    </a:cubicBezTo>
                    <a:cubicBezTo>
                      <a:pt x="22874" y="-3298"/>
                      <a:pt x="35893" y="-1198"/>
                      <a:pt x="41353" y="9301"/>
                    </a:cubicBezTo>
                    <a:cubicBezTo>
                      <a:pt x="47233" y="20641"/>
                      <a:pt x="34213" y="52979"/>
                      <a:pt x="22034" y="57599"/>
                    </a:cubicBezTo>
                    <a:cubicBezTo>
                      <a:pt x="20774" y="57599"/>
                      <a:pt x="19094" y="57599"/>
                      <a:pt x="17414" y="580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1976FADD-C7F9-CFB6-2584-975BD9BEA284}"/>
                  </a:ext>
                </a:extLst>
              </p:cNvPr>
              <p:cNvSpPr/>
              <p:nvPr/>
            </p:nvSpPr>
            <p:spPr>
              <a:xfrm>
                <a:off x="5087512" y="3338140"/>
                <a:ext cx="51982" cy="51147"/>
              </a:xfrm>
              <a:custGeom>
                <a:avLst/>
                <a:gdLst>
                  <a:gd name="connsiteX0" fmla="*/ 51983 w 51982"/>
                  <a:gd name="connsiteY0" fmla="*/ 7855 h 51147"/>
                  <a:gd name="connsiteX1" fmla="*/ 37703 w 51982"/>
                  <a:gd name="connsiteY1" fmla="*/ 38094 h 51147"/>
                  <a:gd name="connsiteX2" fmla="*/ 7465 w 51982"/>
                  <a:gd name="connsiteY2" fmla="*/ 47754 h 51147"/>
                  <a:gd name="connsiteX3" fmla="*/ 7885 w 51982"/>
                  <a:gd name="connsiteY3" fmla="*/ 17095 h 51147"/>
                  <a:gd name="connsiteX4" fmla="*/ 25524 w 51982"/>
                  <a:gd name="connsiteY4" fmla="*/ 296 h 51147"/>
                  <a:gd name="connsiteX5" fmla="*/ 51983 w 51982"/>
                  <a:gd name="connsiteY5" fmla="*/ 7855 h 5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982" h="51147">
                    <a:moveTo>
                      <a:pt x="51983" y="7855"/>
                    </a:moveTo>
                    <a:cubicBezTo>
                      <a:pt x="46103" y="20455"/>
                      <a:pt x="42743" y="29694"/>
                      <a:pt x="37703" y="38094"/>
                    </a:cubicBezTo>
                    <a:cubicBezTo>
                      <a:pt x="30564" y="49433"/>
                      <a:pt x="18384" y="55313"/>
                      <a:pt x="7465" y="47754"/>
                    </a:cubicBezTo>
                    <a:cubicBezTo>
                      <a:pt x="-4715" y="39354"/>
                      <a:pt x="-95" y="26754"/>
                      <a:pt x="7885" y="17095"/>
                    </a:cubicBezTo>
                    <a:cubicBezTo>
                      <a:pt x="13344" y="10795"/>
                      <a:pt x="18804" y="1556"/>
                      <a:pt x="25524" y="296"/>
                    </a:cubicBezTo>
                    <a:cubicBezTo>
                      <a:pt x="33084" y="-1384"/>
                      <a:pt x="42323" y="4495"/>
                      <a:pt x="51983" y="78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B6A8B60F-D7CB-9172-561D-239AC58BEC1D}"/>
                  </a:ext>
                </a:extLst>
              </p:cNvPr>
              <p:cNvSpPr/>
              <p:nvPr/>
            </p:nvSpPr>
            <p:spPr>
              <a:xfrm>
                <a:off x="6726792" y="2236728"/>
                <a:ext cx="48113" cy="58519"/>
              </a:xfrm>
              <a:custGeom>
                <a:avLst/>
                <a:gdLst>
                  <a:gd name="connsiteX0" fmla="*/ 47273 w 48113"/>
                  <a:gd name="connsiteY0" fmla="*/ 8495 h 58519"/>
                  <a:gd name="connsiteX1" fmla="*/ 28794 w 48113"/>
                  <a:gd name="connsiteY1" fmla="*/ 48814 h 58519"/>
                  <a:gd name="connsiteX2" fmla="*/ 3175 w 48113"/>
                  <a:gd name="connsiteY2" fmla="*/ 52593 h 58519"/>
                  <a:gd name="connsiteX3" fmla="*/ 1075 w 48113"/>
                  <a:gd name="connsiteY3" fmla="*/ 30754 h 58519"/>
                  <a:gd name="connsiteX4" fmla="*/ 12835 w 48113"/>
                  <a:gd name="connsiteY4" fmla="*/ 14375 h 58519"/>
                  <a:gd name="connsiteX5" fmla="*/ 48113 w 48113"/>
                  <a:gd name="connsiteY5" fmla="*/ 9335 h 58519"/>
                  <a:gd name="connsiteX6" fmla="*/ 47273 w 48113"/>
                  <a:gd name="connsiteY6" fmla="*/ 8495 h 5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113" h="58519">
                    <a:moveTo>
                      <a:pt x="47273" y="8495"/>
                    </a:moveTo>
                    <a:cubicBezTo>
                      <a:pt x="41393" y="22355"/>
                      <a:pt x="37613" y="37054"/>
                      <a:pt x="28794" y="48814"/>
                    </a:cubicBezTo>
                    <a:cubicBezTo>
                      <a:pt x="25014" y="53853"/>
                      <a:pt x="12415" y="65613"/>
                      <a:pt x="3175" y="52593"/>
                    </a:cubicBezTo>
                    <a:cubicBezTo>
                      <a:pt x="-605" y="47554"/>
                      <a:pt x="-605" y="37894"/>
                      <a:pt x="1075" y="30754"/>
                    </a:cubicBezTo>
                    <a:cubicBezTo>
                      <a:pt x="2755" y="24875"/>
                      <a:pt x="10735" y="20255"/>
                      <a:pt x="12835" y="14375"/>
                    </a:cubicBezTo>
                    <a:cubicBezTo>
                      <a:pt x="22074" y="-10404"/>
                      <a:pt x="35514" y="3035"/>
                      <a:pt x="48113" y="9335"/>
                    </a:cubicBezTo>
                    <a:lnTo>
                      <a:pt x="47273" y="8495"/>
                    </a:ln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F87138F-142F-5458-BD70-ED6E483C79A1}"/>
                  </a:ext>
                </a:extLst>
              </p:cNvPr>
              <p:cNvSpPr/>
              <p:nvPr/>
            </p:nvSpPr>
            <p:spPr>
              <a:xfrm>
                <a:off x="5160629" y="3219773"/>
                <a:ext cx="42283" cy="52775"/>
              </a:xfrm>
              <a:custGeom>
                <a:avLst/>
                <a:gdLst>
                  <a:gd name="connsiteX0" fmla="*/ 42284 w 42283"/>
                  <a:gd name="connsiteY0" fmla="*/ 10308 h 52775"/>
                  <a:gd name="connsiteX1" fmla="*/ 15825 w 42283"/>
                  <a:gd name="connsiteY1" fmla="*/ 52726 h 52775"/>
                  <a:gd name="connsiteX2" fmla="*/ 285 w 42283"/>
                  <a:gd name="connsiteY2" fmla="*/ 32567 h 52775"/>
                  <a:gd name="connsiteX3" fmla="*/ 30524 w 42283"/>
                  <a:gd name="connsiteY3" fmla="*/ 648 h 52775"/>
                  <a:gd name="connsiteX4" fmla="*/ 42284 w 42283"/>
                  <a:gd name="connsiteY4" fmla="*/ 10308 h 52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83" h="52775">
                    <a:moveTo>
                      <a:pt x="42284" y="10308"/>
                    </a:moveTo>
                    <a:cubicBezTo>
                      <a:pt x="41444" y="32147"/>
                      <a:pt x="28424" y="52306"/>
                      <a:pt x="15825" y="52726"/>
                    </a:cubicBezTo>
                    <a:cubicBezTo>
                      <a:pt x="1545" y="53566"/>
                      <a:pt x="-975" y="43487"/>
                      <a:pt x="285" y="32567"/>
                    </a:cubicBezTo>
                    <a:cubicBezTo>
                      <a:pt x="1965" y="9888"/>
                      <a:pt x="14145" y="-3131"/>
                      <a:pt x="30524" y="648"/>
                    </a:cubicBezTo>
                    <a:cubicBezTo>
                      <a:pt x="35564" y="1908"/>
                      <a:pt x="39344" y="7788"/>
                      <a:pt x="42284" y="1030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4AEE7E07-FDB3-5C31-4520-68944C36BBBA}"/>
                  </a:ext>
                </a:extLst>
              </p:cNvPr>
              <p:cNvSpPr/>
              <p:nvPr/>
            </p:nvSpPr>
            <p:spPr>
              <a:xfrm>
                <a:off x="6587539" y="1943664"/>
                <a:ext cx="49248" cy="58389"/>
              </a:xfrm>
              <a:custGeom>
                <a:avLst/>
                <a:gdLst>
                  <a:gd name="connsiteX0" fmla="*/ 10554 w 49248"/>
                  <a:gd name="connsiteY0" fmla="*/ 58389 h 58389"/>
                  <a:gd name="connsiteX1" fmla="*/ 54 w 49248"/>
                  <a:gd name="connsiteY1" fmla="*/ 42850 h 58389"/>
                  <a:gd name="connsiteX2" fmla="*/ 37852 w 49248"/>
                  <a:gd name="connsiteY2" fmla="*/ 12 h 58389"/>
                  <a:gd name="connsiteX3" fmla="*/ 49192 w 49248"/>
                  <a:gd name="connsiteY3" fmla="*/ 11771 h 58389"/>
                  <a:gd name="connsiteX4" fmla="*/ 21473 w 49248"/>
                  <a:gd name="connsiteY4" fmla="*/ 54190 h 58389"/>
                  <a:gd name="connsiteX5" fmla="*/ 10554 w 49248"/>
                  <a:gd name="connsiteY5" fmla="*/ 58389 h 5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48" h="58389">
                    <a:moveTo>
                      <a:pt x="10554" y="58389"/>
                    </a:moveTo>
                    <a:cubicBezTo>
                      <a:pt x="7194" y="53350"/>
                      <a:pt x="474" y="48310"/>
                      <a:pt x="54" y="42850"/>
                    </a:cubicBezTo>
                    <a:cubicBezTo>
                      <a:pt x="-1206" y="26891"/>
                      <a:pt x="19793" y="2952"/>
                      <a:pt x="37852" y="12"/>
                    </a:cubicBezTo>
                    <a:cubicBezTo>
                      <a:pt x="41212" y="-408"/>
                      <a:pt x="50032" y="10511"/>
                      <a:pt x="49192" y="11771"/>
                    </a:cubicBezTo>
                    <a:cubicBezTo>
                      <a:pt x="40792" y="26471"/>
                      <a:pt x="31133" y="40750"/>
                      <a:pt x="21473" y="54190"/>
                    </a:cubicBezTo>
                    <a:cubicBezTo>
                      <a:pt x="19793" y="56709"/>
                      <a:pt x="15593" y="56709"/>
                      <a:pt x="10554" y="5838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FF01CCA6-DF0F-C60B-F576-B269D70ED1FB}"/>
                  </a:ext>
                </a:extLst>
              </p:cNvPr>
              <p:cNvSpPr/>
              <p:nvPr/>
            </p:nvSpPr>
            <p:spPr>
              <a:xfrm>
                <a:off x="5204224" y="2100064"/>
                <a:ext cx="41526" cy="56304"/>
              </a:xfrm>
              <a:custGeom>
                <a:avLst/>
                <a:gdLst>
                  <a:gd name="connsiteX0" fmla="*/ 41526 w 41526"/>
                  <a:gd name="connsiteY0" fmla="*/ 8245 h 56304"/>
                  <a:gd name="connsiteX1" fmla="*/ 18847 w 41526"/>
                  <a:gd name="connsiteY1" fmla="*/ 55703 h 56304"/>
                  <a:gd name="connsiteX2" fmla="*/ 3308 w 41526"/>
                  <a:gd name="connsiteY2" fmla="*/ 50244 h 56304"/>
                  <a:gd name="connsiteX3" fmla="*/ 22207 w 41526"/>
                  <a:gd name="connsiteY3" fmla="*/ 266 h 56304"/>
                  <a:gd name="connsiteX4" fmla="*/ 41526 w 41526"/>
                  <a:gd name="connsiteY4" fmla="*/ 8245 h 5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26" h="56304">
                    <a:moveTo>
                      <a:pt x="41526" y="8245"/>
                    </a:moveTo>
                    <a:cubicBezTo>
                      <a:pt x="38586" y="29664"/>
                      <a:pt x="32707" y="45204"/>
                      <a:pt x="18847" y="55703"/>
                    </a:cubicBezTo>
                    <a:cubicBezTo>
                      <a:pt x="16327" y="57803"/>
                      <a:pt x="5408" y="54023"/>
                      <a:pt x="3308" y="50244"/>
                    </a:cubicBezTo>
                    <a:cubicBezTo>
                      <a:pt x="-5932" y="34704"/>
                      <a:pt x="5408" y="4466"/>
                      <a:pt x="22207" y="266"/>
                    </a:cubicBezTo>
                    <a:cubicBezTo>
                      <a:pt x="27247" y="-1414"/>
                      <a:pt x="34807" y="5305"/>
                      <a:pt x="41526" y="824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3807733A-7661-019D-2727-0B345AA22F36}"/>
                  </a:ext>
                </a:extLst>
              </p:cNvPr>
              <p:cNvSpPr/>
              <p:nvPr/>
            </p:nvSpPr>
            <p:spPr>
              <a:xfrm>
                <a:off x="5968034" y="1910587"/>
                <a:ext cx="40908" cy="52453"/>
              </a:xfrm>
              <a:custGeom>
                <a:avLst/>
                <a:gdLst>
                  <a:gd name="connsiteX0" fmla="*/ 40824 w 40908"/>
                  <a:gd name="connsiteY0" fmla="*/ 10410 h 52453"/>
                  <a:gd name="connsiteX1" fmla="*/ 16045 w 40908"/>
                  <a:gd name="connsiteY1" fmla="*/ 52408 h 52453"/>
                  <a:gd name="connsiteX2" fmla="*/ 2605 w 40908"/>
                  <a:gd name="connsiteY2" fmla="*/ 46948 h 52453"/>
                  <a:gd name="connsiteX3" fmla="*/ 17304 w 40908"/>
                  <a:gd name="connsiteY3" fmla="*/ 1590 h 52453"/>
                  <a:gd name="connsiteX4" fmla="*/ 32424 w 40908"/>
                  <a:gd name="connsiteY4" fmla="*/ 1590 h 52453"/>
                  <a:gd name="connsiteX5" fmla="*/ 40824 w 40908"/>
                  <a:gd name="connsiteY5" fmla="*/ 10410 h 52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908" h="52453">
                    <a:moveTo>
                      <a:pt x="40824" y="10410"/>
                    </a:moveTo>
                    <a:cubicBezTo>
                      <a:pt x="42084" y="30149"/>
                      <a:pt x="29064" y="51568"/>
                      <a:pt x="16045" y="52408"/>
                    </a:cubicBezTo>
                    <a:cubicBezTo>
                      <a:pt x="11425" y="52828"/>
                      <a:pt x="5125" y="50308"/>
                      <a:pt x="2605" y="46948"/>
                    </a:cubicBezTo>
                    <a:cubicBezTo>
                      <a:pt x="-4534" y="36869"/>
                      <a:pt x="3865" y="9990"/>
                      <a:pt x="17304" y="1590"/>
                    </a:cubicBezTo>
                    <a:cubicBezTo>
                      <a:pt x="21084" y="-929"/>
                      <a:pt x="27804" y="-90"/>
                      <a:pt x="32424" y="1590"/>
                    </a:cubicBezTo>
                    <a:cubicBezTo>
                      <a:pt x="36204" y="3270"/>
                      <a:pt x="38724" y="8310"/>
                      <a:pt x="40824" y="104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F9C02371-20E8-F924-9979-054D5D468D07}"/>
                  </a:ext>
                </a:extLst>
              </p:cNvPr>
              <p:cNvSpPr/>
              <p:nvPr/>
            </p:nvSpPr>
            <p:spPr>
              <a:xfrm>
                <a:off x="6617261" y="3294338"/>
                <a:ext cx="41047" cy="60111"/>
              </a:xfrm>
              <a:custGeom>
                <a:avLst/>
                <a:gdLst>
                  <a:gd name="connsiteX0" fmla="*/ 28289 w 41047"/>
                  <a:gd name="connsiteY0" fmla="*/ 0 h 60111"/>
                  <a:gd name="connsiteX1" fmla="*/ 40469 w 41047"/>
                  <a:gd name="connsiteY1" fmla="*/ 14699 h 60111"/>
                  <a:gd name="connsiteX2" fmla="*/ 38369 w 41047"/>
                  <a:gd name="connsiteY2" fmla="*/ 28979 h 60111"/>
                  <a:gd name="connsiteX3" fmla="*/ 9390 w 41047"/>
                  <a:gd name="connsiteY3" fmla="*/ 60057 h 60111"/>
                  <a:gd name="connsiteX4" fmla="*/ 1830 w 41047"/>
                  <a:gd name="connsiteY4" fmla="*/ 54178 h 60111"/>
                  <a:gd name="connsiteX5" fmla="*/ 13590 w 41047"/>
                  <a:gd name="connsiteY5" fmla="*/ 11759 h 60111"/>
                  <a:gd name="connsiteX6" fmla="*/ 28289 w 41047"/>
                  <a:gd name="connsiteY6" fmla="*/ 0 h 60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047" h="60111">
                    <a:moveTo>
                      <a:pt x="28289" y="0"/>
                    </a:moveTo>
                    <a:cubicBezTo>
                      <a:pt x="34169" y="6720"/>
                      <a:pt x="39209" y="10079"/>
                      <a:pt x="40469" y="14699"/>
                    </a:cubicBezTo>
                    <a:cubicBezTo>
                      <a:pt x="41729" y="18899"/>
                      <a:pt x="40889" y="25619"/>
                      <a:pt x="38369" y="28979"/>
                    </a:cubicBezTo>
                    <a:cubicBezTo>
                      <a:pt x="29969" y="40318"/>
                      <a:pt x="30809" y="61317"/>
                      <a:pt x="9390" y="60057"/>
                    </a:cubicBezTo>
                    <a:cubicBezTo>
                      <a:pt x="6450" y="60057"/>
                      <a:pt x="2250" y="56698"/>
                      <a:pt x="1830" y="54178"/>
                    </a:cubicBezTo>
                    <a:cubicBezTo>
                      <a:pt x="-2789" y="37798"/>
                      <a:pt x="1410" y="23519"/>
                      <a:pt x="13590" y="11759"/>
                    </a:cubicBezTo>
                    <a:cubicBezTo>
                      <a:pt x="17790" y="7560"/>
                      <a:pt x="22829" y="4200"/>
                      <a:pt x="2828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A96E7BC9-B2C2-507B-D1F1-1115B1204451}"/>
                  </a:ext>
                </a:extLst>
              </p:cNvPr>
              <p:cNvSpPr/>
              <p:nvPr/>
            </p:nvSpPr>
            <p:spPr>
              <a:xfrm>
                <a:off x="6725670" y="2539821"/>
                <a:ext cx="47166" cy="51532"/>
              </a:xfrm>
              <a:custGeom>
                <a:avLst/>
                <a:gdLst>
                  <a:gd name="connsiteX0" fmla="*/ 47135 w 47166"/>
                  <a:gd name="connsiteY0" fmla="*/ 14089 h 51532"/>
                  <a:gd name="connsiteX1" fmla="*/ 19416 w 47166"/>
                  <a:gd name="connsiteY1" fmla="*/ 51047 h 51532"/>
                  <a:gd name="connsiteX2" fmla="*/ 14376 w 47166"/>
                  <a:gd name="connsiteY2" fmla="*/ 51047 h 51532"/>
                  <a:gd name="connsiteX3" fmla="*/ 97 w 47166"/>
                  <a:gd name="connsiteY3" fmla="*/ 37188 h 51532"/>
                  <a:gd name="connsiteX4" fmla="*/ 29076 w 47166"/>
                  <a:gd name="connsiteY4" fmla="*/ 229 h 51532"/>
                  <a:gd name="connsiteX5" fmla="*/ 47135 w 47166"/>
                  <a:gd name="connsiteY5" fmla="*/ 14089 h 5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166" h="51532">
                    <a:moveTo>
                      <a:pt x="47135" y="14089"/>
                    </a:moveTo>
                    <a:cubicBezTo>
                      <a:pt x="47975" y="28788"/>
                      <a:pt x="32015" y="48107"/>
                      <a:pt x="19416" y="51047"/>
                    </a:cubicBezTo>
                    <a:cubicBezTo>
                      <a:pt x="17736" y="51467"/>
                      <a:pt x="15216" y="51887"/>
                      <a:pt x="14376" y="51047"/>
                    </a:cubicBezTo>
                    <a:cubicBezTo>
                      <a:pt x="9336" y="46848"/>
                      <a:pt x="937" y="42648"/>
                      <a:pt x="97" y="37188"/>
                    </a:cubicBezTo>
                    <a:cubicBezTo>
                      <a:pt x="-1583" y="23328"/>
                      <a:pt x="18996" y="-2711"/>
                      <a:pt x="29076" y="229"/>
                    </a:cubicBezTo>
                    <a:cubicBezTo>
                      <a:pt x="36635" y="2329"/>
                      <a:pt x="42095" y="9889"/>
                      <a:pt x="47135" y="1408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2E5E026-B7B8-D01A-1C3A-50603CDF67C8}"/>
                  </a:ext>
                </a:extLst>
              </p:cNvPr>
              <p:cNvSpPr/>
              <p:nvPr/>
            </p:nvSpPr>
            <p:spPr>
              <a:xfrm>
                <a:off x="5721590" y="3571223"/>
                <a:ext cx="57117" cy="48077"/>
              </a:xfrm>
              <a:custGeom>
                <a:avLst/>
                <a:gdLst>
                  <a:gd name="connsiteX0" fmla="*/ 57118 w 57117"/>
                  <a:gd name="connsiteY0" fmla="*/ 10382 h 48077"/>
                  <a:gd name="connsiteX1" fmla="*/ 18899 w 57117"/>
                  <a:gd name="connsiteY1" fmla="*/ 47341 h 48077"/>
                  <a:gd name="connsiteX2" fmla="*/ 0 w 57117"/>
                  <a:gd name="connsiteY2" fmla="*/ 43561 h 48077"/>
                  <a:gd name="connsiteX3" fmla="*/ 3780 w 57117"/>
                  <a:gd name="connsiteY3" fmla="*/ 30541 h 48077"/>
                  <a:gd name="connsiteX4" fmla="*/ 17639 w 57117"/>
                  <a:gd name="connsiteY4" fmla="*/ 3663 h 48077"/>
                  <a:gd name="connsiteX5" fmla="*/ 34019 w 57117"/>
                  <a:gd name="connsiteY5" fmla="*/ 303 h 48077"/>
                  <a:gd name="connsiteX6" fmla="*/ 57118 w 57117"/>
                  <a:gd name="connsiteY6" fmla="*/ 10382 h 48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17" h="48077">
                    <a:moveTo>
                      <a:pt x="57118" y="10382"/>
                    </a:moveTo>
                    <a:cubicBezTo>
                      <a:pt x="39058" y="28442"/>
                      <a:pt x="30239" y="39361"/>
                      <a:pt x="18899" y="47341"/>
                    </a:cubicBezTo>
                    <a:cubicBezTo>
                      <a:pt x="15539" y="49861"/>
                      <a:pt x="6300" y="45241"/>
                      <a:pt x="0" y="43561"/>
                    </a:cubicBezTo>
                    <a:cubicBezTo>
                      <a:pt x="1260" y="39361"/>
                      <a:pt x="1680" y="34741"/>
                      <a:pt x="3780" y="30541"/>
                    </a:cubicBezTo>
                    <a:cubicBezTo>
                      <a:pt x="7980" y="21302"/>
                      <a:pt x="11340" y="11642"/>
                      <a:pt x="17639" y="3663"/>
                    </a:cubicBezTo>
                    <a:cubicBezTo>
                      <a:pt x="20159" y="303"/>
                      <a:pt x="28559" y="-537"/>
                      <a:pt x="34019" y="303"/>
                    </a:cubicBezTo>
                    <a:cubicBezTo>
                      <a:pt x="40738" y="1563"/>
                      <a:pt x="46618" y="5763"/>
                      <a:pt x="57118" y="1038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A648A902-272E-FC40-25C6-D597F69496EF}"/>
                  </a:ext>
                </a:extLst>
              </p:cNvPr>
              <p:cNvSpPr/>
              <p:nvPr/>
            </p:nvSpPr>
            <p:spPr>
              <a:xfrm>
                <a:off x="6452134" y="1953991"/>
                <a:ext cx="36343" cy="59298"/>
              </a:xfrm>
              <a:custGeom>
                <a:avLst/>
                <a:gdLst>
                  <a:gd name="connsiteX0" fmla="*/ 36343 w 36343"/>
                  <a:gd name="connsiteY0" fmla="*/ 12364 h 59298"/>
                  <a:gd name="connsiteX1" fmla="*/ 28783 w 36343"/>
                  <a:gd name="connsiteY1" fmla="*/ 38823 h 59298"/>
                  <a:gd name="connsiteX2" fmla="*/ 4844 w 36343"/>
                  <a:gd name="connsiteY2" fmla="*/ 57722 h 59298"/>
                  <a:gd name="connsiteX3" fmla="*/ 224 w 36343"/>
                  <a:gd name="connsiteY3" fmla="*/ 26223 h 59298"/>
                  <a:gd name="connsiteX4" fmla="*/ 9464 w 36343"/>
                  <a:gd name="connsiteY4" fmla="*/ 8584 h 59298"/>
                  <a:gd name="connsiteX5" fmla="*/ 24163 w 36343"/>
                  <a:gd name="connsiteY5" fmla="*/ 184 h 59298"/>
                  <a:gd name="connsiteX6" fmla="*/ 36343 w 36343"/>
                  <a:gd name="connsiteY6" fmla="*/ 12364 h 59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343" h="59298">
                    <a:moveTo>
                      <a:pt x="36343" y="12364"/>
                    </a:moveTo>
                    <a:cubicBezTo>
                      <a:pt x="33403" y="22443"/>
                      <a:pt x="31303" y="30843"/>
                      <a:pt x="28783" y="38823"/>
                    </a:cubicBezTo>
                    <a:cubicBezTo>
                      <a:pt x="24583" y="50162"/>
                      <a:pt x="18704" y="64022"/>
                      <a:pt x="4844" y="57722"/>
                    </a:cubicBezTo>
                    <a:cubicBezTo>
                      <a:pt x="-616" y="55202"/>
                      <a:pt x="-195" y="37143"/>
                      <a:pt x="224" y="26223"/>
                    </a:cubicBezTo>
                    <a:cubicBezTo>
                      <a:pt x="224" y="20344"/>
                      <a:pt x="4844" y="13204"/>
                      <a:pt x="9464" y="8584"/>
                    </a:cubicBezTo>
                    <a:cubicBezTo>
                      <a:pt x="13244" y="4384"/>
                      <a:pt x="20384" y="-1076"/>
                      <a:pt x="24163" y="184"/>
                    </a:cubicBezTo>
                    <a:cubicBezTo>
                      <a:pt x="29203" y="1444"/>
                      <a:pt x="32983" y="9004"/>
                      <a:pt x="36343" y="123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B132B561-6211-C259-4D64-A314E8DDAF6F}"/>
                  </a:ext>
                </a:extLst>
              </p:cNvPr>
              <p:cNvSpPr/>
              <p:nvPr/>
            </p:nvSpPr>
            <p:spPr>
              <a:xfrm>
                <a:off x="5250115" y="2308197"/>
                <a:ext cx="50233" cy="49872"/>
              </a:xfrm>
              <a:custGeom>
                <a:avLst/>
                <a:gdLst>
                  <a:gd name="connsiteX0" fmla="*/ 50233 w 50233"/>
                  <a:gd name="connsiteY0" fmla="*/ 9683 h 49872"/>
                  <a:gd name="connsiteX1" fmla="*/ 21254 w 50233"/>
                  <a:gd name="connsiteY1" fmla="*/ 49581 h 49872"/>
                  <a:gd name="connsiteX2" fmla="*/ 1095 w 50233"/>
                  <a:gd name="connsiteY2" fmla="*/ 39921 h 49872"/>
                  <a:gd name="connsiteX3" fmla="*/ 31334 w 50233"/>
                  <a:gd name="connsiteY3" fmla="*/ 23 h 49872"/>
                  <a:gd name="connsiteX4" fmla="*/ 50233 w 50233"/>
                  <a:gd name="connsiteY4" fmla="*/ 9683 h 4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33" h="49872">
                    <a:moveTo>
                      <a:pt x="50233" y="9683"/>
                    </a:moveTo>
                    <a:cubicBezTo>
                      <a:pt x="39314" y="25642"/>
                      <a:pt x="31334" y="38661"/>
                      <a:pt x="21254" y="49581"/>
                    </a:cubicBezTo>
                    <a:cubicBezTo>
                      <a:pt x="19575" y="51261"/>
                      <a:pt x="3195" y="45381"/>
                      <a:pt x="1095" y="39921"/>
                    </a:cubicBezTo>
                    <a:cubicBezTo>
                      <a:pt x="-4784" y="25222"/>
                      <a:pt x="14115" y="863"/>
                      <a:pt x="31334" y="23"/>
                    </a:cubicBezTo>
                    <a:cubicBezTo>
                      <a:pt x="35954" y="-397"/>
                      <a:pt x="41414" y="5063"/>
                      <a:pt x="50233" y="96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B3A6D20B-2A7B-448F-B327-0BEDBE6734D9}"/>
                  </a:ext>
                </a:extLst>
              </p:cNvPr>
              <p:cNvSpPr/>
              <p:nvPr/>
            </p:nvSpPr>
            <p:spPr>
              <a:xfrm>
                <a:off x="5577956" y="1973350"/>
                <a:ext cx="39504" cy="62309"/>
              </a:xfrm>
              <a:custGeom>
                <a:avLst/>
                <a:gdLst>
                  <a:gd name="connsiteX0" fmla="*/ 0 w 39504"/>
                  <a:gd name="connsiteY0" fmla="*/ 41723 h 62309"/>
                  <a:gd name="connsiteX1" fmla="*/ 11340 w 39504"/>
                  <a:gd name="connsiteY1" fmla="*/ 13584 h 62309"/>
                  <a:gd name="connsiteX2" fmla="*/ 28559 w 39504"/>
                  <a:gd name="connsiteY2" fmla="*/ 2664 h 62309"/>
                  <a:gd name="connsiteX3" fmla="*/ 39478 w 39504"/>
                  <a:gd name="connsiteY3" fmla="*/ 27863 h 62309"/>
                  <a:gd name="connsiteX4" fmla="*/ 25619 w 39504"/>
                  <a:gd name="connsiteY4" fmla="*/ 48862 h 62309"/>
                  <a:gd name="connsiteX5" fmla="*/ 7980 w 39504"/>
                  <a:gd name="connsiteY5" fmla="*/ 60622 h 62309"/>
                  <a:gd name="connsiteX6" fmla="*/ 0 w 39504"/>
                  <a:gd name="connsiteY6" fmla="*/ 41723 h 6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04" h="62309">
                    <a:moveTo>
                      <a:pt x="0" y="41723"/>
                    </a:moveTo>
                    <a:cubicBezTo>
                      <a:pt x="3780" y="32063"/>
                      <a:pt x="7980" y="23243"/>
                      <a:pt x="11340" y="13584"/>
                    </a:cubicBezTo>
                    <a:cubicBezTo>
                      <a:pt x="14279" y="5184"/>
                      <a:pt x="19319" y="-4895"/>
                      <a:pt x="28559" y="2664"/>
                    </a:cubicBezTo>
                    <a:cubicBezTo>
                      <a:pt x="35279" y="7704"/>
                      <a:pt x="39898" y="19464"/>
                      <a:pt x="39478" y="27863"/>
                    </a:cubicBezTo>
                    <a:cubicBezTo>
                      <a:pt x="39059" y="35003"/>
                      <a:pt x="28979" y="41303"/>
                      <a:pt x="25619" y="48862"/>
                    </a:cubicBezTo>
                    <a:cubicBezTo>
                      <a:pt x="21839" y="57262"/>
                      <a:pt x="18479" y="66082"/>
                      <a:pt x="7980" y="60622"/>
                    </a:cubicBezTo>
                    <a:cubicBezTo>
                      <a:pt x="3360" y="58102"/>
                      <a:pt x="2940" y="48862"/>
                      <a:pt x="0" y="4172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905DD79A-F939-0290-26F2-43235EE70FF1}"/>
                  </a:ext>
                </a:extLst>
              </p:cNvPr>
              <p:cNvSpPr/>
              <p:nvPr/>
            </p:nvSpPr>
            <p:spPr>
              <a:xfrm>
                <a:off x="5717328" y="3306305"/>
                <a:ext cx="43740" cy="59620"/>
              </a:xfrm>
              <a:custGeom>
                <a:avLst/>
                <a:gdLst>
                  <a:gd name="connsiteX0" fmla="*/ 43740 w 43740"/>
                  <a:gd name="connsiteY0" fmla="*/ 14912 h 59620"/>
                  <a:gd name="connsiteX1" fmla="*/ 30301 w 43740"/>
                  <a:gd name="connsiteY1" fmla="*/ 48510 h 59620"/>
                  <a:gd name="connsiteX2" fmla="*/ 11402 w 43740"/>
                  <a:gd name="connsiteY2" fmla="*/ 56910 h 59620"/>
                  <a:gd name="connsiteX3" fmla="*/ 3002 w 43740"/>
                  <a:gd name="connsiteY3" fmla="*/ 31711 h 59620"/>
                  <a:gd name="connsiteX4" fmla="*/ 20221 w 43740"/>
                  <a:gd name="connsiteY4" fmla="*/ 6932 h 59620"/>
                  <a:gd name="connsiteX5" fmla="*/ 31141 w 43740"/>
                  <a:gd name="connsiteY5" fmla="*/ 212 h 59620"/>
                  <a:gd name="connsiteX6" fmla="*/ 43740 w 43740"/>
                  <a:gd name="connsiteY6" fmla="*/ 14912 h 5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740" h="59620">
                    <a:moveTo>
                      <a:pt x="43740" y="14912"/>
                    </a:moveTo>
                    <a:cubicBezTo>
                      <a:pt x="38701" y="27091"/>
                      <a:pt x="34501" y="37591"/>
                      <a:pt x="30301" y="48510"/>
                    </a:cubicBezTo>
                    <a:cubicBezTo>
                      <a:pt x="26521" y="57750"/>
                      <a:pt x="20641" y="63210"/>
                      <a:pt x="11402" y="56910"/>
                    </a:cubicBezTo>
                    <a:cubicBezTo>
                      <a:pt x="2582" y="51030"/>
                      <a:pt x="-4138" y="43050"/>
                      <a:pt x="3002" y="31711"/>
                    </a:cubicBezTo>
                    <a:cubicBezTo>
                      <a:pt x="8462" y="23311"/>
                      <a:pt x="13922" y="14912"/>
                      <a:pt x="20221" y="6932"/>
                    </a:cubicBezTo>
                    <a:cubicBezTo>
                      <a:pt x="22741" y="3572"/>
                      <a:pt x="29461" y="-1048"/>
                      <a:pt x="31141" y="212"/>
                    </a:cubicBezTo>
                    <a:cubicBezTo>
                      <a:pt x="35761" y="3572"/>
                      <a:pt x="39121" y="9032"/>
                      <a:pt x="43740" y="1491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C7CCF621-6D25-FEC3-2F00-1D9B1FAF0ED5}"/>
                  </a:ext>
                </a:extLst>
              </p:cNvPr>
              <p:cNvSpPr/>
              <p:nvPr/>
            </p:nvSpPr>
            <p:spPr>
              <a:xfrm>
                <a:off x="5169117" y="3073427"/>
                <a:ext cx="41851" cy="63649"/>
              </a:xfrm>
              <a:custGeom>
                <a:avLst/>
                <a:gdLst>
                  <a:gd name="connsiteX0" fmla="*/ 31276 w 41851"/>
                  <a:gd name="connsiteY0" fmla="*/ 0 h 63649"/>
                  <a:gd name="connsiteX1" fmla="*/ 41775 w 41851"/>
                  <a:gd name="connsiteY1" fmla="*/ 20579 h 63649"/>
                  <a:gd name="connsiteX2" fmla="*/ 30016 w 41851"/>
                  <a:gd name="connsiteY2" fmla="*/ 41998 h 63649"/>
                  <a:gd name="connsiteX3" fmla="*/ 1457 w 41851"/>
                  <a:gd name="connsiteY3" fmla="*/ 60897 h 63649"/>
                  <a:gd name="connsiteX4" fmla="*/ 6917 w 41851"/>
                  <a:gd name="connsiteY4" fmla="*/ 26039 h 63649"/>
                  <a:gd name="connsiteX5" fmla="*/ 31276 w 41851"/>
                  <a:gd name="connsiteY5" fmla="*/ 0 h 63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51" h="63649">
                    <a:moveTo>
                      <a:pt x="31276" y="0"/>
                    </a:moveTo>
                    <a:cubicBezTo>
                      <a:pt x="36316" y="9660"/>
                      <a:pt x="42615" y="15539"/>
                      <a:pt x="41775" y="20579"/>
                    </a:cubicBezTo>
                    <a:cubicBezTo>
                      <a:pt x="40095" y="28139"/>
                      <a:pt x="34216" y="35279"/>
                      <a:pt x="30016" y="41998"/>
                    </a:cubicBezTo>
                    <a:cubicBezTo>
                      <a:pt x="22876" y="52498"/>
                      <a:pt x="18256" y="70557"/>
                      <a:pt x="1457" y="60897"/>
                    </a:cubicBezTo>
                    <a:cubicBezTo>
                      <a:pt x="-2323" y="58797"/>
                      <a:pt x="1877" y="36958"/>
                      <a:pt x="6917" y="26039"/>
                    </a:cubicBezTo>
                    <a:cubicBezTo>
                      <a:pt x="11117" y="16799"/>
                      <a:pt x="21196" y="10080"/>
                      <a:pt x="31276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AC34280B-E342-95A3-51BC-55628AC4FA2A}"/>
                  </a:ext>
                </a:extLst>
              </p:cNvPr>
              <p:cNvSpPr/>
              <p:nvPr/>
            </p:nvSpPr>
            <p:spPr>
              <a:xfrm>
                <a:off x="5195669" y="2699617"/>
                <a:ext cx="36977" cy="57564"/>
              </a:xfrm>
              <a:custGeom>
                <a:avLst/>
                <a:gdLst>
                  <a:gd name="connsiteX0" fmla="*/ 13963 w 36977"/>
                  <a:gd name="connsiteY0" fmla="*/ 57564 h 57564"/>
                  <a:gd name="connsiteX1" fmla="*/ 2623 w 36977"/>
                  <a:gd name="connsiteY1" fmla="*/ 49584 h 57564"/>
                  <a:gd name="connsiteX2" fmla="*/ 22782 w 36977"/>
                  <a:gd name="connsiteY2" fmla="*/ 27 h 57564"/>
                  <a:gd name="connsiteX3" fmla="*/ 34542 w 36977"/>
                  <a:gd name="connsiteY3" fmla="*/ 8426 h 57564"/>
                  <a:gd name="connsiteX4" fmla="*/ 19842 w 36977"/>
                  <a:gd name="connsiteY4" fmla="*/ 56724 h 57564"/>
                  <a:gd name="connsiteX5" fmla="*/ 13963 w 36977"/>
                  <a:gd name="connsiteY5" fmla="*/ 57564 h 57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977" h="57564">
                    <a:moveTo>
                      <a:pt x="13963" y="57564"/>
                    </a:moveTo>
                    <a:cubicBezTo>
                      <a:pt x="10603" y="55464"/>
                      <a:pt x="5563" y="53364"/>
                      <a:pt x="2623" y="49584"/>
                    </a:cubicBezTo>
                    <a:cubicBezTo>
                      <a:pt x="-6196" y="38665"/>
                      <a:pt x="8923" y="1287"/>
                      <a:pt x="22782" y="27"/>
                    </a:cubicBezTo>
                    <a:cubicBezTo>
                      <a:pt x="26562" y="-393"/>
                      <a:pt x="32442" y="4226"/>
                      <a:pt x="34542" y="8426"/>
                    </a:cubicBezTo>
                    <a:cubicBezTo>
                      <a:pt x="41682" y="20186"/>
                      <a:pt x="32022" y="50845"/>
                      <a:pt x="19842" y="56724"/>
                    </a:cubicBezTo>
                    <a:cubicBezTo>
                      <a:pt x="19002" y="57564"/>
                      <a:pt x="16903" y="57564"/>
                      <a:pt x="13963" y="575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26FCCCFA-E7BF-A68B-FC0E-E4341449F16C}"/>
                  </a:ext>
                </a:extLst>
              </p:cNvPr>
              <p:cNvSpPr/>
              <p:nvPr/>
            </p:nvSpPr>
            <p:spPr>
              <a:xfrm>
                <a:off x="5040624" y="3010818"/>
                <a:ext cx="50152" cy="50602"/>
              </a:xfrm>
              <a:custGeom>
                <a:avLst/>
                <a:gdLst>
                  <a:gd name="connsiteX0" fmla="*/ 50153 w 50152"/>
                  <a:gd name="connsiteY0" fmla="*/ 6752 h 50602"/>
                  <a:gd name="connsiteX1" fmla="*/ 19914 w 50152"/>
                  <a:gd name="connsiteY1" fmla="*/ 50430 h 50602"/>
                  <a:gd name="connsiteX2" fmla="*/ 1015 w 50152"/>
                  <a:gd name="connsiteY2" fmla="*/ 40770 h 50602"/>
                  <a:gd name="connsiteX3" fmla="*/ 28314 w 50152"/>
                  <a:gd name="connsiteY3" fmla="*/ 32 h 50602"/>
                  <a:gd name="connsiteX4" fmla="*/ 50153 w 50152"/>
                  <a:gd name="connsiteY4" fmla="*/ 6752 h 50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52" h="50602">
                    <a:moveTo>
                      <a:pt x="50153" y="6752"/>
                    </a:moveTo>
                    <a:cubicBezTo>
                      <a:pt x="38813" y="23551"/>
                      <a:pt x="30414" y="37831"/>
                      <a:pt x="19914" y="50430"/>
                    </a:cubicBezTo>
                    <a:cubicBezTo>
                      <a:pt x="18654" y="51690"/>
                      <a:pt x="3115" y="45810"/>
                      <a:pt x="1015" y="40770"/>
                    </a:cubicBezTo>
                    <a:cubicBezTo>
                      <a:pt x="-4445" y="27331"/>
                      <a:pt x="13194" y="2132"/>
                      <a:pt x="28314" y="32"/>
                    </a:cubicBezTo>
                    <a:cubicBezTo>
                      <a:pt x="33774" y="-388"/>
                      <a:pt x="39653" y="3392"/>
                      <a:pt x="50153" y="675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52C273FC-2A1F-B6CB-F160-9574FC1F94E2}"/>
                  </a:ext>
                </a:extLst>
              </p:cNvPr>
              <p:cNvSpPr/>
              <p:nvPr/>
            </p:nvSpPr>
            <p:spPr>
              <a:xfrm>
                <a:off x="5539303" y="3324576"/>
                <a:ext cx="39087" cy="59402"/>
              </a:xfrm>
              <a:custGeom>
                <a:avLst/>
                <a:gdLst>
                  <a:gd name="connsiteX0" fmla="*/ 26473 w 39087"/>
                  <a:gd name="connsiteY0" fmla="*/ 0 h 59402"/>
                  <a:gd name="connsiteX1" fmla="*/ 39073 w 39087"/>
                  <a:gd name="connsiteY1" fmla="*/ 23939 h 59402"/>
                  <a:gd name="connsiteX2" fmla="*/ 26053 w 39087"/>
                  <a:gd name="connsiteY2" fmla="*/ 51238 h 59402"/>
                  <a:gd name="connsiteX3" fmla="*/ 14294 w 39087"/>
                  <a:gd name="connsiteY3" fmla="*/ 59218 h 59402"/>
                  <a:gd name="connsiteX4" fmla="*/ 14 w 39087"/>
                  <a:gd name="connsiteY4" fmla="*/ 45778 h 59402"/>
                  <a:gd name="connsiteX5" fmla="*/ 13874 w 39087"/>
                  <a:gd name="connsiteY5" fmla="*/ 3360 h 59402"/>
                  <a:gd name="connsiteX6" fmla="*/ 26473 w 39087"/>
                  <a:gd name="connsiteY6" fmla="*/ 0 h 5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087" h="59402">
                    <a:moveTo>
                      <a:pt x="26473" y="0"/>
                    </a:moveTo>
                    <a:cubicBezTo>
                      <a:pt x="30673" y="7560"/>
                      <a:pt x="39493" y="15539"/>
                      <a:pt x="39073" y="23939"/>
                    </a:cubicBezTo>
                    <a:cubicBezTo>
                      <a:pt x="39073" y="33179"/>
                      <a:pt x="31513" y="42418"/>
                      <a:pt x="26053" y="51238"/>
                    </a:cubicBezTo>
                    <a:cubicBezTo>
                      <a:pt x="23533" y="55018"/>
                      <a:pt x="16394" y="60478"/>
                      <a:pt x="14294" y="59218"/>
                    </a:cubicBezTo>
                    <a:cubicBezTo>
                      <a:pt x="8414" y="56278"/>
                      <a:pt x="-406" y="49558"/>
                      <a:pt x="14" y="45778"/>
                    </a:cubicBezTo>
                    <a:cubicBezTo>
                      <a:pt x="2954" y="31079"/>
                      <a:pt x="8414" y="17219"/>
                      <a:pt x="13874" y="3360"/>
                    </a:cubicBezTo>
                    <a:cubicBezTo>
                      <a:pt x="14714" y="1260"/>
                      <a:pt x="20174" y="1260"/>
                      <a:pt x="2647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F9F83012-25D8-497F-DB8F-B2955540351C}"/>
                  </a:ext>
                </a:extLst>
              </p:cNvPr>
              <p:cNvSpPr/>
              <p:nvPr/>
            </p:nvSpPr>
            <p:spPr>
              <a:xfrm>
                <a:off x="6496462" y="3246759"/>
                <a:ext cx="47872" cy="55050"/>
              </a:xfrm>
              <a:custGeom>
                <a:avLst/>
                <a:gdLst>
                  <a:gd name="connsiteX0" fmla="*/ 47872 w 47872"/>
                  <a:gd name="connsiteY0" fmla="*/ 16080 h 55050"/>
                  <a:gd name="connsiteX1" fmla="*/ 18474 w 47872"/>
                  <a:gd name="connsiteY1" fmla="*/ 54718 h 55050"/>
                  <a:gd name="connsiteX2" fmla="*/ 5454 w 47872"/>
                  <a:gd name="connsiteY2" fmla="*/ 50518 h 55050"/>
                  <a:gd name="connsiteX3" fmla="*/ 414 w 47872"/>
                  <a:gd name="connsiteY3" fmla="*/ 38339 h 55050"/>
                  <a:gd name="connsiteX4" fmla="*/ 25613 w 47872"/>
                  <a:gd name="connsiteY4" fmla="*/ 1381 h 55050"/>
                  <a:gd name="connsiteX5" fmla="*/ 37793 w 47872"/>
                  <a:gd name="connsiteY5" fmla="*/ 1801 h 55050"/>
                  <a:gd name="connsiteX6" fmla="*/ 47872 w 47872"/>
                  <a:gd name="connsiteY6" fmla="*/ 16080 h 5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72" h="55050">
                    <a:moveTo>
                      <a:pt x="47872" y="16080"/>
                    </a:moveTo>
                    <a:cubicBezTo>
                      <a:pt x="38213" y="29099"/>
                      <a:pt x="28973" y="42539"/>
                      <a:pt x="18474" y="54718"/>
                    </a:cubicBezTo>
                    <a:cubicBezTo>
                      <a:pt x="17214" y="55978"/>
                      <a:pt x="8814" y="53458"/>
                      <a:pt x="5454" y="50518"/>
                    </a:cubicBezTo>
                    <a:cubicBezTo>
                      <a:pt x="2514" y="47999"/>
                      <a:pt x="-1266" y="40859"/>
                      <a:pt x="414" y="38339"/>
                    </a:cubicBezTo>
                    <a:cubicBezTo>
                      <a:pt x="7974" y="25319"/>
                      <a:pt x="16374" y="13140"/>
                      <a:pt x="25613" y="1381"/>
                    </a:cubicBezTo>
                    <a:cubicBezTo>
                      <a:pt x="27293" y="-719"/>
                      <a:pt x="34853" y="-299"/>
                      <a:pt x="37793" y="1801"/>
                    </a:cubicBezTo>
                    <a:cubicBezTo>
                      <a:pt x="41152" y="4320"/>
                      <a:pt x="43252" y="9780"/>
                      <a:pt x="47872" y="160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3084D68A-7617-9905-4C74-7F18BE5B58DE}"/>
                  </a:ext>
                </a:extLst>
              </p:cNvPr>
              <p:cNvSpPr/>
              <p:nvPr/>
            </p:nvSpPr>
            <p:spPr>
              <a:xfrm>
                <a:off x="5844208" y="1715862"/>
                <a:ext cx="41595" cy="55975"/>
              </a:xfrm>
              <a:custGeom>
                <a:avLst/>
                <a:gdLst>
                  <a:gd name="connsiteX0" fmla="*/ 41595 w 41595"/>
                  <a:gd name="connsiteY0" fmla="*/ 14883 h 55975"/>
                  <a:gd name="connsiteX1" fmla="*/ 27735 w 41595"/>
                  <a:gd name="connsiteY1" fmla="*/ 48482 h 55975"/>
                  <a:gd name="connsiteX2" fmla="*/ 13036 w 41595"/>
                  <a:gd name="connsiteY2" fmla="*/ 55622 h 55975"/>
                  <a:gd name="connsiteX3" fmla="*/ 17 w 41595"/>
                  <a:gd name="connsiteY3" fmla="*/ 36302 h 55975"/>
                  <a:gd name="connsiteX4" fmla="*/ 12616 w 41595"/>
                  <a:gd name="connsiteY4" fmla="*/ 9004 h 55975"/>
                  <a:gd name="connsiteX5" fmla="*/ 27316 w 41595"/>
                  <a:gd name="connsiteY5" fmla="*/ 184 h 55975"/>
                  <a:gd name="connsiteX6" fmla="*/ 41595 w 41595"/>
                  <a:gd name="connsiteY6" fmla="*/ 14883 h 55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595" h="55975">
                    <a:moveTo>
                      <a:pt x="41595" y="14883"/>
                    </a:moveTo>
                    <a:cubicBezTo>
                      <a:pt x="36975" y="26643"/>
                      <a:pt x="33615" y="38402"/>
                      <a:pt x="27735" y="48482"/>
                    </a:cubicBezTo>
                    <a:cubicBezTo>
                      <a:pt x="25216" y="52682"/>
                      <a:pt x="14716" y="57302"/>
                      <a:pt x="13036" y="55622"/>
                    </a:cubicBezTo>
                    <a:cubicBezTo>
                      <a:pt x="7156" y="50582"/>
                      <a:pt x="-403" y="42602"/>
                      <a:pt x="17" y="36302"/>
                    </a:cubicBezTo>
                    <a:cubicBezTo>
                      <a:pt x="857" y="26643"/>
                      <a:pt x="7156" y="17403"/>
                      <a:pt x="12616" y="9004"/>
                    </a:cubicBezTo>
                    <a:cubicBezTo>
                      <a:pt x="15556" y="4384"/>
                      <a:pt x="23536" y="-1076"/>
                      <a:pt x="27316" y="184"/>
                    </a:cubicBezTo>
                    <a:cubicBezTo>
                      <a:pt x="32775" y="1444"/>
                      <a:pt x="36555" y="9004"/>
                      <a:pt x="41595" y="148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A9B23A7D-F7C2-2283-6EC9-1737CC118010}"/>
                  </a:ext>
                </a:extLst>
              </p:cNvPr>
              <p:cNvSpPr/>
              <p:nvPr/>
            </p:nvSpPr>
            <p:spPr>
              <a:xfrm>
                <a:off x="6580688" y="1836965"/>
                <a:ext cx="44666" cy="51043"/>
              </a:xfrm>
              <a:custGeom>
                <a:avLst/>
                <a:gdLst>
                  <a:gd name="connsiteX0" fmla="*/ 8165 w 44666"/>
                  <a:gd name="connsiteY0" fmla="*/ 50854 h 51043"/>
                  <a:gd name="connsiteX1" fmla="*/ 605 w 44666"/>
                  <a:gd name="connsiteY1" fmla="*/ 40774 h 51043"/>
                  <a:gd name="connsiteX2" fmla="*/ 30844 w 44666"/>
                  <a:gd name="connsiteY2" fmla="*/ 36 h 51043"/>
                  <a:gd name="connsiteX3" fmla="*/ 43863 w 44666"/>
                  <a:gd name="connsiteY3" fmla="*/ 6335 h 51043"/>
                  <a:gd name="connsiteX4" fmla="*/ 8165 w 44666"/>
                  <a:gd name="connsiteY4" fmla="*/ 50854 h 5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66" h="51043">
                    <a:moveTo>
                      <a:pt x="8165" y="50854"/>
                    </a:moveTo>
                    <a:cubicBezTo>
                      <a:pt x="6485" y="48754"/>
                      <a:pt x="1865" y="45394"/>
                      <a:pt x="605" y="40774"/>
                    </a:cubicBezTo>
                    <a:cubicBezTo>
                      <a:pt x="-3595" y="26075"/>
                      <a:pt x="14885" y="1296"/>
                      <a:pt x="30844" y="36"/>
                    </a:cubicBezTo>
                    <a:cubicBezTo>
                      <a:pt x="35044" y="-384"/>
                      <a:pt x="42603" y="2976"/>
                      <a:pt x="43863" y="6335"/>
                    </a:cubicBezTo>
                    <a:cubicBezTo>
                      <a:pt x="49323" y="21875"/>
                      <a:pt x="25804" y="53793"/>
                      <a:pt x="8165" y="5085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6EC41431-3DDC-4826-FCC0-C66AB20C964C}"/>
                  </a:ext>
                </a:extLst>
              </p:cNvPr>
              <p:cNvSpPr/>
              <p:nvPr/>
            </p:nvSpPr>
            <p:spPr>
              <a:xfrm>
                <a:off x="5763298" y="1734757"/>
                <a:ext cx="44994" cy="50586"/>
              </a:xfrm>
              <a:custGeom>
                <a:avLst/>
                <a:gdLst>
                  <a:gd name="connsiteX0" fmla="*/ 14989 w 44994"/>
                  <a:gd name="connsiteY0" fmla="*/ 50586 h 50586"/>
                  <a:gd name="connsiteX1" fmla="*/ 290 w 44994"/>
                  <a:gd name="connsiteY1" fmla="*/ 36307 h 50586"/>
                  <a:gd name="connsiteX2" fmla="*/ 28848 w 44994"/>
                  <a:gd name="connsiteY2" fmla="*/ 188 h 50586"/>
                  <a:gd name="connsiteX3" fmla="*/ 44808 w 44994"/>
                  <a:gd name="connsiteY3" fmla="*/ 17408 h 50586"/>
                  <a:gd name="connsiteX4" fmla="*/ 14989 w 44994"/>
                  <a:gd name="connsiteY4" fmla="*/ 50586 h 50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94" h="50586">
                    <a:moveTo>
                      <a:pt x="14989" y="50586"/>
                    </a:moveTo>
                    <a:cubicBezTo>
                      <a:pt x="11629" y="47226"/>
                      <a:pt x="3230" y="43026"/>
                      <a:pt x="290" y="36307"/>
                    </a:cubicBezTo>
                    <a:cubicBezTo>
                      <a:pt x="-3070" y="29587"/>
                      <a:pt x="23809" y="-2752"/>
                      <a:pt x="28848" y="188"/>
                    </a:cubicBezTo>
                    <a:cubicBezTo>
                      <a:pt x="35568" y="3968"/>
                      <a:pt x="43548" y="11108"/>
                      <a:pt x="44808" y="17408"/>
                    </a:cubicBezTo>
                    <a:cubicBezTo>
                      <a:pt x="46908" y="32107"/>
                      <a:pt x="30948" y="50586"/>
                      <a:pt x="14989" y="5058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F82C23AF-6544-5645-71C5-FDFA0E518489}"/>
                  </a:ext>
                </a:extLst>
              </p:cNvPr>
              <p:cNvSpPr/>
              <p:nvPr/>
            </p:nvSpPr>
            <p:spPr>
              <a:xfrm>
                <a:off x="5873897" y="2047361"/>
                <a:ext cx="42984" cy="51099"/>
              </a:xfrm>
              <a:custGeom>
                <a:avLst/>
                <a:gdLst>
                  <a:gd name="connsiteX0" fmla="*/ 42985 w 42984"/>
                  <a:gd name="connsiteY0" fmla="*/ 14330 h 51099"/>
                  <a:gd name="connsiteX1" fmla="*/ 28706 w 42984"/>
                  <a:gd name="connsiteY1" fmla="*/ 46669 h 51099"/>
                  <a:gd name="connsiteX2" fmla="*/ 10646 w 42984"/>
                  <a:gd name="connsiteY2" fmla="*/ 50449 h 51099"/>
                  <a:gd name="connsiteX3" fmla="*/ 147 w 42984"/>
                  <a:gd name="connsiteY3" fmla="*/ 37009 h 51099"/>
                  <a:gd name="connsiteX4" fmla="*/ 17366 w 42984"/>
                  <a:gd name="connsiteY4" fmla="*/ 1731 h 51099"/>
                  <a:gd name="connsiteX5" fmla="*/ 35845 w 42984"/>
                  <a:gd name="connsiteY5" fmla="*/ 2151 h 51099"/>
                  <a:gd name="connsiteX6" fmla="*/ 42985 w 42984"/>
                  <a:gd name="connsiteY6" fmla="*/ 14330 h 5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984" h="51099">
                    <a:moveTo>
                      <a:pt x="42985" y="14330"/>
                    </a:moveTo>
                    <a:cubicBezTo>
                      <a:pt x="38365" y="25670"/>
                      <a:pt x="35005" y="37009"/>
                      <a:pt x="28706" y="46669"/>
                    </a:cubicBezTo>
                    <a:cubicBezTo>
                      <a:pt x="26186" y="50449"/>
                      <a:pt x="16106" y="52128"/>
                      <a:pt x="10646" y="50449"/>
                    </a:cubicBezTo>
                    <a:cubicBezTo>
                      <a:pt x="6027" y="48769"/>
                      <a:pt x="-1113" y="40369"/>
                      <a:pt x="147" y="37009"/>
                    </a:cubicBezTo>
                    <a:cubicBezTo>
                      <a:pt x="3927" y="24410"/>
                      <a:pt x="9807" y="12230"/>
                      <a:pt x="17366" y="1731"/>
                    </a:cubicBezTo>
                    <a:cubicBezTo>
                      <a:pt x="19466" y="-1209"/>
                      <a:pt x="29966" y="51"/>
                      <a:pt x="35845" y="2151"/>
                    </a:cubicBezTo>
                    <a:cubicBezTo>
                      <a:pt x="39205" y="2571"/>
                      <a:pt x="40465" y="9290"/>
                      <a:pt x="42985" y="143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378AC88F-AD98-A443-A584-E9F3F5BB0BE7}"/>
                  </a:ext>
                </a:extLst>
              </p:cNvPr>
              <p:cNvSpPr/>
              <p:nvPr/>
            </p:nvSpPr>
            <p:spPr>
              <a:xfrm>
                <a:off x="6430084" y="1712266"/>
                <a:ext cx="39518" cy="58797"/>
              </a:xfrm>
              <a:custGeom>
                <a:avLst/>
                <a:gdLst>
                  <a:gd name="connsiteX0" fmla="*/ 16395 w 39518"/>
                  <a:gd name="connsiteY0" fmla="*/ 58797 h 58797"/>
                  <a:gd name="connsiteX1" fmla="*/ 15 w 39518"/>
                  <a:gd name="connsiteY1" fmla="*/ 36118 h 58797"/>
                  <a:gd name="connsiteX2" fmla="*/ 11355 w 39518"/>
                  <a:gd name="connsiteY2" fmla="*/ 8400 h 58797"/>
                  <a:gd name="connsiteX3" fmla="*/ 32774 w 39518"/>
                  <a:gd name="connsiteY3" fmla="*/ 0 h 58797"/>
                  <a:gd name="connsiteX4" fmla="*/ 39073 w 39518"/>
                  <a:gd name="connsiteY4" fmla="*/ 22259 h 58797"/>
                  <a:gd name="connsiteX5" fmla="*/ 16395 w 39518"/>
                  <a:gd name="connsiteY5" fmla="*/ 58797 h 5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518" h="58797">
                    <a:moveTo>
                      <a:pt x="16395" y="58797"/>
                    </a:moveTo>
                    <a:cubicBezTo>
                      <a:pt x="7995" y="47878"/>
                      <a:pt x="-405" y="41578"/>
                      <a:pt x="15" y="36118"/>
                    </a:cubicBezTo>
                    <a:cubicBezTo>
                      <a:pt x="855" y="26459"/>
                      <a:pt x="5055" y="15959"/>
                      <a:pt x="11355" y="8400"/>
                    </a:cubicBezTo>
                    <a:cubicBezTo>
                      <a:pt x="15554" y="3360"/>
                      <a:pt x="25634" y="2520"/>
                      <a:pt x="32774" y="0"/>
                    </a:cubicBezTo>
                    <a:cubicBezTo>
                      <a:pt x="35294" y="7560"/>
                      <a:pt x="41173" y="16379"/>
                      <a:pt x="39073" y="22259"/>
                    </a:cubicBezTo>
                    <a:cubicBezTo>
                      <a:pt x="34874" y="33599"/>
                      <a:pt x="26474" y="43678"/>
                      <a:pt x="16395" y="5879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230D5F2C-475F-AA7A-57AA-EAA06BFC2315}"/>
                  </a:ext>
                </a:extLst>
              </p:cNvPr>
              <p:cNvSpPr/>
              <p:nvPr/>
            </p:nvSpPr>
            <p:spPr>
              <a:xfrm>
                <a:off x="5703531" y="3423668"/>
                <a:ext cx="44875" cy="52548"/>
              </a:xfrm>
              <a:custGeom>
                <a:avLst/>
                <a:gdLst>
                  <a:gd name="connsiteX0" fmla="*/ 0 w 44875"/>
                  <a:gd name="connsiteY0" fmla="*/ 35723 h 52548"/>
                  <a:gd name="connsiteX1" fmla="*/ 12599 w 44875"/>
                  <a:gd name="connsiteY1" fmla="*/ 12624 h 52548"/>
                  <a:gd name="connsiteX2" fmla="*/ 31919 w 44875"/>
                  <a:gd name="connsiteY2" fmla="*/ 24 h 52548"/>
                  <a:gd name="connsiteX3" fmla="*/ 43258 w 44875"/>
                  <a:gd name="connsiteY3" fmla="*/ 30683 h 52548"/>
                  <a:gd name="connsiteX4" fmla="*/ 30659 w 44875"/>
                  <a:gd name="connsiteY4" fmla="*/ 47062 h 52548"/>
                  <a:gd name="connsiteX5" fmla="*/ 13859 w 44875"/>
                  <a:gd name="connsiteY5" fmla="*/ 52102 h 52548"/>
                  <a:gd name="connsiteX6" fmla="*/ 0 w 44875"/>
                  <a:gd name="connsiteY6" fmla="*/ 35723 h 52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875" h="52548">
                    <a:moveTo>
                      <a:pt x="0" y="35723"/>
                    </a:moveTo>
                    <a:cubicBezTo>
                      <a:pt x="4620" y="26903"/>
                      <a:pt x="7560" y="18504"/>
                      <a:pt x="12599" y="12624"/>
                    </a:cubicBezTo>
                    <a:cubicBezTo>
                      <a:pt x="17639" y="6744"/>
                      <a:pt x="25199" y="444"/>
                      <a:pt x="31919" y="24"/>
                    </a:cubicBezTo>
                    <a:cubicBezTo>
                      <a:pt x="40738" y="-816"/>
                      <a:pt x="48298" y="20184"/>
                      <a:pt x="43258" y="30683"/>
                    </a:cubicBezTo>
                    <a:cubicBezTo>
                      <a:pt x="40318" y="36983"/>
                      <a:pt x="36118" y="42863"/>
                      <a:pt x="30659" y="47062"/>
                    </a:cubicBezTo>
                    <a:cubicBezTo>
                      <a:pt x="26039" y="50422"/>
                      <a:pt x="18479" y="53782"/>
                      <a:pt x="13859" y="52102"/>
                    </a:cubicBezTo>
                    <a:cubicBezTo>
                      <a:pt x="8400" y="49582"/>
                      <a:pt x="5040" y="42023"/>
                      <a:pt x="0" y="3572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B5FC923D-4D86-55FF-FE90-82DAAACDA6F7}"/>
                  </a:ext>
                </a:extLst>
              </p:cNvPr>
              <p:cNvSpPr/>
              <p:nvPr/>
            </p:nvSpPr>
            <p:spPr>
              <a:xfrm>
                <a:off x="6598412" y="2049450"/>
                <a:ext cx="44618" cy="54058"/>
              </a:xfrm>
              <a:custGeom>
                <a:avLst/>
                <a:gdLst>
                  <a:gd name="connsiteX0" fmla="*/ 44618 w 44618"/>
                  <a:gd name="connsiteY0" fmla="*/ 20220 h 54058"/>
                  <a:gd name="connsiteX1" fmla="*/ 19839 w 44618"/>
                  <a:gd name="connsiteY1" fmla="*/ 52979 h 54058"/>
                  <a:gd name="connsiteX2" fmla="*/ 7660 w 44618"/>
                  <a:gd name="connsiteY2" fmla="*/ 51719 h 54058"/>
                  <a:gd name="connsiteX3" fmla="*/ 100 w 44618"/>
                  <a:gd name="connsiteY3" fmla="*/ 39540 h 54058"/>
                  <a:gd name="connsiteX4" fmla="*/ 12280 w 44618"/>
                  <a:gd name="connsiteY4" fmla="*/ 12241 h 54058"/>
                  <a:gd name="connsiteX5" fmla="*/ 25719 w 44618"/>
                  <a:gd name="connsiteY5" fmla="*/ 61 h 54058"/>
                  <a:gd name="connsiteX6" fmla="*/ 44618 w 44618"/>
                  <a:gd name="connsiteY6" fmla="*/ 20220 h 5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618" h="54058">
                    <a:moveTo>
                      <a:pt x="44618" y="20220"/>
                    </a:moveTo>
                    <a:cubicBezTo>
                      <a:pt x="35379" y="32400"/>
                      <a:pt x="28239" y="43319"/>
                      <a:pt x="19839" y="52979"/>
                    </a:cubicBezTo>
                    <a:cubicBezTo>
                      <a:pt x="18159" y="55079"/>
                      <a:pt x="10600" y="53819"/>
                      <a:pt x="7660" y="51719"/>
                    </a:cubicBezTo>
                    <a:cubicBezTo>
                      <a:pt x="3880" y="49199"/>
                      <a:pt x="-740" y="42900"/>
                      <a:pt x="100" y="39540"/>
                    </a:cubicBezTo>
                    <a:cubicBezTo>
                      <a:pt x="2620" y="29880"/>
                      <a:pt x="6820" y="20640"/>
                      <a:pt x="12280" y="12241"/>
                    </a:cubicBezTo>
                    <a:cubicBezTo>
                      <a:pt x="15219" y="7201"/>
                      <a:pt x="24039" y="-779"/>
                      <a:pt x="25719" y="61"/>
                    </a:cubicBezTo>
                    <a:cubicBezTo>
                      <a:pt x="32019" y="4681"/>
                      <a:pt x="36638" y="11401"/>
                      <a:pt x="44618" y="2022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5EC4120C-097E-7557-B3B4-A7892201621A}"/>
                  </a:ext>
                </a:extLst>
              </p:cNvPr>
              <p:cNvSpPr/>
              <p:nvPr/>
            </p:nvSpPr>
            <p:spPr>
              <a:xfrm>
                <a:off x="6669629" y="1726826"/>
                <a:ext cx="39395" cy="56105"/>
              </a:xfrm>
              <a:custGeom>
                <a:avLst/>
                <a:gdLst>
                  <a:gd name="connsiteX0" fmla="*/ 39338 w 39395"/>
                  <a:gd name="connsiteY0" fmla="*/ 6439 h 56105"/>
                  <a:gd name="connsiteX1" fmla="*/ 12879 w 39395"/>
                  <a:gd name="connsiteY1" fmla="*/ 55997 h 56105"/>
                  <a:gd name="connsiteX2" fmla="*/ 1540 w 39395"/>
                  <a:gd name="connsiteY2" fmla="*/ 49697 h 56105"/>
                  <a:gd name="connsiteX3" fmla="*/ 20859 w 39395"/>
                  <a:gd name="connsiteY3" fmla="*/ 559 h 56105"/>
                  <a:gd name="connsiteX4" fmla="*/ 39338 w 39395"/>
                  <a:gd name="connsiteY4" fmla="*/ 6439 h 56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395" h="56105">
                    <a:moveTo>
                      <a:pt x="39338" y="6439"/>
                    </a:moveTo>
                    <a:cubicBezTo>
                      <a:pt x="40598" y="18198"/>
                      <a:pt x="20859" y="53477"/>
                      <a:pt x="12879" y="55997"/>
                    </a:cubicBezTo>
                    <a:cubicBezTo>
                      <a:pt x="9940" y="56837"/>
                      <a:pt x="2380" y="52637"/>
                      <a:pt x="1540" y="49697"/>
                    </a:cubicBezTo>
                    <a:cubicBezTo>
                      <a:pt x="-3500" y="31638"/>
                      <a:pt x="4060" y="10639"/>
                      <a:pt x="20859" y="559"/>
                    </a:cubicBezTo>
                    <a:cubicBezTo>
                      <a:pt x="25059" y="-1961"/>
                      <a:pt x="34299" y="4759"/>
                      <a:pt x="39338" y="643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A9339C37-58D1-3236-0213-4C182B4143BE}"/>
                  </a:ext>
                </a:extLst>
              </p:cNvPr>
              <p:cNvSpPr/>
              <p:nvPr/>
            </p:nvSpPr>
            <p:spPr>
              <a:xfrm>
                <a:off x="5185693" y="2445460"/>
                <a:ext cx="48543" cy="50989"/>
              </a:xfrm>
              <a:custGeom>
                <a:avLst/>
                <a:gdLst>
                  <a:gd name="connsiteX0" fmla="*/ 0 w 48543"/>
                  <a:gd name="connsiteY0" fmla="*/ 44192 h 50989"/>
                  <a:gd name="connsiteX1" fmla="*/ 15539 w 48543"/>
                  <a:gd name="connsiteY1" fmla="*/ 13534 h 50989"/>
                  <a:gd name="connsiteX2" fmla="*/ 33178 w 48543"/>
                  <a:gd name="connsiteY2" fmla="*/ 1354 h 50989"/>
                  <a:gd name="connsiteX3" fmla="*/ 45358 w 48543"/>
                  <a:gd name="connsiteY3" fmla="*/ 29073 h 50989"/>
                  <a:gd name="connsiteX4" fmla="*/ 35698 w 48543"/>
                  <a:gd name="connsiteY4" fmla="*/ 46292 h 50989"/>
                  <a:gd name="connsiteX5" fmla="*/ 17639 w 48543"/>
                  <a:gd name="connsiteY5" fmla="*/ 50912 h 50989"/>
                  <a:gd name="connsiteX6" fmla="*/ 0 w 48543"/>
                  <a:gd name="connsiteY6" fmla="*/ 44192 h 5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43" h="50989">
                    <a:moveTo>
                      <a:pt x="0" y="44192"/>
                    </a:moveTo>
                    <a:cubicBezTo>
                      <a:pt x="8400" y="28233"/>
                      <a:pt x="12599" y="21093"/>
                      <a:pt x="15539" y="13534"/>
                    </a:cubicBezTo>
                    <a:cubicBezTo>
                      <a:pt x="18479" y="4714"/>
                      <a:pt x="22679" y="-3266"/>
                      <a:pt x="33178" y="1354"/>
                    </a:cubicBezTo>
                    <a:cubicBezTo>
                      <a:pt x="44098" y="6394"/>
                      <a:pt x="53758" y="14374"/>
                      <a:pt x="45358" y="29073"/>
                    </a:cubicBezTo>
                    <a:cubicBezTo>
                      <a:pt x="41998" y="34953"/>
                      <a:pt x="40318" y="42513"/>
                      <a:pt x="35698" y="46292"/>
                    </a:cubicBezTo>
                    <a:cubicBezTo>
                      <a:pt x="31499" y="50072"/>
                      <a:pt x="23519" y="51332"/>
                      <a:pt x="17639" y="50912"/>
                    </a:cubicBezTo>
                    <a:cubicBezTo>
                      <a:pt x="11340" y="50072"/>
                      <a:pt x="5460" y="46292"/>
                      <a:pt x="0" y="441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DE27FA1D-0E0B-83FA-2928-A2E0B54B3D29}"/>
                  </a:ext>
                </a:extLst>
              </p:cNvPr>
              <p:cNvSpPr/>
              <p:nvPr/>
            </p:nvSpPr>
            <p:spPr>
              <a:xfrm>
                <a:off x="6671221" y="3159881"/>
                <a:ext cx="44046" cy="49216"/>
              </a:xfrm>
              <a:custGeom>
                <a:avLst/>
                <a:gdLst>
                  <a:gd name="connsiteX0" fmla="*/ 44047 w 44046"/>
                  <a:gd name="connsiteY0" fmla="*/ 15182 h 49216"/>
                  <a:gd name="connsiteX1" fmla="*/ 29347 w 44046"/>
                  <a:gd name="connsiteY1" fmla="*/ 44581 h 49216"/>
                  <a:gd name="connsiteX2" fmla="*/ 6668 w 44046"/>
                  <a:gd name="connsiteY2" fmla="*/ 47941 h 49216"/>
                  <a:gd name="connsiteX3" fmla="*/ 4988 w 44046"/>
                  <a:gd name="connsiteY3" fmla="*/ 26522 h 49216"/>
                  <a:gd name="connsiteX4" fmla="*/ 18428 w 44046"/>
                  <a:gd name="connsiteY4" fmla="*/ 5103 h 49216"/>
                  <a:gd name="connsiteX5" fmla="*/ 35647 w 44046"/>
                  <a:gd name="connsiteY5" fmla="*/ 63 h 49216"/>
                  <a:gd name="connsiteX6" fmla="*/ 44047 w 44046"/>
                  <a:gd name="connsiteY6" fmla="*/ 15182 h 4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46" h="49216">
                    <a:moveTo>
                      <a:pt x="44047" y="15182"/>
                    </a:moveTo>
                    <a:cubicBezTo>
                      <a:pt x="39847" y="24422"/>
                      <a:pt x="36487" y="36181"/>
                      <a:pt x="29347" y="44581"/>
                    </a:cubicBezTo>
                    <a:cubicBezTo>
                      <a:pt x="25148" y="49201"/>
                      <a:pt x="12968" y="50461"/>
                      <a:pt x="6668" y="47941"/>
                    </a:cubicBezTo>
                    <a:cubicBezTo>
                      <a:pt x="-2991" y="43741"/>
                      <a:pt x="-891" y="34921"/>
                      <a:pt x="4988" y="26522"/>
                    </a:cubicBezTo>
                    <a:cubicBezTo>
                      <a:pt x="9608" y="19802"/>
                      <a:pt x="12548" y="10982"/>
                      <a:pt x="18428" y="5103"/>
                    </a:cubicBezTo>
                    <a:cubicBezTo>
                      <a:pt x="22208" y="1323"/>
                      <a:pt x="30187" y="-357"/>
                      <a:pt x="35647" y="63"/>
                    </a:cubicBezTo>
                    <a:cubicBezTo>
                      <a:pt x="37747" y="63"/>
                      <a:pt x="39847" y="7623"/>
                      <a:pt x="44047" y="1518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7D5C4B49-E0BF-38E3-FF3B-718C863D11B9}"/>
                  </a:ext>
                </a:extLst>
              </p:cNvPr>
              <p:cNvSpPr/>
              <p:nvPr/>
            </p:nvSpPr>
            <p:spPr>
              <a:xfrm>
                <a:off x="5382600" y="2454358"/>
                <a:ext cx="40913" cy="48545"/>
              </a:xfrm>
              <a:custGeom>
                <a:avLst/>
                <a:gdLst>
                  <a:gd name="connsiteX0" fmla="*/ 9304 w 40913"/>
                  <a:gd name="connsiteY0" fmla="*/ 48314 h 48545"/>
                  <a:gd name="connsiteX1" fmla="*/ 65 w 40913"/>
                  <a:gd name="connsiteY1" fmla="*/ 28995 h 48545"/>
                  <a:gd name="connsiteX2" fmla="*/ 29463 w 40913"/>
                  <a:gd name="connsiteY2" fmla="*/ 436 h 48545"/>
                  <a:gd name="connsiteX3" fmla="*/ 40383 w 40913"/>
                  <a:gd name="connsiteY3" fmla="*/ 25635 h 48545"/>
                  <a:gd name="connsiteX4" fmla="*/ 9304 w 40913"/>
                  <a:gd name="connsiteY4" fmla="*/ 48314 h 48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13" h="48545">
                    <a:moveTo>
                      <a:pt x="9304" y="48314"/>
                    </a:moveTo>
                    <a:cubicBezTo>
                      <a:pt x="6785" y="42854"/>
                      <a:pt x="-775" y="35295"/>
                      <a:pt x="65" y="28995"/>
                    </a:cubicBezTo>
                    <a:cubicBezTo>
                      <a:pt x="2165" y="9676"/>
                      <a:pt x="17284" y="-2504"/>
                      <a:pt x="29463" y="436"/>
                    </a:cubicBezTo>
                    <a:cubicBezTo>
                      <a:pt x="43743" y="4216"/>
                      <a:pt x="40803" y="16396"/>
                      <a:pt x="40383" y="25635"/>
                    </a:cubicBezTo>
                    <a:cubicBezTo>
                      <a:pt x="40383" y="37815"/>
                      <a:pt x="24004" y="50414"/>
                      <a:pt x="9304" y="4831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B5C9B48E-C395-44E3-CB49-B5BC0A8A8D63}"/>
                  </a:ext>
                </a:extLst>
              </p:cNvPr>
              <p:cNvSpPr/>
              <p:nvPr/>
            </p:nvSpPr>
            <p:spPr>
              <a:xfrm>
                <a:off x="5395203" y="3168671"/>
                <a:ext cx="38816" cy="58889"/>
              </a:xfrm>
              <a:custGeom>
                <a:avLst/>
                <a:gdLst>
                  <a:gd name="connsiteX0" fmla="*/ 38279 w 38816"/>
                  <a:gd name="connsiteY0" fmla="*/ 8911 h 58889"/>
                  <a:gd name="connsiteX1" fmla="*/ 38699 w 38816"/>
                  <a:gd name="connsiteY1" fmla="*/ 16471 h 58889"/>
                  <a:gd name="connsiteX2" fmla="*/ 13500 w 38816"/>
                  <a:gd name="connsiteY2" fmla="*/ 58889 h 58889"/>
                  <a:gd name="connsiteX3" fmla="*/ 1741 w 38816"/>
                  <a:gd name="connsiteY3" fmla="*/ 50490 h 58889"/>
                  <a:gd name="connsiteX4" fmla="*/ 21060 w 38816"/>
                  <a:gd name="connsiteY4" fmla="*/ 2192 h 58889"/>
                  <a:gd name="connsiteX5" fmla="*/ 30299 w 38816"/>
                  <a:gd name="connsiteY5" fmla="*/ 512 h 58889"/>
                  <a:gd name="connsiteX6" fmla="*/ 38279 w 38816"/>
                  <a:gd name="connsiteY6" fmla="*/ 8911 h 5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816" h="58889">
                    <a:moveTo>
                      <a:pt x="38279" y="8911"/>
                    </a:moveTo>
                    <a:cubicBezTo>
                      <a:pt x="38279" y="13111"/>
                      <a:pt x="39119" y="15211"/>
                      <a:pt x="38699" y="16471"/>
                    </a:cubicBezTo>
                    <a:cubicBezTo>
                      <a:pt x="30299" y="30751"/>
                      <a:pt x="21900" y="44610"/>
                      <a:pt x="13500" y="58889"/>
                    </a:cubicBezTo>
                    <a:cubicBezTo>
                      <a:pt x="9300" y="56370"/>
                      <a:pt x="3840" y="54270"/>
                      <a:pt x="1741" y="50490"/>
                    </a:cubicBezTo>
                    <a:cubicBezTo>
                      <a:pt x="-4139" y="38730"/>
                      <a:pt x="5521" y="14791"/>
                      <a:pt x="21060" y="2192"/>
                    </a:cubicBezTo>
                    <a:cubicBezTo>
                      <a:pt x="23160" y="512"/>
                      <a:pt x="28199" y="-748"/>
                      <a:pt x="30299" y="512"/>
                    </a:cubicBezTo>
                    <a:cubicBezTo>
                      <a:pt x="33659" y="2612"/>
                      <a:pt x="36179" y="6812"/>
                      <a:pt x="38279" y="891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99EC8B12-E126-8C7A-0CBD-877D3FECCCFF}"/>
                  </a:ext>
                </a:extLst>
              </p:cNvPr>
              <p:cNvSpPr/>
              <p:nvPr/>
            </p:nvSpPr>
            <p:spPr>
              <a:xfrm>
                <a:off x="5048466" y="3128865"/>
                <a:ext cx="43570" cy="54298"/>
              </a:xfrm>
              <a:custGeom>
                <a:avLst/>
                <a:gdLst>
                  <a:gd name="connsiteX0" fmla="*/ 43571 w 43570"/>
                  <a:gd name="connsiteY0" fmla="*/ 17219 h 54298"/>
                  <a:gd name="connsiteX1" fmla="*/ 20052 w 43570"/>
                  <a:gd name="connsiteY1" fmla="*/ 52498 h 54298"/>
                  <a:gd name="connsiteX2" fmla="*/ 7872 w 43570"/>
                  <a:gd name="connsiteY2" fmla="*/ 52918 h 54298"/>
                  <a:gd name="connsiteX3" fmla="*/ 313 w 43570"/>
                  <a:gd name="connsiteY3" fmla="*/ 36118 h 54298"/>
                  <a:gd name="connsiteX4" fmla="*/ 19632 w 43570"/>
                  <a:gd name="connsiteY4" fmla="*/ 6300 h 54298"/>
                  <a:gd name="connsiteX5" fmla="*/ 35171 w 43570"/>
                  <a:gd name="connsiteY5" fmla="*/ 0 h 54298"/>
                  <a:gd name="connsiteX6" fmla="*/ 43571 w 43570"/>
                  <a:gd name="connsiteY6" fmla="*/ 17219 h 5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570" h="54298">
                    <a:moveTo>
                      <a:pt x="43571" y="17219"/>
                    </a:moveTo>
                    <a:cubicBezTo>
                      <a:pt x="36431" y="28139"/>
                      <a:pt x="28871" y="40738"/>
                      <a:pt x="20052" y="52498"/>
                    </a:cubicBezTo>
                    <a:cubicBezTo>
                      <a:pt x="18372" y="54598"/>
                      <a:pt x="9552" y="55018"/>
                      <a:pt x="7872" y="52918"/>
                    </a:cubicBezTo>
                    <a:cubicBezTo>
                      <a:pt x="4092" y="48298"/>
                      <a:pt x="-1367" y="40318"/>
                      <a:pt x="313" y="36118"/>
                    </a:cubicBezTo>
                    <a:cubicBezTo>
                      <a:pt x="4932" y="25199"/>
                      <a:pt x="12072" y="15539"/>
                      <a:pt x="19632" y="6300"/>
                    </a:cubicBezTo>
                    <a:cubicBezTo>
                      <a:pt x="22992" y="2520"/>
                      <a:pt x="29711" y="0"/>
                      <a:pt x="35171" y="0"/>
                    </a:cubicBezTo>
                    <a:cubicBezTo>
                      <a:pt x="36851" y="0"/>
                      <a:pt x="38951" y="8400"/>
                      <a:pt x="43571" y="172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AFBD8D34-2984-01B2-41D2-16CF0B220749}"/>
                  </a:ext>
                </a:extLst>
              </p:cNvPr>
              <p:cNvSpPr/>
              <p:nvPr/>
            </p:nvSpPr>
            <p:spPr>
              <a:xfrm>
                <a:off x="6386696" y="3304940"/>
                <a:ext cx="41723" cy="51555"/>
              </a:xfrm>
              <a:custGeom>
                <a:avLst/>
                <a:gdLst>
                  <a:gd name="connsiteX0" fmla="*/ 41724 w 41723"/>
                  <a:gd name="connsiteY0" fmla="*/ 5777 h 51555"/>
                  <a:gd name="connsiteX1" fmla="*/ 13165 w 41723"/>
                  <a:gd name="connsiteY1" fmla="*/ 51555 h 51555"/>
                  <a:gd name="connsiteX2" fmla="*/ 986 w 41723"/>
                  <a:gd name="connsiteY2" fmla="*/ 44835 h 51555"/>
                  <a:gd name="connsiteX3" fmla="*/ 27444 w 41723"/>
                  <a:gd name="connsiteY3" fmla="*/ 317 h 51555"/>
                  <a:gd name="connsiteX4" fmla="*/ 41724 w 41723"/>
                  <a:gd name="connsiteY4" fmla="*/ 5777 h 51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23" h="51555">
                    <a:moveTo>
                      <a:pt x="41724" y="5777"/>
                    </a:moveTo>
                    <a:cubicBezTo>
                      <a:pt x="41304" y="30976"/>
                      <a:pt x="27864" y="51555"/>
                      <a:pt x="13165" y="51555"/>
                    </a:cubicBezTo>
                    <a:cubicBezTo>
                      <a:pt x="8965" y="51555"/>
                      <a:pt x="2665" y="48195"/>
                      <a:pt x="986" y="44835"/>
                    </a:cubicBezTo>
                    <a:cubicBezTo>
                      <a:pt x="-4054" y="32236"/>
                      <a:pt x="11065" y="6197"/>
                      <a:pt x="27444" y="317"/>
                    </a:cubicBezTo>
                    <a:cubicBezTo>
                      <a:pt x="31644" y="-1363"/>
                      <a:pt x="37944" y="4097"/>
                      <a:pt x="41724" y="577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473EEAD0-DD60-A611-FFCC-DC163BEF7B60}"/>
                  </a:ext>
                </a:extLst>
              </p:cNvPr>
              <p:cNvSpPr/>
              <p:nvPr/>
            </p:nvSpPr>
            <p:spPr>
              <a:xfrm>
                <a:off x="5066444" y="2791603"/>
                <a:ext cx="41186" cy="57554"/>
              </a:xfrm>
              <a:custGeom>
                <a:avLst/>
                <a:gdLst>
                  <a:gd name="connsiteX0" fmla="*/ 12994 w 41186"/>
                  <a:gd name="connsiteY0" fmla="*/ 57554 h 57554"/>
                  <a:gd name="connsiteX1" fmla="*/ 4594 w 41186"/>
                  <a:gd name="connsiteY1" fmla="*/ 51255 h 57554"/>
                  <a:gd name="connsiteX2" fmla="*/ 10894 w 41186"/>
                  <a:gd name="connsiteY2" fmla="*/ 18916 h 57554"/>
                  <a:gd name="connsiteX3" fmla="*/ 32313 w 41186"/>
                  <a:gd name="connsiteY3" fmla="*/ 17 h 57554"/>
                  <a:gd name="connsiteX4" fmla="*/ 41133 w 41186"/>
                  <a:gd name="connsiteY4" fmla="*/ 9256 h 57554"/>
                  <a:gd name="connsiteX5" fmla="*/ 21394 w 41186"/>
                  <a:gd name="connsiteY5" fmla="*/ 55034 h 57554"/>
                  <a:gd name="connsiteX6" fmla="*/ 12994 w 41186"/>
                  <a:gd name="connsiteY6" fmla="*/ 57554 h 5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186" h="57554">
                    <a:moveTo>
                      <a:pt x="12994" y="57554"/>
                    </a:moveTo>
                    <a:cubicBezTo>
                      <a:pt x="10054" y="55455"/>
                      <a:pt x="6694" y="53774"/>
                      <a:pt x="4594" y="51255"/>
                    </a:cubicBezTo>
                    <a:cubicBezTo>
                      <a:pt x="-6745" y="38235"/>
                      <a:pt x="5854" y="28156"/>
                      <a:pt x="10894" y="18916"/>
                    </a:cubicBezTo>
                    <a:cubicBezTo>
                      <a:pt x="15094" y="10936"/>
                      <a:pt x="24754" y="5477"/>
                      <a:pt x="32313" y="17"/>
                    </a:cubicBezTo>
                    <a:cubicBezTo>
                      <a:pt x="32733" y="-403"/>
                      <a:pt x="41973" y="7157"/>
                      <a:pt x="41133" y="9256"/>
                    </a:cubicBezTo>
                    <a:cubicBezTo>
                      <a:pt x="35673" y="24796"/>
                      <a:pt x="28533" y="40335"/>
                      <a:pt x="21394" y="55034"/>
                    </a:cubicBezTo>
                    <a:cubicBezTo>
                      <a:pt x="21394" y="57134"/>
                      <a:pt x="16354" y="57134"/>
                      <a:pt x="12994" y="5755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F92DBFF0-B75F-DBF2-15F0-8271650FC7A4}"/>
                  </a:ext>
                </a:extLst>
              </p:cNvPr>
              <p:cNvSpPr/>
              <p:nvPr/>
            </p:nvSpPr>
            <p:spPr>
              <a:xfrm>
                <a:off x="5320765" y="2171605"/>
                <a:ext cx="44260" cy="52408"/>
              </a:xfrm>
              <a:custGeom>
                <a:avLst/>
                <a:gdLst>
                  <a:gd name="connsiteX0" fmla="*/ 44261 w 44260"/>
                  <a:gd name="connsiteY0" fmla="*/ 8521 h 52408"/>
                  <a:gd name="connsiteX1" fmla="*/ 29561 w 44260"/>
                  <a:gd name="connsiteY1" fmla="*/ 40439 h 52408"/>
                  <a:gd name="connsiteX2" fmla="*/ 11082 w 44260"/>
                  <a:gd name="connsiteY2" fmla="*/ 49259 h 52408"/>
                  <a:gd name="connsiteX3" fmla="*/ 162 w 44260"/>
                  <a:gd name="connsiteY3" fmla="*/ 28260 h 52408"/>
                  <a:gd name="connsiteX4" fmla="*/ 15702 w 44260"/>
                  <a:gd name="connsiteY4" fmla="*/ 2221 h 52408"/>
                  <a:gd name="connsiteX5" fmla="*/ 30401 w 44260"/>
                  <a:gd name="connsiteY5" fmla="*/ 961 h 52408"/>
                  <a:gd name="connsiteX6" fmla="*/ 44261 w 44260"/>
                  <a:gd name="connsiteY6" fmla="*/ 8521 h 5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260" h="52408">
                    <a:moveTo>
                      <a:pt x="44261" y="8521"/>
                    </a:moveTo>
                    <a:cubicBezTo>
                      <a:pt x="37961" y="22380"/>
                      <a:pt x="32921" y="31200"/>
                      <a:pt x="29561" y="40439"/>
                    </a:cubicBezTo>
                    <a:cubicBezTo>
                      <a:pt x="26201" y="50519"/>
                      <a:pt x="19901" y="56399"/>
                      <a:pt x="11082" y="49259"/>
                    </a:cubicBezTo>
                    <a:cubicBezTo>
                      <a:pt x="5202" y="44639"/>
                      <a:pt x="-1098" y="34560"/>
                      <a:pt x="162" y="28260"/>
                    </a:cubicBezTo>
                    <a:cubicBezTo>
                      <a:pt x="1842" y="19020"/>
                      <a:pt x="8982" y="9781"/>
                      <a:pt x="15702" y="2221"/>
                    </a:cubicBezTo>
                    <a:cubicBezTo>
                      <a:pt x="18222" y="-719"/>
                      <a:pt x="25781" y="-299"/>
                      <a:pt x="30401" y="961"/>
                    </a:cubicBezTo>
                    <a:cubicBezTo>
                      <a:pt x="35021" y="2221"/>
                      <a:pt x="39221" y="5581"/>
                      <a:pt x="44261" y="852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B5D8A773-6E27-7F13-9E77-008105C618C8}"/>
                  </a:ext>
                </a:extLst>
              </p:cNvPr>
              <p:cNvSpPr/>
              <p:nvPr/>
            </p:nvSpPr>
            <p:spPr>
              <a:xfrm>
                <a:off x="5574545" y="1838077"/>
                <a:ext cx="45409" cy="50284"/>
              </a:xfrm>
              <a:custGeom>
                <a:avLst/>
                <a:gdLst>
                  <a:gd name="connsiteX0" fmla="*/ 45409 w 45409"/>
                  <a:gd name="connsiteY0" fmla="*/ 14463 h 50284"/>
                  <a:gd name="connsiteX1" fmla="*/ 40370 w 45409"/>
                  <a:gd name="connsiteY1" fmla="*/ 24123 h 50284"/>
                  <a:gd name="connsiteX2" fmla="*/ 13911 w 45409"/>
                  <a:gd name="connsiteY2" fmla="*/ 50162 h 50284"/>
                  <a:gd name="connsiteX3" fmla="*/ 51 w 45409"/>
                  <a:gd name="connsiteY3" fmla="*/ 37982 h 50284"/>
                  <a:gd name="connsiteX4" fmla="*/ 22731 w 45409"/>
                  <a:gd name="connsiteY4" fmla="*/ 604 h 50284"/>
                  <a:gd name="connsiteX5" fmla="*/ 36590 w 45409"/>
                  <a:gd name="connsiteY5" fmla="*/ 3544 h 50284"/>
                  <a:gd name="connsiteX6" fmla="*/ 45409 w 45409"/>
                  <a:gd name="connsiteY6" fmla="*/ 14463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409" h="50284">
                    <a:moveTo>
                      <a:pt x="45409" y="14463"/>
                    </a:moveTo>
                    <a:cubicBezTo>
                      <a:pt x="43310" y="18243"/>
                      <a:pt x="41630" y="21183"/>
                      <a:pt x="40370" y="24123"/>
                    </a:cubicBezTo>
                    <a:cubicBezTo>
                      <a:pt x="34490" y="35882"/>
                      <a:pt x="31550" y="51842"/>
                      <a:pt x="13911" y="50162"/>
                    </a:cubicBezTo>
                    <a:cubicBezTo>
                      <a:pt x="8871" y="49742"/>
                      <a:pt x="-789" y="39662"/>
                      <a:pt x="51" y="37982"/>
                    </a:cubicBezTo>
                    <a:cubicBezTo>
                      <a:pt x="6351" y="24963"/>
                      <a:pt x="14331" y="12363"/>
                      <a:pt x="22731" y="604"/>
                    </a:cubicBezTo>
                    <a:cubicBezTo>
                      <a:pt x="23990" y="-1076"/>
                      <a:pt x="32390" y="1024"/>
                      <a:pt x="36590" y="3544"/>
                    </a:cubicBezTo>
                    <a:cubicBezTo>
                      <a:pt x="40370" y="5644"/>
                      <a:pt x="42470" y="10683"/>
                      <a:pt x="45409" y="144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2D706962-6F3C-74F7-6154-1FFEE9D0316B}"/>
                  </a:ext>
                </a:extLst>
              </p:cNvPr>
              <p:cNvSpPr/>
              <p:nvPr/>
            </p:nvSpPr>
            <p:spPr>
              <a:xfrm>
                <a:off x="5361874" y="3000770"/>
                <a:ext cx="46828" cy="51043"/>
              </a:xfrm>
              <a:custGeom>
                <a:avLst/>
                <a:gdLst>
                  <a:gd name="connsiteX0" fmla="*/ 46829 w 46828"/>
                  <a:gd name="connsiteY0" fmla="*/ 6300 h 51043"/>
                  <a:gd name="connsiteX1" fmla="*/ 29610 w 46828"/>
                  <a:gd name="connsiteY1" fmla="*/ 42838 h 51043"/>
                  <a:gd name="connsiteX2" fmla="*/ 8611 w 46828"/>
                  <a:gd name="connsiteY2" fmla="*/ 50818 h 51043"/>
                  <a:gd name="connsiteX3" fmla="*/ 3151 w 46828"/>
                  <a:gd name="connsiteY3" fmla="*/ 30659 h 51043"/>
                  <a:gd name="connsiteX4" fmla="*/ 12390 w 46828"/>
                  <a:gd name="connsiteY4" fmla="*/ 6720 h 51043"/>
                  <a:gd name="connsiteX5" fmla="*/ 30030 w 46828"/>
                  <a:gd name="connsiteY5" fmla="*/ 0 h 51043"/>
                  <a:gd name="connsiteX6" fmla="*/ 46829 w 46828"/>
                  <a:gd name="connsiteY6" fmla="*/ 6300 h 5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828" h="51043">
                    <a:moveTo>
                      <a:pt x="46829" y="6300"/>
                    </a:moveTo>
                    <a:cubicBezTo>
                      <a:pt x="38429" y="24779"/>
                      <a:pt x="35910" y="35698"/>
                      <a:pt x="29610" y="42838"/>
                    </a:cubicBezTo>
                    <a:cubicBezTo>
                      <a:pt x="25410" y="47878"/>
                      <a:pt x="14910" y="52078"/>
                      <a:pt x="8611" y="50818"/>
                    </a:cubicBezTo>
                    <a:cubicBezTo>
                      <a:pt x="-3149" y="48718"/>
                      <a:pt x="-629" y="39478"/>
                      <a:pt x="3151" y="30659"/>
                    </a:cubicBezTo>
                    <a:cubicBezTo>
                      <a:pt x="6511" y="23099"/>
                      <a:pt x="7351" y="13439"/>
                      <a:pt x="12390" y="6720"/>
                    </a:cubicBezTo>
                    <a:cubicBezTo>
                      <a:pt x="15750" y="2520"/>
                      <a:pt x="24150" y="0"/>
                      <a:pt x="30030" y="0"/>
                    </a:cubicBezTo>
                    <a:cubicBezTo>
                      <a:pt x="36329" y="420"/>
                      <a:pt x="42629" y="4620"/>
                      <a:pt x="46829" y="63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9D11A34A-E04A-8168-5672-2F3B5C5AC5E6}"/>
                  </a:ext>
                </a:extLst>
              </p:cNvPr>
              <p:cNvSpPr/>
              <p:nvPr/>
            </p:nvSpPr>
            <p:spPr>
              <a:xfrm>
                <a:off x="5318810" y="1962975"/>
                <a:ext cx="40997" cy="50837"/>
              </a:xfrm>
              <a:custGeom>
                <a:avLst/>
                <a:gdLst>
                  <a:gd name="connsiteX0" fmla="*/ 40756 w 40997"/>
                  <a:gd name="connsiteY0" fmla="*/ 7580 h 50837"/>
                  <a:gd name="connsiteX1" fmla="*/ 10097 w 40997"/>
                  <a:gd name="connsiteY1" fmla="*/ 50838 h 50837"/>
                  <a:gd name="connsiteX2" fmla="*/ 18 w 40997"/>
                  <a:gd name="connsiteY2" fmla="*/ 42858 h 50837"/>
                  <a:gd name="connsiteX3" fmla="*/ 15977 w 40997"/>
                  <a:gd name="connsiteY3" fmla="*/ 1700 h 50837"/>
                  <a:gd name="connsiteX4" fmla="*/ 30256 w 40997"/>
                  <a:gd name="connsiteY4" fmla="*/ 860 h 50837"/>
                  <a:gd name="connsiteX5" fmla="*/ 40756 w 40997"/>
                  <a:gd name="connsiteY5" fmla="*/ 7580 h 50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997" h="50837">
                    <a:moveTo>
                      <a:pt x="40756" y="7580"/>
                    </a:moveTo>
                    <a:cubicBezTo>
                      <a:pt x="43276" y="25639"/>
                      <a:pt x="25637" y="49998"/>
                      <a:pt x="10097" y="50838"/>
                    </a:cubicBezTo>
                    <a:cubicBezTo>
                      <a:pt x="6737" y="50838"/>
                      <a:pt x="-402" y="44538"/>
                      <a:pt x="18" y="42858"/>
                    </a:cubicBezTo>
                    <a:cubicBezTo>
                      <a:pt x="4637" y="28999"/>
                      <a:pt x="9677" y="14719"/>
                      <a:pt x="15977" y="1700"/>
                    </a:cubicBezTo>
                    <a:cubicBezTo>
                      <a:pt x="17237" y="-400"/>
                      <a:pt x="25637" y="-400"/>
                      <a:pt x="30256" y="860"/>
                    </a:cubicBezTo>
                    <a:cubicBezTo>
                      <a:pt x="34876" y="1700"/>
                      <a:pt x="38236" y="5900"/>
                      <a:pt x="40756" y="75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643B874D-10A6-F665-1B9A-CB4105FCCFAE}"/>
                  </a:ext>
                </a:extLst>
              </p:cNvPr>
              <p:cNvSpPr/>
              <p:nvPr/>
            </p:nvSpPr>
            <p:spPr>
              <a:xfrm>
                <a:off x="5802678" y="2227147"/>
                <a:ext cx="53306" cy="37156"/>
              </a:xfrm>
              <a:custGeom>
                <a:avLst/>
                <a:gdLst>
                  <a:gd name="connsiteX0" fmla="*/ 53306 w 53306"/>
                  <a:gd name="connsiteY0" fmla="*/ 13036 h 37156"/>
                  <a:gd name="connsiteX1" fmla="*/ 35667 w 53306"/>
                  <a:gd name="connsiteY1" fmla="*/ 35295 h 37156"/>
                  <a:gd name="connsiteX2" fmla="*/ 2488 w 53306"/>
                  <a:gd name="connsiteY2" fmla="*/ 34875 h 37156"/>
                  <a:gd name="connsiteX3" fmla="*/ 388 w 53306"/>
                  <a:gd name="connsiteY3" fmla="*/ 22276 h 37156"/>
                  <a:gd name="connsiteX4" fmla="*/ 43227 w 53306"/>
                  <a:gd name="connsiteY4" fmla="*/ 17 h 37156"/>
                  <a:gd name="connsiteX5" fmla="*/ 53306 w 53306"/>
                  <a:gd name="connsiteY5" fmla="*/ 13036 h 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306" h="37156">
                    <a:moveTo>
                      <a:pt x="53306" y="13036"/>
                    </a:moveTo>
                    <a:cubicBezTo>
                      <a:pt x="47427" y="21016"/>
                      <a:pt x="43227" y="32355"/>
                      <a:pt x="35667" y="35295"/>
                    </a:cubicBezTo>
                    <a:cubicBezTo>
                      <a:pt x="26007" y="39075"/>
                      <a:pt x="13408" y="36135"/>
                      <a:pt x="2488" y="34875"/>
                    </a:cubicBezTo>
                    <a:cubicBezTo>
                      <a:pt x="1228" y="34875"/>
                      <a:pt x="-871" y="23116"/>
                      <a:pt x="388" y="22276"/>
                    </a:cubicBezTo>
                    <a:cubicBezTo>
                      <a:pt x="14248" y="13876"/>
                      <a:pt x="28527" y="6737"/>
                      <a:pt x="43227" y="17"/>
                    </a:cubicBezTo>
                    <a:cubicBezTo>
                      <a:pt x="44487" y="-403"/>
                      <a:pt x="49106" y="7156"/>
                      <a:pt x="53306" y="1303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C31F9A92-65A5-2453-F9A1-1C4280808E06}"/>
                  </a:ext>
                </a:extLst>
              </p:cNvPr>
              <p:cNvSpPr/>
              <p:nvPr/>
            </p:nvSpPr>
            <p:spPr>
              <a:xfrm>
                <a:off x="4920741" y="3107026"/>
                <a:ext cx="40681" cy="51657"/>
              </a:xfrm>
              <a:custGeom>
                <a:avLst/>
                <a:gdLst>
                  <a:gd name="connsiteX0" fmla="*/ 10863 w 40681"/>
                  <a:gd name="connsiteY0" fmla="*/ 51658 h 51657"/>
                  <a:gd name="connsiteX1" fmla="*/ 363 w 40681"/>
                  <a:gd name="connsiteY1" fmla="*/ 39898 h 51657"/>
                  <a:gd name="connsiteX2" fmla="*/ 5403 w 40681"/>
                  <a:gd name="connsiteY2" fmla="*/ 20999 h 51657"/>
                  <a:gd name="connsiteX3" fmla="*/ 32702 w 40681"/>
                  <a:gd name="connsiteY3" fmla="*/ 0 h 51657"/>
                  <a:gd name="connsiteX4" fmla="*/ 40681 w 40681"/>
                  <a:gd name="connsiteY4" fmla="*/ 11759 h 51657"/>
                  <a:gd name="connsiteX5" fmla="*/ 10863 w 40681"/>
                  <a:gd name="connsiteY5" fmla="*/ 51658 h 5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81" h="51657">
                    <a:moveTo>
                      <a:pt x="10863" y="51658"/>
                    </a:moveTo>
                    <a:cubicBezTo>
                      <a:pt x="8343" y="48718"/>
                      <a:pt x="1623" y="44938"/>
                      <a:pt x="363" y="39898"/>
                    </a:cubicBezTo>
                    <a:cubicBezTo>
                      <a:pt x="-897" y="34019"/>
                      <a:pt x="1203" y="25199"/>
                      <a:pt x="5403" y="20999"/>
                    </a:cubicBezTo>
                    <a:cubicBezTo>
                      <a:pt x="13383" y="13020"/>
                      <a:pt x="23462" y="7140"/>
                      <a:pt x="32702" y="0"/>
                    </a:cubicBezTo>
                    <a:cubicBezTo>
                      <a:pt x="35642" y="3780"/>
                      <a:pt x="40681" y="7560"/>
                      <a:pt x="40681" y="11759"/>
                    </a:cubicBezTo>
                    <a:cubicBezTo>
                      <a:pt x="40681" y="29399"/>
                      <a:pt x="27242" y="49138"/>
                      <a:pt x="10863" y="516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D1F3B50E-A486-DC19-48F2-C3DB59A2565D}"/>
                  </a:ext>
                </a:extLst>
              </p:cNvPr>
              <p:cNvSpPr/>
              <p:nvPr/>
            </p:nvSpPr>
            <p:spPr>
              <a:xfrm>
                <a:off x="6662458" y="1910477"/>
                <a:ext cx="42729" cy="50210"/>
              </a:xfrm>
              <a:custGeom>
                <a:avLst/>
                <a:gdLst>
                  <a:gd name="connsiteX0" fmla="*/ 42729 w 42729"/>
                  <a:gd name="connsiteY0" fmla="*/ 10100 h 50210"/>
                  <a:gd name="connsiteX1" fmla="*/ 28030 w 42729"/>
                  <a:gd name="connsiteY1" fmla="*/ 41598 h 50210"/>
                  <a:gd name="connsiteX2" fmla="*/ 4511 w 42729"/>
                  <a:gd name="connsiteY2" fmla="*/ 42438 h 50210"/>
                  <a:gd name="connsiteX3" fmla="*/ 22150 w 42729"/>
                  <a:gd name="connsiteY3" fmla="*/ 20 h 50210"/>
                  <a:gd name="connsiteX4" fmla="*/ 42729 w 42729"/>
                  <a:gd name="connsiteY4" fmla="*/ 10100 h 50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729" h="50210">
                    <a:moveTo>
                      <a:pt x="42729" y="10100"/>
                    </a:moveTo>
                    <a:cubicBezTo>
                      <a:pt x="36430" y="23119"/>
                      <a:pt x="32650" y="32779"/>
                      <a:pt x="28030" y="41598"/>
                    </a:cubicBezTo>
                    <a:cubicBezTo>
                      <a:pt x="22150" y="52938"/>
                      <a:pt x="12491" y="52938"/>
                      <a:pt x="4511" y="42438"/>
                    </a:cubicBezTo>
                    <a:cubicBezTo>
                      <a:pt x="-6409" y="28159"/>
                      <a:pt x="3671" y="1280"/>
                      <a:pt x="22150" y="20"/>
                    </a:cubicBezTo>
                    <a:cubicBezTo>
                      <a:pt x="28030" y="-400"/>
                      <a:pt x="34750" y="5900"/>
                      <a:pt x="42729" y="101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19523B9A-9893-3CA6-CFAD-0975E783585E}"/>
                  </a:ext>
                </a:extLst>
              </p:cNvPr>
              <p:cNvSpPr/>
              <p:nvPr/>
            </p:nvSpPr>
            <p:spPr>
              <a:xfrm>
                <a:off x="4914349" y="2983971"/>
                <a:ext cx="47073" cy="58898"/>
              </a:xfrm>
              <a:custGeom>
                <a:avLst/>
                <a:gdLst>
                  <a:gd name="connsiteX0" fmla="*/ 47074 w 47073"/>
                  <a:gd name="connsiteY0" fmla="*/ 10500 h 58898"/>
                  <a:gd name="connsiteX1" fmla="*/ 15155 w 47073"/>
                  <a:gd name="connsiteY1" fmla="*/ 57957 h 58898"/>
                  <a:gd name="connsiteX2" fmla="*/ 5496 w 47073"/>
                  <a:gd name="connsiteY2" fmla="*/ 57538 h 58898"/>
                  <a:gd name="connsiteX3" fmla="*/ 36 w 47073"/>
                  <a:gd name="connsiteY3" fmla="*/ 51238 h 58898"/>
                  <a:gd name="connsiteX4" fmla="*/ 27335 w 47073"/>
                  <a:gd name="connsiteY4" fmla="*/ 1680 h 58898"/>
                  <a:gd name="connsiteX5" fmla="*/ 36154 w 47073"/>
                  <a:gd name="connsiteY5" fmla="*/ 420 h 58898"/>
                  <a:gd name="connsiteX6" fmla="*/ 47074 w 47073"/>
                  <a:gd name="connsiteY6" fmla="*/ 10500 h 5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073" h="58898">
                    <a:moveTo>
                      <a:pt x="47074" y="10500"/>
                    </a:moveTo>
                    <a:cubicBezTo>
                      <a:pt x="36994" y="26039"/>
                      <a:pt x="26495" y="41998"/>
                      <a:pt x="15155" y="57957"/>
                    </a:cubicBezTo>
                    <a:cubicBezTo>
                      <a:pt x="13895" y="59637"/>
                      <a:pt x="8435" y="58797"/>
                      <a:pt x="5496" y="57538"/>
                    </a:cubicBezTo>
                    <a:cubicBezTo>
                      <a:pt x="2976" y="56698"/>
                      <a:pt x="-384" y="52078"/>
                      <a:pt x="36" y="51238"/>
                    </a:cubicBezTo>
                    <a:cubicBezTo>
                      <a:pt x="8855" y="34439"/>
                      <a:pt x="17675" y="18059"/>
                      <a:pt x="27335" y="1680"/>
                    </a:cubicBezTo>
                    <a:cubicBezTo>
                      <a:pt x="28175" y="0"/>
                      <a:pt x="33634" y="-420"/>
                      <a:pt x="36154" y="420"/>
                    </a:cubicBezTo>
                    <a:cubicBezTo>
                      <a:pt x="38674" y="1680"/>
                      <a:pt x="40774" y="4620"/>
                      <a:pt x="47074" y="105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EECF7E42-0A52-63B0-06CA-34D6C3F9715A}"/>
                  </a:ext>
                </a:extLst>
              </p:cNvPr>
              <p:cNvSpPr/>
              <p:nvPr/>
            </p:nvSpPr>
            <p:spPr>
              <a:xfrm>
                <a:off x="6622771" y="2970168"/>
                <a:ext cx="38318" cy="50006"/>
              </a:xfrm>
              <a:custGeom>
                <a:avLst/>
                <a:gdLst>
                  <a:gd name="connsiteX0" fmla="*/ 38318 w 38318"/>
                  <a:gd name="connsiteY0" fmla="*/ 11703 h 50006"/>
                  <a:gd name="connsiteX1" fmla="*/ 26559 w 38318"/>
                  <a:gd name="connsiteY1" fmla="*/ 39002 h 50006"/>
                  <a:gd name="connsiteX2" fmla="*/ 8079 w 38318"/>
                  <a:gd name="connsiteY2" fmla="*/ 47402 h 50006"/>
                  <a:gd name="connsiteX3" fmla="*/ 100 w 38318"/>
                  <a:gd name="connsiteY3" fmla="*/ 31442 h 50006"/>
                  <a:gd name="connsiteX4" fmla="*/ 10179 w 38318"/>
                  <a:gd name="connsiteY4" fmla="*/ 3723 h 50006"/>
                  <a:gd name="connsiteX5" fmla="*/ 27818 w 38318"/>
                  <a:gd name="connsiteY5" fmla="*/ 364 h 50006"/>
                  <a:gd name="connsiteX6" fmla="*/ 38318 w 38318"/>
                  <a:gd name="connsiteY6" fmla="*/ 11703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18" h="50006">
                    <a:moveTo>
                      <a:pt x="38318" y="11703"/>
                    </a:moveTo>
                    <a:cubicBezTo>
                      <a:pt x="34118" y="20943"/>
                      <a:pt x="29918" y="29762"/>
                      <a:pt x="26559" y="39002"/>
                    </a:cubicBezTo>
                    <a:cubicBezTo>
                      <a:pt x="23199" y="48661"/>
                      <a:pt x="16899" y="53281"/>
                      <a:pt x="8079" y="47402"/>
                    </a:cubicBezTo>
                    <a:cubicBezTo>
                      <a:pt x="3879" y="44462"/>
                      <a:pt x="-740" y="36482"/>
                      <a:pt x="100" y="31442"/>
                    </a:cubicBezTo>
                    <a:cubicBezTo>
                      <a:pt x="1360" y="21783"/>
                      <a:pt x="4719" y="11703"/>
                      <a:pt x="10179" y="3723"/>
                    </a:cubicBezTo>
                    <a:cubicBezTo>
                      <a:pt x="12699" y="-56"/>
                      <a:pt x="21939" y="-477"/>
                      <a:pt x="27818" y="364"/>
                    </a:cubicBezTo>
                    <a:cubicBezTo>
                      <a:pt x="31178" y="784"/>
                      <a:pt x="34118" y="7083"/>
                      <a:pt x="38318" y="1170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3" name="Freihandform: Form 102">
                <a:extLst>
                  <a:ext uri="{FF2B5EF4-FFF2-40B4-BE49-F238E27FC236}">
                    <a16:creationId xmlns:a16="http://schemas.microsoft.com/office/drawing/2014/main" id="{8BD1B099-F37D-0C71-E0FE-F1C7BF29A213}"/>
                  </a:ext>
                </a:extLst>
              </p:cNvPr>
              <p:cNvSpPr/>
              <p:nvPr/>
            </p:nvSpPr>
            <p:spPr>
              <a:xfrm>
                <a:off x="5026351" y="3251311"/>
                <a:ext cx="44687" cy="47576"/>
              </a:xfrm>
              <a:custGeom>
                <a:avLst/>
                <a:gdLst>
                  <a:gd name="connsiteX0" fmla="*/ 44687 w 44687"/>
                  <a:gd name="connsiteY0" fmla="*/ 14468 h 47576"/>
                  <a:gd name="connsiteX1" fmla="*/ 19908 w 44687"/>
                  <a:gd name="connsiteY1" fmla="*/ 46387 h 47576"/>
                  <a:gd name="connsiteX2" fmla="*/ 6889 w 44687"/>
                  <a:gd name="connsiteY2" fmla="*/ 45127 h 47576"/>
                  <a:gd name="connsiteX3" fmla="*/ 5209 w 44687"/>
                  <a:gd name="connsiteY3" fmla="*/ 18248 h 47576"/>
                  <a:gd name="connsiteX4" fmla="*/ 32088 w 44687"/>
                  <a:gd name="connsiteY4" fmla="*/ 1029 h 47576"/>
                  <a:gd name="connsiteX5" fmla="*/ 44687 w 44687"/>
                  <a:gd name="connsiteY5" fmla="*/ 14468 h 4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687" h="47576">
                    <a:moveTo>
                      <a:pt x="44687" y="14468"/>
                    </a:moveTo>
                    <a:cubicBezTo>
                      <a:pt x="36287" y="25387"/>
                      <a:pt x="28728" y="36307"/>
                      <a:pt x="19908" y="46387"/>
                    </a:cubicBezTo>
                    <a:cubicBezTo>
                      <a:pt x="18228" y="48487"/>
                      <a:pt x="10249" y="47646"/>
                      <a:pt x="6889" y="45127"/>
                    </a:cubicBezTo>
                    <a:cubicBezTo>
                      <a:pt x="-4451" y="37147"/>
                      <a:pt x="589" y="28327"/>
                      <a:pt x="5209" y="18248"/>
                    </a:cubicBezTo>
                    <a:cubicBezTo>
                      <a:pt x="11089" y="6068"/>
                      <a:pt x="17388" y="-3171"/>
                      <a:pt x="32088" y="1029"/>
                    </a:cubicBezTo>
                    <a:cubicBezTo>
                      <a:pt x="36707" y="1868"/>
                      <a:pt x="38807" y="7328"/>
                      <a:pt x="44687" y="1446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4" name="Freihandform: Form 103">
                <a:extLst>
                  <a:ext uri="{FF2B5EF4-FFF2-40B4-BE49-F238E27FC236}">
                    <a16:creationId xmlns:a16="http://schemas.microsoft.com/office/drawing/2014/main" id="{80F79684-F4B9-0D78-03A3-6C394348D013}"/>
                  </a:ext>
                </a:extLst>
              </p:cNvPr>
              <p:cNvSpPr/>
              <p:nvPr/>
            </p:nvSpPr>
            <p:spPr>
              <a:xfrm>
                <a:off x="5275298" y="2448874"/>
                <a:ext cx="39858" cy="48758"/>
              </a:xfrm>
              <a:custGeom>
                <a:avLst/>
                <a:gdLst>
                  <a:gd name="connsiteX0" fmla="*/ 12450 w 39858"/>
                  <a:gd name="connsiteY0" fmla="*/ 48758 h 48758"/>
                  <a:gd name="connsiteX1" fmla="*/ 1531 w 39858"/>
                  <a:gd name="connsiteY1" fmla="*/ 41619 h 48758"/>
                  <a:gd name="connsiteX2" fmla="*/ 28830 w 39858"/>
                  <a:gd name="connsiteY2" fmla="*/ 40 h 48758"/>
                  <a:gd name="connsiteX3" fmla="*/ 36809 w 39858"/>
                  <a:gd name="connsiteY3" fmla="*/ 6340 h 48758"/>
                  <a:gd name="connsiteX4" fmla="*/ 12450 w 39858"/>
                  <a:gd name="connsiteY4" fmla="*/ 48758 h 48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58" h="48758">
                    <a:moveTo>
                      <a:pt x="12450" y="48758"/>
                    </a:moveTo>
                    <a:cubicBezTo>
                      <a:pt x="9510" y="47078"/>
                      <a:pt x="3631" y="45399"/>
                      <a:pt x="1531" y="41619"/>
                    </a:cubicBezTo>
                    <a:cubicBezTo>
                      <a:pt x="-5609" y="27339"/>
                      <a:pt x="13710" y="-1220"/>
                      <a:pt x="28830" y="40"/>
                    </a:cubicBezTo>
                    <a:cubicBezTo>
                      <a:pt x="31769" y="460"/>
                      <a:pt x="35129" y="3400"/>
                      <a:pt x="36809" y="6340"/>
                    </a:cubicBezTo>
                    <a:cubicBezTo>
                      <a:pt x="46469" y="20620"/>
                      <a:pt x="31769" y="47499"/>
                      <a:pt x="12450" y="487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5" name="Freihandform: Form 104">
                <a:extLst>
                  <a:ext uri="{FF2B5EF4-FFF2-40B4-BE49-F238E27FC236}">
                    <a16:creationId xmlns:a16="http://schemas.microsoft.com/office/drawing/2014/main" id="{619BD764-070E-FA4A-3D2B-76BEA0453BD6}"/>
                  </a:ext>
                </a:extLst>
              </p:cNvPr>
              <p:cNvSpPr/>
              <p:nvPr/>
            </p:nvSpPr>
            <p:spPr>
              <a:xfrm>
                <a:off x="6113960" y="1737448"/>
                <a:ext cx="40643" cy="49154"/>
              </a:xfrm>
              <a:custGeom>
                <a:avLst/>
                <a:gdLst>
                  <a:gd name="connsiteX0" fmla="*/ 9972 w 40643"/>
                  <a:gd name="connsiteY0" fmla="*/ 49155 h 49154"/>
                  <a:gd name="connsiteX1" fmla="*/ 733 w 40643"/>
                  <a:gd name="connsiteY1" fmla="*/ 34455 h 49154"/>
                  <a:gd name="connsiteX2" fmla="*/ 1572 w 40643"/>
                  <a:gd name="connsiteY2" fmla="*/ 24796 h 49154"/>
                  <a:gd name="connsiteX3" fmla="*/ 30131 w 40643"/>
                  <a:gd name="connsiteY3" fmla="*/ 17 h 49154"/>
                  <a:gd name="connsiteX4" fmla="*/ 40631 w 40643"/>
                  <a:gd name="connsiteY4" fmla="*/ 9256 h 49154"/>
                  <a:gd name="connsiteX5" fmla="*/ 26771 w 40643"/>
                  <a:gd name="connsiteY5" fmla="*/ 44535 h 49154"/>
                  <a:gd name="connsiteX6" fmla="*/ 9972 w 40643"/>
                  <a:gd name="connsiteY6" fmla="*/ 49155 h 4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643" h="49154">
                    <a:moveTo>
                      <a:pt x="9972" y="49155"/>
                    </a:moveTo>
                    <a:cubicBezTo>
                      <a:pt x="7032" y="44535"/>
                      <a:pt x="3252" y="39495"/>
                      <a:pt x="733" y="34455"/>
                    </a:cubicBezTo>
                    <a:cubicBezTo>
                      <a:pt x="-527" y="31935"/>
                      <a:pt x="-107" y="26476"/>
                      <a:pt x="1572" y="24796"/>
                    </a:cubicBezTo>
                    <a:cubicBezTo>
                      <a:pt x="10392" y="15976"/>
                      <a:pt x="20052" y="7576"/>
                      <a:pt x="30131" y="17"/>
                    </a:cubicBezTo>
                    <a:cubicBezTo>
                      <a:pt x="30971" y="-403"/>
                      <a:pt x="41051" y="7156"/>
                      <a:pt x="40631" y="9256"/>
                    </a:cubicBezTo>
                    <a:cubicBezTo>
                      <a:pt x="37271" y="21436"/>
                      <a:pt x="32651" y="33615"/>
                      <a:pt x="26771" y="44535"/>
                    </a:cubicBezTo>
                    <a:cubicBezTo>
                      <a:pt x="25511" y="47475"/>
                      <a:pt x="17952" y="47055"/>
                      <a:pt x="9972" y="491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6" name="Freihandform: Form 105">
                <a:extLst>
                  <a:ext uri="{FF2B5EF4-FFF2-40B4-BE49-F238E27FC236}">
                    <a16:creationId xmlns:a16="http://schemas.microsoft.com/office/drawing/2014/main" id="{08EC7F9E-DE51-9AA9-0F4A-241F5DDCAFC1}"/>
                  </a:ext>
                </a:extLst>
              </p:cNvPr>
              <p:cNvSpPr/>
              <p:nvPr/>
            </p:nvSpPr>
            <p:spPr>
              <a:xfrm>
                <a:off x="5673805" y="1751744"/>
                <a:ext cx="36693" cy="52497"/>
              </a:xfrm>
              <a:custGeom>
                <a:avLst/>
                <a:gdLst>
                  <a:gd name="connsiteX0" fmla="*/ 25106 w 36693"/>
                  <a:gd name="connsiteY0" fmla="*/ 0 h 52497"/>
                  <a:gd name="connsiteX1" fmla="*/ 36446 w 36693"/>
                  <a:gd name="connsiteY1" fmla="*/ 21419 h 52497"/>
                  <a:gd name="connsiteX2" fmla="*/ 30566 w 36693"/>
                  <a:gd name="connsiteY2" fmla="*/ 34858 h 52497"/>
                  <a:gd name="connsiteX3" fmla="*/ 9147 w 36693"/>
                  <a:gd name="connsiteY3" fmla="*/ 52498 h 52497"/>
                  <a:gd name="connsiteX4" fmla="*/ 327 w 36693"/>
                  <a:gd name="connsiteY4" fmla="*/ 31499 h 52497"/>
                  <a:gd name="connsiteX5" fmla="*/ 25106 w 36693"/>
                  <a:gd name="connsiteY5" fmla="*/ 0 h 5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693" h="52497">
                    <a:moveTo>
                      <a:pt x="25106" y="0"/>
                    </a:moveTo>
                    <a:cubicBezTo>
                      <a:pt x="28886" y="6720"/>
                      <a:pt x="34346" y="13859"/>
                      <a:pt x="36446" y="21419"/>
                    </a:cubicBezTo>
                    <a:cubicBezTo>
                      <a:pt x="37706" y="25199"/>
                      <a:pt x="33926" y="31499"/>
                      <a:pt x="30566" y="34858"/>
                    </a:cubicBezTo>
                    <a:cubicBezTo>
                      <a:pt x="24266" y="41578"/>
                      <a:pt x="16286" y="46618"/>
                      <a:pt x="9147" y="52498"/>
                    </a:cubicBezTo>
                    <a:cubicBezTo>
                      <a:pt x="6207" y="45358"/>
                      <a:pt x="1167" y="38638"/>
                      <a:pt x="327" y="31499"/>
                    </a:cubicBezTo>
                    <a:cubicBezTo>
                      <a:pt x="-1773" y="16379"/>
                      <a:pt x="6207" y="5880"/>
                      <a:pt x="25106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7" name="Freihandform: Form 106">
                <a:extLst>
                  <a:ext uri="{FF2B5EF4-FFF2-40B4-BE49-F238E27FC236}">
                    <a16:creationId xmlns:a16="http://schemas.microsoft.com/office/drawing/2014/main" id="{640767E1-791D-8B20-D031-0C61CC8950E1}"/>
                  </a:ext>
                </a:extLst>
              </p:cNvPr>
              <p:cNvSpPr/>
              <p:nvPr/>
            </p:nvSpPr>
            <p:spPr>
              <a:xfrm>
                <a:off x="6618943" y="1599722"/>
                <a:ext cx="38679" cy="55698"/>
              </a:xfrm>
              <a:custGeom>
                <a:avLst/>
                <a:gdLst>
                  <a:gd name="connsiteX0" fmla="*/ 8128 w 38679"/>
                  <a:gd name="connsiteY0" fmla="*/ 53747 h 55698"/>
                  <a:gd name="connsiteX1" fmla="*/ 148 w 38679"/>
                  <a:gd name="connsiteY1" fmla="*/ 39048 h 55698"/>
                  <a:gd name="connsiteX2" fmla="*/ 17787 w 38679"/>
                  <a:gd name="connsiteY2" fmla="*/ 3349 h 55698"/>
                  <a:gd name="connsiteX3" fmla="*/ 37946 w 38679"/>
                  <a:gd name="connsiteY3" fmla="*/ 8809 h 55698"/>
                  <a:gd name="connsiteX4" fmla="*/ 15687 w 38679"/>
                  <a:gd name="connsiteY4" fmla="*/ 55427 h 55698"/>
                  <a:gd name="connsiteX5" fmla="*/ 8128 w 38679"/>
                  <a:gd name="connsiteY5" fmla="*/ 53747 h 5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679" h="55698">
                    <a:moveTo>
                      <a:pt x="8128" y="53747"/>
                    </a:moveTo>
                    <a:cubicBezTo>
                      <a:pt x="6028" y="49967"/>
                      <a:pt x="-1112" y="43247"/>
                      <a:pt x="148" y="39048"/>
                    </a:cubicBezTo>
                    <a:cubicBezTo>
                      <a:pt x="4348" y="26448"/>
                      <a:pt x="10648" y="14689"/>
                      <a:pt x="17787" y="3349"/>
                    </a:cubicBezTo>
                    <a:cubicBezTo>
                      <a:pt x="21987" y="-3371"/>
                      <a:pt x="35427" y="829"/>
                      <a:pt x="37946" y="8809"/>
                    </a:cubicBezTo>
                    <a:cubicBezTo>
                      <a:pt x="42146" y="21828"/>
                      <a:pt x="27447" y="52067"/>
                      <a:pt x="15687" y="55427"/>
                    </a:cubicBezTo>
                    <a:cubicBezTo>
                      <a:pt x="14007" y="56267"/>
                      <a:pt x="12328" y="55007"/>
                      <a:pt x="8128" y="537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8" name="Freihandform: Form 107">
                <a:extLst>
                  <a:ext uri="{FF2B5EF4-FFF2-40B4-BE49-F238E27FC236}">
                    <a16:creationId xmlns:a16="http://schemas.microsoft.com/office/drawing/2014/main" id="{E960B94E-2366-1372-E2B9-54C6209C7226}"/>
                  </a:ext>
                </a:extLst>
              </p:cNvPr>
              <p:cNvSpPr/>
              <p:nvPr/>
            </p:nvSpPr>
            <p:spPr>
              <a:xfrm>
                <a:off x="6631106" y="2311770"/>
                <a:ext cx="38095" cy="49368"/>
              </a:xfrm>
              <a:custGeom>
                <a:avLst/>
                <a:gdLst>
                  <a:gd name="connsiteX0" fmla="*/ 7305 w 38095"/>
                  <a:gd name="connsiteY0" fmla="*/ 49368 h 49368"/>
                  <a:gd name="connsiteX1" fmla="*/ 165 w 38095"/>
                  <a:gd name="connsiteY1" fmla="*/ 36349 h 49368"/>
                  <a:gd name="connsiteX2" fmla="*/ 19904 w 38095"/>
                  <a:gd name="connsiteY2" fmla="*/ 1910 h 49368"/>
                  <a:gd name="connsiteX3" fmla="*/ 33344 w 38095"/>
                  <a:gd name="connsiteY3" fmla="*/ 650 h 49368"/>
                  <a:gd name="connsiteX4" fmla="*/ 37963 w 38095"/>
                  <a:gd name="connsiteY4" fmla="*/ 8630 h 49368"/>
                  <a:gd name="connsiteX5" fmla="*/ 21164 w 38095"/>
                  <a:gd name="connsiteY5" fmla="*/ 48528 h 49368"/>
                  <a:gd name="connsiteX6" fmla="*/ 7305 w 38095"/>
                  <a:gd name="connsiteY6" fmla="*/ 49368 h 49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95" h="49368">
                    <a:moveTo>
                      <a:pt x="7305" y="49368"/>
                    </a:moveTo>
                    <a:cubicBezTo>
                      <a:pt x="5205" y="46008"/>
                      <a:pt x="-1095" y="39709"/>
                      <a:pt x="165" y="36349"/>
                    </a:cubicBezTo>
                    <a:cubicBezTo>
                      <a:pt x="5205" y="24169"/>
                      <a:pt x="12344" y="12410"/>
                      <a:pt x="19904" y="1910"/>
                    </a:cubicBezTo>
                    <a:cubicBezTo>
                      <a:pt x="21584" y="-610"/>
                      <a:pt x="29144" y="-190"/>
                      <a:pt x="33344" y="650"/>
                    </a:cubicBezTo>
                    <a:cubicBezTo>
                      <a:pt x="35443" y="1070"/>
                      <a:pt x="38803" y="6530"/>
                      <a:pt x="37963" y="8630"/>
                    </a:cubicBezTo>
                    <a:cubicBezTo>
                      <a:pt x="32924" y="22069"/>
                      <a:pt x="27464" y="35509"/>
                      <a:pt x="21164" y="48528"/>
                    </a:cubicBezTo>
                    <a:cubicBezTo>
                      <a:pt x="19904" y="49788"/>
                      <a:pt x="14444" y="48948"/>
                      <a:pt x="7305" y="4936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9" name="Freihandform: Form 108">
                <a:extLst>
                  <a:ext uri="{FF2B5EF4-FFF2-40B4-BE49-F238E27FC236}">
                    <a16:creationId xmlns:a16="http://schemas.microsoft.com/office/drawing/2014/main" id="{8A228946-7253-D3EE-7EA1-8BD174A7D43D}"/>
                  </a:ext>
                </a:extLst>
              </p:cNvPr>
              <p:cNvSpPr/>
              <p:nvPr/>
            </p:nvSpPr>
            <p:spPr>
              <a:xfrm>
                <a:off x="5413679" y="2663467"/>
                <a:ext cx="49788" cy="33656"/>
              </a:xfrm>
              <a:custGeom>
                <a:avLst/>
                <a:gdLst>
                  <a:gd name="connsiteX0" fmla="*/ 32403 w 49788"/>
                  <a:gd name="connsiteY0" fmla="*/ 33657 h 33656"/>
                  <a:gd name="connsiteX1" fmla="*/ 11824 w 49788"/>
                  <a:gd name="connsiteY1" fmla="*/ 31977 h 33656"/>
                  <a:gd name="connsiteX2" fmla="*/ 64 w 49788"/>
                  <a:gd name="connsiteY2" fmla="*/ 19798 h 33656"/>
                  <a:gd name="connsiteX3" fmla="*/ 12244 w 49788"/>
                  <a:gd name="connsiteY3" fmla="*/ 1738 h 33656"/>
                  <a:gd name="connsiteX4" fmla="*/ 26943 w 49788"/>
                  <a:gd name="connsiteY4" fmla="*/ 478 h 33656"/>
                  <a:gd name="connsiteX5" fmla="*/ 49622 w 49788"/>
                  <a:gd name="connsiteY5" fmla="*/ 21897 h 33656"/>
                  <a:gd name="connsiteX6" fmla="*/ 32403 w 49788"/>
                  <a:gd name="connsiteY6" fmla="*/ 33657 h 33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788" h="33656">
                    <a:moveTo>
                      <a:pt x="32403" y="33657"/>
                    </a:moveTo>
                    <a:cubicBezTo>
                      <a:pt x="21483" y="32817"/>
                      <a:pt x="15604" y="34077"/>
                      <a:pt x="11824" y="31977"/>
                    </a:cubicBezTo>
                    <a:cubicBezTo>
                      <a:pt x="6784" y="29457"/>
                      <a:pt x="-776" y="23157"/>
                      <a:pt x="64" y="19798"/>
                    </a:cubicBezTo>
                    <a:cubicBezTo>
                      <a:pt x="1744" y="13078"/>
                      <a:pt x="6784" y="6358"/>
                      <a:pt x="12244" y="1738"/>
                    </a:cubicBezTo>
                    <a:cubicBezTo>
                      <a:pt x="15184" y="-782"/>
                      <a:pt x="21904" y="58"/>
                      <a:pt x="26943" y="478"/>
                    </a:cubicBezTo>
                    <a:cubicBezTo>
                      <a:pt x="39963" y="1738"/>
                      <a:pt x="51302" y="8038"/>
                      <a:pt x="49622" y="21897"/>
                    </a:cubicBezTo>
                    <a:cubicBezTo>
                      <a:pt x="48782" y="27777"/>
                      <a:pt x="35763" y="31557"/>
                      <a:pt x="32403" y="3365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0" name="Freihandform: Form 109">
                <a:extLst>
                  <a:ext uri="{FF2B5EF4-FFF2-40B4-BE49-F238E27FC236}">
                    <a16:creationId xmlns:a16="http://schemas.microsoft.com/office/drawing/2014/main" id="{A4EDB426-F214-9156-DA54-95DF6C8B7E53}"/>
                  </a:ext>
                </a:extLst>
              </p:cNvPr>
              <p:cNvSpPr/>
              <p:nvPr/>
            </p:nvSpPr>
            <p:spPr>
              <a:xfrm>
                <a:off x="6500989" y="1754676"/>
                <a:ext cx="42505" cy="49665"/>
              </a:xfrm>
              <a:custGeom>
                <a:avLst/>
                <a:gdLst>
                  <a:gd name="connsiteX0" fmla="*/ 42505 w 42505"/>
                  <a:gd name="connsiteY0" fmla="*/ 11348 h 49665"/>
                  <a:gd name="connsiteX1" fmla="*/ 33686 w 42505"/>
                  <a:gd name="connsiteY1" fmla="*/ 28147 h 49665"/>
                  <a:gd name="connsiteX2" fmla="*/ 9747 w 42505"/>
                  <a:gd name="connsiteY2" fmla="*/ 49566 h 49665"/>
                  <a:gd name="connsiteX3" fmla="*/ 1347 w 42505"/>
                  <a:gd name="connsiteY3" fmla="*/ 39067 h 49665"/>
                  <a:gd name="connsiteX4" fmla="*/ 17726 w 42505"/>
                  <a:gd name="connsiteY4" fmla="*/ 428 h 49665"/>
                  <a:gd name="connsiteX5" fmla="*/ 42505 w 42505"/>
                  <a:gd name="connsiteY5" fmla="*/ 11348 h 49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505" h="49665">
                    <a:moveTo>
                      <a:pt x="42505" y="11348"/>
                    </a:moveTo>
                    <a:cubicBezTo>
                      <a:pt x="38306" y="18908"/>
                      <a:pt x="35786" y="23107"/>
                      <a:pt x="33686" y="28147"/>
                    </a:cubicBezTo>
                    <a:cubicBezTo>
                      <a:pt x="29486" y="39907"/>
                      <a:pt x="24446" y="50826"/>
                      <a:pt x="9747" y="49566"/>
                    </a:cubicBezTo>
                    <a:cubicBezTo>
                      <a:pt x="6387" y="49146"/>
                      <a:pt x="2187" y="43267"/>
                      <a:pt x="1347" y="39067"/>
                    </a:cubicBezTo>
                    <a:cubicBezTo>
                      <a:pt x="-2433" y="22688"/>
                      <a:pt x="1347" y="6728"/>
                      <a:pt x="17726" y="428"/>
                    </a:cubicBezTo>
                    <a:cubicBezTo>
                      <a:pt x="23606" y="-2091"/>
                      <a:pt x="34106" y="7148"/>
                      <a:pt x="42505" y="1134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1" name="Freihandform: Form 110">
                <a:extLst>
                  <a:ext uri="{FF2B5EF4-FFF2-40B4-BE49-F238E27FC236}">
                    <a16:creationId xmlns:a16="http://schemas.microsoft.com/office/drawing/2014/main" id="{81652724-143E-CC64-DF17-6F2E6601C9CE}"/>
                  </a:ext>
                </a:extLst>
              </p:cNvPr>
              <p:cNvSpPr/>
              <p:nvPr/>
            </p:nvSpPr>
            <p:spPr>
              <a:xfrm>
                <a:off x="6617347" y="2171654"/>
                <a:ext cx="39962" cy="51939"/>
              </a:xfrm>
              <a:custGeom>
                <a:avLst/>
                <a:gdLst>
                  <a:gd name="connsiteX0" fmla="*/ 8464 w 39962"/>
                  <a:gd name="connsiteY0" fmla="*/ 51730 h 51939"/>
                  <a:gd name="connsiteX1" fmla="*/ 904 w 39962"/>
                  <a:gd name="connsiteY1" fmla="*/ 45430 h 51939"/>
                  <a:gd name="connsiteX2" fmla="*/ 24843 w 39962"/>
                  <a:gd name="connsiteY2" fmla="*/ 72 h 51939"/>
                  <a:gd name="connsiteX3" fmla="*/ 39962 w 39962"/>
                  <a:gd name="connsiteY3" fmla="*/ 8892 h 51939"/>
                  <a:gd name="connsiteX4" fmla="*/ 13504 w 39962"/>
                  <a:gd name="connsiteY4" fmla="*/ 50890 h 51939"/>
                  <a:gd name="connsiteX5" fmla="*/ 8464 w 39962"/>
                  <a:gd name="connsiteY5" fmla="*/ 51730 h 51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962" h="51939">
                    <a:moveTo>
                      <a:pt x="8464" y="51730"/>
                    </a:moveTo>
                    <a:cubicBezTo>
                      <a:pt x="5944" y="49630"/>
                      <a:pt x="1744" y="47950"/>
                      <a:pt x="904" y="45430"/>
                    </a:cubicBezTo>
                    <a:cubicBezTo>
                      <a:pt x="-3716" y="29891"/>
                      <a:pt x="10144" y="3012"/>
                      <a:pt x="24843" y="72"/>
                    </a:cubicBezTo>
                    <a:cubicBezTo>
                      <a:pt x="29043" y="-768"/>
                      <a:pt x="34923" y="5952"/>
                      <a:pt x="39962" y="8892"/>
                    </a:cubicBezTo>
                    <a:cubicBezTo>
                      <a:pt x="31143" y="23171"/>
                      <a:pt x="22323" y="37031"/>
                      <a:pt x="13504" y="50890"/>
                    </a:cubicBezTo>
                    <a:cubicBezTo>
                      <a:pt x="12664" y="52570"/>
                      <a:pt x="10144" y="51730"/>
                      <a:pt x="8464" y="517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2" name="Freihandform: Form 111">
                <a:extLst>
                  <a:ext uri="{FF2B5EF4-FFF2-40B4-BE49-F238E27FC236}">
                    <a16:creationId xmlns:a16="http://schemas.microsoft.com/office/drawing/2014/main" id="{9421A704-D460-936E-1016-83738A9D28D2}"/>
                  </a:ext>
                </a:extLst>
              </p:cNvPr>
              <p:cNvSpPr/>
              <p:nvPr/>
            </p:nvSpPr>
            <p:spPr>
              <a:xfrm>
                <a:off x="5897209" y="3210342"/>
                <a:ext cx="43611" cy="47784"/>
              </a:xfrm>
              <a:custGeom>
                <a:avLst/>
                <a:gdLst>
                  <a:gd name="connsiteX0" fmla="*/ 43611 w 43611"/>
                  <a:gd name="connsiteY0" fmla="*/ 13859 h 47784"/>
                  <a:gd name="connsiteX1" fmla="*/ 27232 w 43611"/>
                  <a:gd name="connsiteY1" fmla="*/ 45778 h 47784"/>
                  <a:gd name="connsiteX2" fmla="*/ 5813 w 43611"/>
                  <a:gd name="connsiteY2" fmla="*/ 44938 h 47784"/>
                  <a:gd name="connsiteX3" fmla="*/ 6653 w 43611"/>
                  <a:gd name="connsiteY3" fmla="*/ 23939 h 47784"/>
                  <a:gd name="connsiteX4" fmla="*/ 28912 w 43611"/>
                  <a:gd name="connsiteY4" fmla="*/ 0 h 47784"/>
                  <a:gd name="connsiteX5" fmla="*/ 43611 w 43611"/>
                  <a:gd name="connsiteY5" fmla="*/ 13859 h 4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611" h="47784">
                    <a:moveTo>
                      <a:pt x="43611" y="13859"/>
                    </a:moveTo>
                    <a:cubicBezTo>
                      <a:pt x="37732" y="26039"/>
                      <a:pt x="34372" y="37798"/>
                      <a:pt x="27232" y="45778"/>
                    </a:cubicBezTo>
                    <a:cubicBezTo>
                      <a:pt x="24292" y="49138"/>
                      <a:pt x="11693" y="47878"/>
                      <a:pt x="5813" y="44938"/>
                    </a:cubicBezTo>
                    <a:cubicBezTo>
                      <a:pt x="-4686" y="39058"/>
                      <a:pt x="1193" y="30238"/>
                      <a:pt x="6653" y="23939"/>
                    </a:cubicBezTo>
                    <a:cubicBezTo>
                      <a:pt x="13373" y="15539"/>
                      <a:pt x="21352" y="7980"/>
                      <a:pt x="28912" y="0"/>
                    </a:cubicBezTo>
                    <a:cubicBezTo>
                      <a:pt x="33112" y="4200"/>
                      <a:pt x="37732" y="7980"/>
                      <a:pt x="43611" y="138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3" name="Freihandform: Form 112">
                <a:extLst>
                  <a:ext uri="{FF2B5EF4-FFF2-40B4-BE49-F238E27FC236}">
                    <a16:creationId xmlns:a16="http://schemas.microsoft.com/office/drawing/2014/main" id="{0DF368D8-FE99-588A-6190-35AA8D53754A}"/>
                  </a:ext>
                </a:extLst>
              </p:cNvPr>
              <p:cNvSpPr/>
              <p:nvPr/>
            </p:nvSpPr>
            <p:spPr>
              <a:xfrm>
                <a:off x="6271264" y="1641687"/>
                <a:ext cx="38793" cy="56719"/>
              </a:xfrm>
              <a:custGeom>
                <a:avLst/>
                <a:gdLst>
                  <a:gd name="connsiteX0" fmla="*/ 12682 w 38793"/>
                  <a:gd name="connsiteY0" fmla="*/ 56720 h 56719"/>
                  <a:gd name="connsiteX1" fmla="*/ 503 w 38793"/>
                  <a:gd name="connsiteY1" fmla="*/ 42021 h 56719"/>
                  <a:gd name="connsiteX2" fmla="*/ 2603 w 38793"/>
                  <a:gd name="connsiteY2" fmla="*/ 32361 h 56719"/>
                  <a:gd name="connsiteX3" fmla="*/ 29061 w 38793"/>
                  <a:gd name="connsiteY3" fmla="*/ 22 h 56719"/>
                  <a:gd name="connsiteX4" fmla="*/ 38721 w 38793"/>
                  <a:gd name="connsiteY4" fmla="*/ 10522 h 56719"/>
                  <a:gd name="connsiteX5" fmla="*/ 18562 w 38793"/>
                  <a:gd name="connsiteY5" fmla="*/ 55040 h 56719"/>
                  <a:gd name="connsiteX6" fmla="*/ 12682 w 38793"/>
                  <a:gd name="connsiteY6" fmla="*/ 56720 h 56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793" h="56719">
                    <a:moveTo>
                      <a:pt x="12682" y="56720"/>
                    </a:moveTo>
                    <a:cubicBezTo>
                      <a:pt x="8902" y="52100"/>
                      <a:pt x="3862" y="47480"/>
                      <a:pt x="503" y="42021"/>
                    </a:cubicBezTo>
                    <a:cubicBezTo>
                      <a:pt x="-757" y="39921"/>
                      <a:pt x="503" y="34461"/>
                      <a:pt x="2603" y="32361"/>
                    </a:cubicBezTo>
                    <a:cubicBezTo>
                      <a:pt x="12682" y="22281"/>
                      <a:pt x="7223" y="-818"/>
                      <a:pt x="29061" y="22"/>
                    </a:cubicBezTo>
                    <a:cubicBezTo>
                      <a:pt x="32841" y="22"/>
                      <a:pt x="39561" y="8422"/>
                      <a:pt x="38721" y="10522"/>
                    </a:cubicBezTo>
                    <a:cubicBezTo>
                      <a:pt x="32841" y="25641"/>
                      <a:pt x="25702" y="40341"/>
                      <a:pt x="18562" y="55040"/>
                    </a:cubicBezTo>
                    <a:cubicBezTo>
                      <a:pt x="18982" y="55880"/>
                      <a:pt x="16462" y="55880"/>
                      <a:pt x="12682" y="5672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4" name="Freihandform: Form 113">
                <a:extLst>
                  <a:ext uri="{FF2B5EF4-FFF2-40B4-BE49-F238E27FC236}">
                    <a16:creationId xmlns:a16="http://schemas.microsoft.com/office/drawing/2014/main" id="{DBA0B2FC-B73A-31D9-7284-B5ABA4F78D52}"/>
                  </a:ext>
                </a:extLst>
              </p:cNvPr>
              <p:cNvSpPr/>
              <p:nvPr/>
            </p:nvSpPr>
            <p:spPr>
              <a:xfrm>
                <a:off x="6501590" y="2164055"/>
                <a:ext cx="47364" cy="46729"/>
              </a:xfrm>
              <a:custGeom>
                <a:avLst/>
                <a:gdLst>
                  <a:gd name="connsiteX0" fmla="*/ 47365 w 47364"/>
                  <a:gd name="connsiteY0" fmla="*/ 16071 h 46729"/>
                  <a:gd name="connsiteX1" fmla="*/ 16706 w 47364"/>
                  <a:gd name="connsiteY1" fmla="*/ 46730 h 46729"/>
                  <a:gd name="connsiteX2" fmla="*/ 1166 w 47364"/>
                  <a:gd name="connsiteY2" fmla="*/ 28251 h 46729"/>
                  <a:gd name="connsiteX3" fmla="*/ 17126 w 47364"/>
                  <a:gd name="connsiteY3" fmla="*/ 112 h 46729"/>
                  <a:gd name="connsiteX4" fmla="*/ 47365 w 47364"/>
                  <a:gd name="connsiteY4" fmla="*/ 16071 h 4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364" h="46729">
                    <a:moveTo>
                      <a:pt x="47365" y="16071"/>
                    </a:moveTo>
                    <a:cubicBezTo>
                      <a:pt x="35185" y="28670"/>
                      <a:pt x="25946" y="37910"/>
                      <a:pt x="16706" y="46730"/>
                    </a:cubicBezTo>
                    <a:cubicBezTo>
                      <a:pt x="11246" y="40430"/>
                      <a:pt x="3687" y="35390"/>
                      <a:pt x="1166" y="28251"/>
                    </a:cubicBezTo>
                    <a:cubicBezTo>
                      <a:pt x="-3033" y="14811"/>
                      <a:pt x="4526" y="2632"/>
                      <a:pt x="17126" y="112"/>
                    </a:cubicBezTo>
                    <a:cubicBezTo>
                      <a:pt x="24265" y="-1148"/>
                      <a:pt x="33505" y="8511"/>
                      <a:pt x="47365" y="1607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5" name="Freihandform: Form 114">
                <a:extLst>
                  <a:ext uri="{FF2B5EF4-FFF2-40B4-BE49-F238E27FC236}">
                    <a16:creationId xmlns:a16="http://schemas.microsoft.com/office/drawing/2014/main" id="{003928B3-2E6B-CB7F-6716-DAB9FF399F18}"/>
                  </a:ext>
                </a:extLst>
              </p:cNvPr>
              <p:cNvSpPr/>
              <p:nvPr/>
            </p:nvSpPr>
            <p:spPr>
              <a:xfrm>
                <a:off x="5328074" y="2732199"/>
                <a:ext cx="38631" cy="56060"/>
              </a:xfrm>
              <a:custGeom>
                <a:avLst/>
                <a:gdLst>
                  <a:gd name="connsiteX0" fmla="*/ 38631 w 38631"/>
                  <a:gd name="connsiteY0" fmla="*/ 9863 h 56060"/>
                  <a:gd name="connsiteX1" fmla="*/ 31912 w 38631"/>
                  <a:gd name="connsiteY1" fmla="*/ 27502 h 56060"/>
                  <a:gd name="connsiteX2" fmla="*/ 7553 w 38631"/>
                  <a:gd name="connsiteY2" fmla="*/ 56061 h 56060"/>
                  <a:gd name="connsiteX3" fmla="*/ 3773 w 38631"/>
                  <a:gd name="connsiteY3" fmla="*/ 53121 h 56060"/>
                  <a:gd name="connsiteX4" fmla="*/ 11332 w 38631"/>
                  <a:gd name="connsiteY4" fmla="*/ 11123 h 56060"/>
                  <a:gd name="connsiteX5" fmla="*/ 22672 w 38631"/>
                  <a:gd name="connsiteY5" fmla="*/ 623 h 56060"/>
                  <a:gd name="connsiteX6" fmla="*/ 31072 w 38631"/>
                  <a:gd name="connsiteY6" fmla="*/ 1463 h 56060"/>
                  <a:gd name="connsiteX7" fmla="*/ 38631 w 38631"/>
                  <a:gd name="connsiteY7" fmla="*/ 9863 h 5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631" h="56060">
                    <a:moveTo>
                      <a:pt x="38631" y="9863"/>
                    </a:moveTo>
                    <a:cubicBezTo>
                      <a:pt x="36531" y="15743"/>
                      <a:pt x="35691" y="22462"/>
                      <a:pt x="31912" y="27502"/>
                    </a:cubicBezTo>
                    <a:cubicBezTo>
                      <a:pt x="24772" y="37582"/>
                      <a:pt x="25612" y="55221"/>
                      <a:pt x="7553" y="56061"/>
                    </a:cubicBezTo>
                    <a:cubicBezTo>
                      <a:pt x="6293" y="56061"/>
                      <a:pt x="4193" y="54381"/>
                      <a:pt x="3773" y="53121"/>
                    </a:cubicBezTo>
                    <a:cubicBezTo>
                      <a:pt x="-2947" y="37582"/>
                      <a:pt x="-847" y="23302"/>
                      <a:pt x="11332" y="11123"/>
                    </a:cubicBezTo>
                    <a:cubicBezTo>
                      <a:pt x="15112" y="7343"/>
                      <a:pt x="18472" y="3563"/>
                      <a:pt x="22672" y="623"/>
                    </a:cubicBezTo>
                    <a:cubicBezTo>
                      <a:pt x="24772" y="-637"/>
                      <a:pt x="28972" y="203"/>
                      <a:pt x="31072" y="1463"/>
                    </a:cubicBezTo>
                    <a:cubicBezTo>
                      <a:pt x="34012" y="3143"/>
                      <a:pt x="35691" y="6503"/>
                      <a:pt x="38631" y="98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6" name="Freihandform: Form 115">
                <a:extLst>
                  <a:ext uri="{FF2B5EF4-FFF2-40B4-BE49-F238E27FC236}">
                    <a16:creationId xmlns:a16="http://schemas.microsoft.com/office/drawing/2014/main" id="{B07DBA2B-DBE7-F88E-A23D-27CC3F182FC9}"/>
                  </a:ext>
                </a:extLst>
              </p:cNvPr>
              <p:cNvSpPr/>
              <p:nvPr/>
            </p:nvSpPr>
            <p:spPr>
              <a:xfrm>
                <a:off x="5470539" y="1869336"/>
                <a:ext cx="38959" cy="50821"/>
              </a:xfrm>
              <a:custGeom>
                <a:avLst/>
                <a:gdLst>
                  <a:gd name="connsiteX0" fmla="*/ 38960 w 38959"/>
                  <a:gd name="connsiteY0" fmla="*/ 11763 h 50821"/>
                  <a:gd name="connsiteX1" fmla="*/ 23841 w 38959"/>
                  <a:gd name="connsiteY1" fmla="*/ 43261 h 50821"/>
                  <a:gd name="connsiteX2" fmla="*/ 2421 w 38959"/>
                  <a:gd name="connsiteY2" fmla="*/ 50821 h 50821"/>
                  <a:gd name="connsiteX3" fmla="*/ 742 w 38959"/>
                  <a:gd name="connsiteY3" fmla="*/ 29402 h 50821"/>
                  <a:gd name="connsiteX4" fmla="*/ 16281 w 38959"/>
                  <a:gd name="connsiteY4" fmla="*/ 3783 h 50821"/>
                  <a:gd name="connsiteX5" fmla="*/ 29720 w 38959"/>
                  <a:gd name="connsiteY5" fmla="*/ 423 h 50821"/>
                  <a:gd name="connsiteX6" fmla="*/ 38960 w 38959"/>
                  <a:gd name="connsiteY6" fmla="*/ 11763 h 50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959" h="50821">
                    <a:moveTo>
                      <a:pt x="38960" y="11763"/>
                    </a:moveTo>
                    <a:cubicBezTo>
                      <a:pt x="33920" y="22682"/>
                      <a:pt x="30980" y="34442"/>
                      <a:pt x="23841" y="43261"/>
                    </a:cubicBezTo>
                    <a:cubicBezTo>
                      <a:pt x="19641" y="48301"/>
                      <a:pt x="9561" y="48301"/>
                      <a:pt x="2421" y="50821"/>
                    </a:cubicBezTo>
                    <a:cubicBezTo>
                      <a:pt x="1582" y="43681"/>
                      <a:pt x="-1358" y="35702"/>
                      <a:pt x="742" y="29402"/>
                    </a:cubicBezTo>
                    <a:cubicBezTo>
                      <a:pt x="3682" y="20162"/>
                      <a:pt x="9981" y="11763"/>
                      <a:pt x="16281" y="3783"/>
                    </a:cubicBezTo>
                    <a:cubicBezTo>
                      <a:pt x="18801" y="843"/>
                      <a:pt x="25520" y="-837"/>
                      <a:pt x="29720" y="423"/>
                    </a:cubicBezTo>
                    <a:cubicBezTo>
                      <a:pt x="32660" y="1263"/>
                      <a:pt x="35180" y="7143"/>
                      <a:pt x="38960" y="117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FDDB42C1-7760-F987-F265-BA9A6EAF40E8}"/>
                  </a:ext>
                </a:extLst>
              </p:cNvPr>
              <p:cNvSpPr/>
              <p:nvPr/>
            </p:nvSpPr>
            <p:spPr>
              <a:xfrm>
                <a:off x="5288623" y="2908374"/>
                <a:ext cx="37827" cy="57117"/>
              </a:xfrm>
              <a:custGeom>
                <a:avLst/>
                <a:gdLst>
                  <a:gd name="connsiteX0" fmla="*/ 13825 w 37827"/>
                  <a:gd name="connsiteY0" fmla="*/ 57117 h 57117"/>
                  <a:gd name="connsiteX1" fmla="*/ 5426 w 37827"/>
                  <a:gd name="connsiteY1" fmla="*/ 51658 h 57117"/>
                  <a:gd name="connsiteX2" fmla="*/ 386 w 37827"/>
                  <a:gd name="connsiteY2" fmla="*/ 38218 h 57117"/>
                  <a:gd name="connsiteX3" fmla="*/ 24745 w 37827"/>
                  <a:gd name="connsiteY3" fmla="*/ 0 h 57117"/>
                  <a:gd name="connsiteX4" fmla="*/ 36504 w 37827"/>
                  <a:gd name="connsiteY4" fmla="*/ 9660 h 57117"/>
                  <a:gd name="connsiteX5" fmla="*/ 18445 w 37827"/>
                  <a:gd name="connsiteY5" fmla="*/ 54178 h 57117"/>
                  <a:gd name="connsiteX6" fmla="*/ 13825 w 37827"/>
                  <a:gd name="connsiteY6" fmla="*/ 57117 h 57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827" h="57117">
                    <a:moveTo>
                      <a:pt x="13825" y="57117"/>
                    </a:moveTo>
                    <a:cubicBezTo>
                      <a:pt x="10885" y="55438"/>
                      <a:pt x="7106" y="54178"/>
                      <a:pt x="5426" y="51658"/>
                    </a:cubicBezTo>
                    <a:cubicBezTo>
                      <a:pt x="2906" y="47878"/>
                      <a:pt x="-1294" y="41158"/>
                      <a:pt x="386" y="38218"/>
                    </a:cubicBezTo>
                    <a:cubicBezTo>
                      <a:pt x="7525" y="25199"/>
                      <a:pt x="16345" y="12599"/>
                      <a:pt x="24745" y="0"/>
                    </a:cubicBezTo>
                    <a:cubicBezTo>
                      <a:pt x="28944" y="3360"/>
                      <a:pt x="34404" y="5880"/>
                      <a:pt x="36504" y="9660"/>
                    </a:cubicBezTo>
                    <a:cubicBezTo>
                      <a:pt x="41544" y="20999"/>
                      <a:pt x="31464" y="44098"/>
                      <a:pt x="18445" y="54178"/>
                    </a:cubicBezTo>
                    <a:cubicBezTo>
                      <a:pt x="16765" y="55438"/>
                      <a:pt x="15085" y="56278"/>
                      <a:pt x="13825" y="5711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370DBDCD-FD81-14F2-1E57-ABC4FC39AF0F}"/>
                  </a:ext>
                </a:extLst>
              </p:cNvPr>
              <p:cNvSpPr/>
              <p:nvPr/>
            </p:nvSpPr>
            <p:spPr>
              <a:xfrm>
                <a:off x="5654393" y="2066982"/>
                <a:ext cx="30587" cy="51825"/>
              </a:xfrm>
              <a:custGeom>
                <a:avLst/>
                <a:gdLst>
                  <a:gd name="connsiteX0" fmla="*/ 29819 w 30587"/>
                  <a:gd name="connsiteY0" fmla="*/ 33347 h 51825"/>
                  <a:gd name="connsiteX1" fmla="*/ 19319 w 30587"/>
                  <a:gd name="connsiteY1" fmla="*/ 48886 h 51825"/>
                  <a:gd name="connsiteX2" fmla="*/ 5460 w 30587"/>
                  <a:gd name="connsiteY2" fmla="*/ 51826 h 51825"/>
                  <a:gd name="connsiteX3" fmla="*/ 0 w 30587"/>
                  <a:gd name="connsiteY3" fmla="*/ 13608 h 51825"/>
                  <a:gd name="connsiteX4" fmla="*/ 12180 w 30587"/>
                  <a:gd name="connsiteY4" fmla="*/ 1008 h 51825"/>
                  <a:gd name="connsiteX5" fmla="*/ 29819 w 30587"/>
                  <a:gd name="connsiteY5" fmla="*/ 33347 h 5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587" h="51825">
                    <a:moveTo>
                      <a:pt x="29819" y="33347"/>
                    </a:moveTo>
                    <a:cubicBezTo>
                      <a:pt x="28139" y="35867"/>
                      <a:pt x="24779" y="43426"/>
                      <a:pt x="19319" y="48886"/>
                    </a:cubicBezTo>
                    <a:cubicBezTo>
                      <a:pt x="16379" y="51826"/>
                      <a:pt x="10080" y="50986"/>
                      <a:pt x="5460" y="51826"/>
                    </a:cubicBezTo>
                    <a:cubicBezTo>
                      <a:pt x="3360" y="39227"/>
                      <a:pt x="0" y="26207"/>
                      <a:pt x="0" y="13608"/>
                    </a:cubicBezTo>
                    <a:cubicBezTo>
                      <a:pt x="0" y="9408"/>
                      <a:pt x="7140" y="2688"/>
                      <a:pt x="12180" y="1008"/>
                    </a:cubicBezTo>
                    <a:cubicBezTo>
                      <a:pt x="25199" y="-3612"/>
                      <a:pt x="33179" y="7728"/>
                      <a:pt x="29819" y="333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97893034-5F37-39DF-072A-CD480E9EE665}"/>
                  </a:ext>
                </a:extLst>
              </p:cNvPr>
              <p:cNvSpPr/>
              <p:nvPr/>
            </p:nvSpPr>
            <p:spPr>
              <a:xfrm>
                <a:off x="6396501" y="3159017"/>
                <a:ext cx="42330" cy="51060"/>
              </a:xfrm>
              <a:custGeom>
                <a:avLst/>
                <a:gdLst>
                  <a:gd name="connsiteX0" fmla="*/ 0 w 42330"/>
                  <a:gd name="connsiteY0" fmla="*/ 37465 h 51060"/>
                  <a:gd name="connsiteX1" fmla="*/ 28139 w 42330"/>
                  <a:gd name="connsiteY1" fmla="*/ 87 h 51060"/>
                  <a:gd name="connsiteX2" fmla="*/ 41998 w 42330"/>
                  <a:gd name="connsiteY2" fmla="*/ 8066 h 51060"/>
                  <a:gd name="connsiteX3" fmla="*/ 21839 w 42330"/>
                  <a:gd name="connsiteY3" fmla="*/ 50064 h 51060"/>
                  <a:gd name="connsiteX4" fmla="*/ 7560 w 42330"/>
                  <a:gd name="connsiteY4" fmla="*/ 49225 h 51060"/>
                  <a:gd name="connsiteX5" fmla="*/ 0 w 42330"/>
                  <a:gd name="connsiteY5" fmla="*/ 37465 h 51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330" h="51060">
                    <a:moveTo>
                      <a:pt x="0" y="37465"/>
                    </a:moveTo>
                    <a:cubicBezTo>
                      <a:pt x="8400" y="25705"/>
                      <a:pt x="17639" y="12686"/>
                      <a:pt x="28139" y="87"/>
                    </a:cubicBezTo>
                    <a:cubicBezTo>
                      <a:pt x="28979" y="-753"/>
                      <a:pt x="41578" y="4706"/>
                      <a:pt x="41998" y="8066"/>
                    </a:cubicBezTo>
                    <a:cubicBezTo>
                      <a:pt x="44098" y="25705"/>
                      <a:pt x="36118" y="39985"/>
                      <a:pt x="21839" y="50064"/>
                    </a:cubicBezTo>
                    <a:cubicBezTo>
                      <a:pt x="18479" y="52164"/>
                      <a:pt x="12180" y="50485"/>
                      <a:pt x="7560" y="49225"/>
                    </a:cubicBezTo>
                    <a:cubicBezTo>
                      <a:pt x="4620" y="48385"/>
                      <a:pt x="3780" y="43765"/>
                      <a:pt x="0" y="3746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DFEE9197-A214-1137-74EC-8873D7819A5F}"/>
                  </a:ext>
                </a:extLst>
              </p:cNvPr>
              <p:cNvSpPr/>
              <p:nvPr/>
            </p:nvSpPr>
            <p:spPr>
              <a:xfrm>
                <a:off x="6588539" y="2782948"/>
                <a:ext cx="38259" cy="56118"/>
              </a:xfrm>
              <a:custGeom>
                <a:avLst/>
                <a:gdLst>
                  <a:gd name="connsiteX0" fmla="*/ 29712 w 38259"/>
                  <a:gd name="connsiteY0" fmla="*/ 1952 h 56118"/>
                  <a:gd name="connsiteX1" fmla="*/ 38111 w 38259"/>
                  <a:gd name="connsiteY1" fmla="*/ 17071 h 56118"/>
                  <a:gd name="connsiteX2" fmla="*/ 20892 w 38259"/>
                  <a:gd name="connsiteY2" fmla="*/ 52770 h 56118"/>
                  <a:gd name="connsiteX3" fmla="*/ 733 w 38259"/>
                  <a:gd name="connsiteY3" fmla="*/ 47310 h 56118"/>
                  <a:gd name="connsiteX4" fmla="*/ 22992 w 38259"/>
                  <a:gd name="connsiteY4" fmla="*/ 272 h 56118"/>
                  <a:gd name="connsiteX5" fmla="*/ 29712 w 38259"/>
                  <a:gd name="connsiteY5" fmla="*/ 1952 h 5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259" h="56118">
                    <a:moveTo>
                      <a:pt x="29712" y="1952"/>
                    </a:moveTo>
                    <a:cubicBezTo>
                      <a:pt x="32232" y="5732"/>
                      <a:pt x="39371" y="12871"/>
                      <a:pt x="38111" y="17071"/>
                    </a:cubicBezTo>
                    <a:cubicBezTo>
                      <a:pt x="34332" y="29671"/>
                      <a:pt x="27612" y="41430"/>
                      <a:pt x="20892" y="52770"/>
                    </a:cubicBezTo>
                    <a:cubicBezTo>
                      <a:pt x="16693" y="59489"/>
                      <a:pt x="3253" y="55290"/>
                      <a:pt x="733" y="47310"/>
                    </a:cubicBezTo>
                    <a:cubicBezTo>
                      <a:pt x="-3467" y="35130"/>
                      <a:pt x="11233" y="3632"/>
                      <a:pt x="22992" y="272"/>
                    </a:cubicBezTo>
                    <a:cubicBezTo>
                      <a:pt x="23832" y="-568"/>
                      <a:pt x="25512" y="692"/>
                      <a:pt x="29712" y="195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23E8772F-5E7E-2A04-CF0E-09B7B441C381}"/>
                  </a:ext>
                </a:extLst>
              </p:cNvPr>
              <p:cNvSpPr/>
              <p:nvPr/>
            </p:nvSpPr>
            <p:spPr>
              <a:xfrm>
                <a:off x="5438269" y="1994074"/>
                <a:ext cx="37843" cy="51405"/>
              </a:xfrm>
              <a:custGeom>
                <a:avLst/>
                <a:gdLst>
                  <a:gd name="connsiteX0" fmla="*/ 27132 w 37843"/>
                  <a:gd name="connsiteY0" fmla="*/ 0 h 51405"/>
                  <a:gd name="connsiteX1" fmla="*/ 36372 w 37843"/>
                  <a:gd name="connsiteY1" fmla="*/ 7980 h 51405"/>
                  <a:gd name="connsiteX2" fmla="*/ 23772 w 37843"/>
                  <a:gd name="connsiteY2" fmla="*/ 49138 h 51405"/>
                  <a:gd name="connsiteX3" fmla="*/ 10333 w 37843"/>
                  <a:gd name="connsiteY3" fmla="*/ 50398 h 51405"/>
                  <a:gd name="connsiteX4" fmla="*/ 253 w 37843"/>
                  <a:gd name="connsiteY4" fmla="*/ 39478 h 51405"/>
                  <a:gd name="connsiteX5" fmla="*/ 27132 w 37843"/>
                  <a:gd name="connsiteY5" fmla="*/ 0 h 51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843" h="51405">
                    <a:moveTo>
                      <a:pt x="27132" y="0"/>
                    </a:moveTo>
                    <a:cubicBezTo>
                      <a:pt x="29652" y="2100"/>
                      <a:pt x="35532" y="4620"/>
                      <a:pt x="36372" y="7980"/>
                    </a:cubicBezTo>
                    <a:cubicBezTo>
                      <a:pt x="39732" y="23519"/>
                      <a:pt x="38052" y="39058"/>
                      <a:pt x="23772" y="49138"/>
                    </a:cubicBezTo>
                    <a:cubicBezTo>
                      <a:pt x="20413" y="51658"/>
                      <a:pt x="14113" y="52078"/>
                      <a:pt x="10333" y="50398"/>
                    </a:cubicBezTo>
                    <a:cubicBezTo>
                      <a:pt x="6133" y="48718"/>
                      <a:pt x="1093" y="44098"/>
                      <a:pt x="253" y="39478"/>
                    </a:cubicBezTo>
                    <a:cubicBezTo>
                      <a:pt x="-2267" y="28139"/>
                      <a:pt x="14533" y="3360"/>
                      <a:pt x="27132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43F46F98-D452-64D9-0115-477660E25D43}"/>
                  </a:ext>
                </a:extLst>
              </p:cNvPr>
              <p:cNvSpPr/>
              <p:nvPr/>
            </p:nvSpPr>
            <p:spPr>
              <a:xfrm>
                <a:off x="6230947" y="1976867"/>
                <a:ext cx="37459" cy="48705"/>
              </a:xfrm>
              <a:custGeom>
                <a:avLst/>
                <a:gdLst>
                  <a:gd name="connsiteX0" fmla="*/ 37460 w 37459"/>
                  <a:gd name="connsiteY0" fmla="*/ 8807 h 48705"/>
                  <a:gd name="connsiteX1" fmla="*/ 28220 w 37459"/>
                  <a:gd name="connsiteY1" fmla="*/ 39046 h 48705"/>
                  <a:gd name="connsiteX2" fmla="*/ 8061 w 37459"/>
                  <a:gd name="connsiteY2" fmla="*/ 48705 h 48705"/>
                  <a:gd name="connsiteX3" fmla="*/ 81 w 37459"/>
                  <a:gd name="connsiteY3" fmla="*/ 28546 h 48705"/>
                  <a:gd name="connsiteX4" fmla="*/ 13521 w 37459"/>
                  <a:gd name="connsiteY4" fmla="*/ 2088 h 48705"/>
                  <a:gd name="connsiteX5" fmla="*/ 26540 w 37459"/>
                  <a:gd name="connsiteY5" fmla="*/ 828 h 48705"/>
                  <a:gd name="connsiteX6" fmla="*/ 37460 w 37459"/>
                  <a:gd name="connsiteY6" fmla="*/ 8807 h 48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459" h="48705">
                    <a:moveTo>
                      <a:pt x="37460" y="8807"/>
                    </a:moveTo>
                    <a:cubicBezTo>
                      <a:pt x="34100" y="20567"/>
                      <a:pt x="33260" y="31066"/>
                      <a:pt x="28220" y="39046"/>
                    </a:cubicBezTo>
                    <a:cubicBezTo>
                      <a:pt x="24860" y="44506"/>
                      <a:pt x="15201" y="45766"/>
                      <a:pt x="8061" y="48705"/>
                    </a:cubicBezTo>
                    <a:cubicBezTo>
                      <a:pt x="5121" y="41986"/>
                      <a:pt x="-759" y="34426"/>
                      <a:pt x="81" y="28546"/>
                    </a:cubicBezTo>
                    <a:cubicBezTo>
                      <a:pt x="1761" y="19307"/>
                      <a:pt x="7641" y="10067"/>
                      <a:pt x="13521" y="2088"/>
                    </a:cubicBezTo>
                    <a:cubicBezTo>
                      <a:pt x="15201" y="-432"/>
                      <a:pt x="22760" y="-432"/>
                      <a:pt x="26540" y="828"/>
                    </a:cubicBezTo>
                    <a:cubicBezTo>
                      <a:pt x="31580" y="2088"/>
                      <a:pt x="34940" y="6707"/>
                      <a:pt x="37460" y="880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51BB9DA1-71B2-B5A8-5062-DB19E1412496}"/>
                  </a:ext>
                </a:extLst>
              </p:cNvPr>
              <p:cNvSpPr/>
              <p:nvPr/>
            </p:nvSpPr>
            <p:spPr>
              <a:xfrm>
                <a:off x="6157149" y="1964621"/>
                <a:ext cx="37721" cy="53391"/>
              </a:xfrm>
              <a:custGeom>
                <a:avLst/>
                <a:gdLst>
                  <a:gd name="connsiteX0" fmla="*/ 18022 w 37721"/>
                  <a:gd name="connsiteY0" fmla="*/ 53392 h 53391"/>
                  <a:gd name="connsiteX1" fmla="*/ 2063 w 37721"/>
                  <a:gd name="connsiteY1" fmla="*/ 44572 h 53391"/>
                  <a:gd name="connsiteX2" fmla="*/ 22222 w 37721"/>
                  <a:gd name="connsiteY2" fmla="*/ 54 h 53391"/>
                  <a:gd name="connsiteX3" fmla="*/ 31041 w 37721"/>
                  <a:gd name="connsiteY3" fmla="*/ 3834 h 53391"/>
                  <a:gd name="connsiteX4" fmla="*/ 31461 w 37721"/>
                  <a:gd name="connsiteY4" fmla="*/ 29873 h 53391"/>
                  <a:gd name="connsiteX5" fmla="*/ 18022 w 37721"/>
                  <a:gd name="connsiteY5" fmla="*/ 53392 h 5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721" h="53391">
                    <a:moveTo>
                      <a:pt x="18022" y="53392"/>
                    </a:moveTo>
                    <a:cubicBezTo>
                      <a:pt x="10042" y="49192"/>
                      <a:pt x="4162" y="47932"/>
                      <a:pt x="2063" y="44572"/>
                    </a:cubicBezTo>
                    <a:cubicBezTo>
                      <a:pt x="-5497" y="32393"/>
                      <a:pt x="9202" y="1314"/>
                      <a:pt x="22222" y="54"/>
                    </a:cubicBezTo>
                    <a:cubicBezTo>
                      <a:pt x="25162" y="-366"/>
                      <a:pt x="28521" y="1734"/>
                      <a:pt x="31041" y="3834"/>
                    </a:cubicBezTo>
                    <a:cubicBezTo>
                      <a:pt x="43641" y="12234"/>
                      <a:pt x="35241" y="21473"/>
                      <a:pt x="31461" y="29873"/>
                    </a:cubicBezTo>
                    <a:cubicBezTo>
                      <a:pt x="27681" y="37433"/>
                      <a:pt x="23062" y="44992"/>
                      <a:pt x="18022" y="533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CC6B1E97-B995-6460-D3DE-9CA9D6E2D7C0}"/>
                  </a:ext>
                </a:extLst>
              </p:cNvPr>
              <p:cNvSpPr/>
              <p:nvPr/>
            </p:nvSpPr>
            <p:spPr>
              <a:xfrm>
                <a:off x="5295728" y="3192958"/>
                <a:ext cx="33787" cy="57400"/>
              </a:xfrm>
              <a:custGeom>
                <a:avLst/>
                <a:gdLst>
                  <a:gd name="connsiteX0" fmla="*/ 0 w 33787"/>
                  <a:gd name="connsiteY0" fmla="*/ 28722 h 57400"/>
                  <a:gd name="connsiteX1" fmla="*/ 14699 w 33787"/>
                  <a:gd name="connsiteY1" fmla="*/ 164 h 57400"/>
                  <a:gd name="connsiteX2" fmla="*/ 26879 w 33787"/>
                  <a:gd name="connsiteY2" fmla="*/ 4784 h 57400"/>
                  <a:gd name="connsiteX3" fmla="*/ 26039 w 33787"/>
                  <a:gd name="connsiteY3" fmla="*/ 42162 h 57400"/>
                  <a:gd name="connsiteX4" fmla="*/ 21839 w 33787"/>
                  <a:gd name="connsiteY4" fmla="*/ 51402 h 57400"/>
                  <a:gd name="connsiteX5" fmla="*/ 9660 w 33787"/>
                  <a:gd name="connsiteY5" fmla="*/ 57281 h 57400"/>
                  <a:gd name="connsiteX6" fmla="*/ 1260 w 33787"/>
                  <a:gd name="connsiteY6" fmla="*/ 46782 h 57400"/>
                  <a:gd name="connsiteX7" fmla="*/ 0 w 33787"/>
                  <a:gd name="connsiteY7" fmla="*/ 28722 h 5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87" h="57400">
                    <a:moveTo>
                      <a:pt x="0" y="28722"/>
                    </a:moveTo>
                    <a:cubicBezTo>
                      <a:pt x="2520" y="23263"/>
                      <a:pt x="8400" y="11503"/>
                      <a:pt x="14699" y="164"/>
                    </a:cubicBezTo>
                    <a:cubicBezTo>
                      <a:pt x="15119" y="-676"/>
                      <a:pt x="24359" y="1844"/>
                      <a:pt x="26879" y="4784"/>
                    </a:cubicBezTo>
                    <a:cubicBezTo>
                      <a:pt x="37798" y="16963"/>
                      <a:pt x="34438" y="29983"/>
                      <a:pt x="26039" y="42162"/>
                    </a:cubicBezTo>
                    <a:cubicBezTo>
                      <a:pt x="24359" y="45102"/>
                      <a:pt x="24359" y="49302"/>
                      <a:pt x="21839" y="51402"/>
                    </a:cubicBezTo>
                    <a:cubicBezTo>
                      <a:pt x="18479" y="54342"/>
                      <a:pt x="13439" y="58121"/>
                      <a:pt x="9660" y="57281"/>
                    </a:cubicBezTo>
                    <a:cubicBezTo>
                      <a:pt x="6300" y="56441"/>
                      <a:pt x="3360" y="50982"/>
                      <a:pt x="1260" y="46782"/>
                    </a:cubicBezTo>
                    <a:cubicBezTo>
                      <a:pt x="0" y="43842"/>
                      <a:pt x="840" y="40062"/>
                      <a:pt x="0" y="2872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FCF5C734-D4FC-734E-C9A0-4372B41DF3BB}"/>
                  </a:ext>
                </a:extLst>
              </p:cNvPr>
              <p:cNvSpPr/>
              <p:nvPr/>
            </p:nvSpPr>
            <p:spPr>
              <a:xfrm>
                <a:off x="5187355" y="2833245"/>
                <a:ext cx="40336" cy="49629"/>
              </a:xfrm>
              <a:custGeom>
                <a:avLst/>
                <a:gdLst>
                  <a:gd name="connsiteX0" fmla="*/ 40337 w 40336"/>
                  <a:gd name="connsiteY0" fmla="*/ 15912 h 49629"/>
                  <a:gd name="connsiteX1" fmla="*/ 14298 w 40336"/>
                  <a:gd name="connsiteY1" fmla="*/ 49511 h 49629"/>
                  <a:gd name="connsiteX2" fmla="*/ 2118 w 40336"/>
                  <a:gd name="connsiteY2" fmla="*/ 43211 h 49629"/>
                  <a:gd name="connsiteX3" fmla="*/ 16398 w 40336"/>
                  <a:gd name="connsiteY3" fmla="*/ 4153 h 49629"/>
                  <a:gd name="connsiteX4" fmla="*/ 29837 w 40336"/>
                  <a:gd name="connsiteY4" fmla="*/ 373 h 49629"/>
                  <a:gd name="connsiteX5" fmla="*/ 40337 w 40336"/>
                  <a:gd name="connsiteY5" fmla="*/ 15912 h 4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336" h="49629">
                    <a:moveTo>
                      <a:pt x="40337" y="15912"/>
                    </a:moveTo>
                    <a:cubicBezTo>
                      <a:pt x="31937" y="26832"/>
                      <a:pt x="23957" y="38591"/>
                      <a:pt x="14298" y="49511"/>
                    </a:cubicBezTo>
                    <a:cubicBezTo>
                      <a:pt x="13458" y="50351"/>
                      <a:pt x="3378" y="46571"/>
                      <a:pt x="2118" y="43211"/>
                    </a:cubicBezTo>
                    <a:cubicBezTo>
                      <a:pt x="-4602" y="26412"/>
                      <a:pt x="5898" y="14652"/>
                      <a:pt x="16398" y="4153"/>
                    </a:cubicBezTo>
                    <a:cubicBezTo>
                      <a:pt x="19338" y="1213"/>
                      <a:pt x="26057" y="-887"/>
                      <a:pt x="29837" y="373"/>
                    </a:cubicBezTo>
                    <a:cubicBezTo>
                      <a:pt x="33197" y="1633"/>
                      <a:pt x="34877" y="7933"/>
                      <a:pt x="40337" y="1591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6" name="Freihandform: Form 125">
                <a:extLst>
                  <a:ext uri="{FF2B5EF4-FFF2-40B4-BE49-F238E27FC236}">
                    <a16:creationId xmlns:a16="http://schemas.microsoft.com/office/drawing/2014/main" id="{CD33B0D7-B192-5EF0-4469-5CB03A0A094C}"/>
                  </a:ext>
                </a:extLst>
              </p:cNvPr>
              <p:cNvSpPr/>
              <p:nvPr/>
            </p:nvSpPr>
            <p:spPr>
              <a:xfrm>
                <a:off x="5635057" y="3379082"/>
                <a:ext cx="39075" cy="49247"/>
              </a:xfrm>
              <a:custGeom>
                <a:avLst/>
                <a:gdLst>
                  <a:gd name="connsiteX0" fmla="*/ 39075 w 39075"/>
                  <a:gd name="connsiteY0" fmla="*/ 10171 h 49247"/>
                  <a:gd name="connsiteX1" fmla="*/ 10096 w 39075"/>
                  <a:gd name="connsiteY1" fmla="*/ 49230 h 49247"/>
                  <a:gd name="connsiteX2" fmla="*/ 17 w 39075"/>
                  <a:gd name="connsiteY2" fmla="*/ 41250 h 49247"/>
                  <a:gd name="connsiteX3" fmla="*/ 21436 w 39075"/>
                  <a:gd name="connsiteY3" fmla="*/ 2192 h 49247"/>
                  <a:gd name="connsiteX4" fmla="*/ 30675 w 39075"/>
                  <a:gd name="connsiteY4" fmla="*/ 512 h 49247"/>
                  <a:gd name="connsiteX5" fmla="*/ 39075 w 39075"/>
                  <a:gd name="connsiteY5" fmla="*/ 10171 h 49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75" h="49247">
                    <a:moveTo>
                      <a:pt x="39075" y="10171"/>
                    </a:moveTo>
                    <a:cubicBezTo>
                      <a:pt x="38655" y="27391"/>
                      <a:pt x="24796" y="46290"/>
                      <a:pt x="10096" y="49230"/>
                    </a:cubicBezTo>
                    <a:cubicBezTo>
                      <a:pt x="7157" y="49650"/>
                      <a:pt x="-403" y="42510"/>
                      <a:pt x="17" y="41250"/>
                    </a:cubicBezTo>
                    <a:cubicBezTo>
                      <a:pt x="6317" y="27811"/>
                      <a:pt x="13876" y="14791"/>
                      <a:pt x="21436" y="2192"/>
                    </a:cubicBezTo>
                    <a:cubicBezTo>
                      <a:pt x="22696" y="512"/>
                      <a:pt x="28576" y="-748"/>
                      <a:pt x="30675" y="512"/>
                    </a:cubicBezTo>
                    <a:cubicBezTo>
                      <a:pt x="34455" y="3452"/>
                      <a:pt x="36975" y="7652"/>
                      <a:pt x="39075" y="1017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7" name="Freihandform: Form 126">
                <a:extLst>
                  <a:ext uri="{FF2B5EF4-FFF2-40B4-BE49-F238E27FC236}">
                    <a16:creationId xmlns:a16="http://schemas.microsoft.com/office/drawing/2014/main" id="{D0D6BF27-419C-4C0E-6B6D-0C5BBDE07619}"/>
                  </a:ext>
                </a:extLst>
              </p:cNvPr>
              <p:cNvSpPr/>
              <p:nvPr/>
            </p:nvSpPr>
            <p:spPr>
              <a:xfrm>
                <a:off x="6354923" y="1638349"/>
                <a:ext cx="32634" cy="49977"/>
              </a:xfrm>
              <a:custGeom>
                <a:avLst/>
                <a:gdLst>
                  <a:gd name="connsiteX0" fmla="*/ 10920 w 32634"/>
                  <a:gd name="connsiteY0" fmla="*/ 49978 h 49977"/>
                  <a:gd name="connsiteX1" fmla="*/ 2520 w 32634"/>
                  <a:gd name="connsiteY1" fmla="*/ 45358 h 49977"/>
                  <a:gd name="connsiteX2" fmla="*/ 0 w 32634"/>
                  <a:gd name="connsiteY2" fmla="*/ 35698 h 49977"/>
                  <a:gd name="connsiteX3" fmla="*/ 21419 w 32634"/>
                  <a:gd name="connsiteY3" fmla="*/ 0 h 49977"/>
                  <a:gd name="connsiteX4" fmla="*/ 29819 w 32634"/>
                  <a:gd name="connsiteY4" fmla="*/ 4200 h 49977"/>
                  <a:gd name="connsiteX5" fmla="*/ 20159 w 32634"/>
                  <a:gd name="connsiteY5" fmla="*/ 46198 h 49977"/>
                  <a:gd name="connsiteX6" fmla="*/ 10920 w 32634"/>
                  <a:gd name="connsiteY6" fmla="*/ 49978 h 49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634" h="49977">
                    <a:moveTo>
                      <a:pt x="10920" y="49978"/>
                    </a:moveTo>
                    <a:cubicBezTo>
                      <a:pt x="7980" y="48718"/>
                      <a:pt x="4200" y="47878"/>
                      <a:pt x="2520" y="45358"/>
                    </a:cubicBezTo>
                    <a:cubicBezTo>
                      <a:pt x="840" y="42838"/>
                      <a:pt x="0" y="39058"/>
                      <a:pt x="0" y="35698"/>
                    </a:cubicBezTo>
                    <a:cubicBezTo>
                      <a:pt x="0" y="15539"/>
                      <a:pt x="8400" y="840"/>
                      <a:pt x="21419" y="0"/>
                    </a:cubicBezTo>
                    <a:cubicBezTo>
                      <a:pt x="24359" y="0"/>
                      <a:pt x="28979" y="2100"/>
                      <a:pt x="29819" y="4200"/>
                    </a:cubicBezTo>
                    <a:cubicBezTo>
                      <a:pt x="35279" y="20159"/>
                      <a:pt x="33179" y="34438"/>
                      <a:pt x="20159" y="46198"/>
                    </a:cubicBezTo>
                    <a:cubicBezTo>
                      <a:pt x="18059" y="48298"/>
                      <a:pt x="14279" y="48718"/>
                      <a:pt x="10920" y="4997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71DA3B04-E1C1-B9EE-1B73-F07F6A16D850}"/>
                  </a:ext>
                </a:extLst>
              </p:cNvPr>
              <p:cNvSpPr/>
              <p:nvPr/>
            </p:nvSpPr>
            <p:spPr>
              <a:xfrm>
                <a:off x="4921524" y="2770320"/>
                <a:ext cx="40092" cy="52798"/>
              </a:xfrm>
              <a:custGeom>
                <a:avLst/>
                <a:gdLst>
                  <a:gd name="connsiteX0" fmla="*/ 3780 w 40092"/>
                  <a:gd name="connsiteY0" fmla="*/ 52798 h 52798"/>
                  <a:gd name="connsiteX1" fmla="*/ 0 w 40092"/>
                  <a:gd name="connsiteY1" fmla="*/ 42718 h 52798"/>
                  <a:gd name="connsiteX2" fmla="*/ 4200 w 40092"/>
                  <a:gd name="connsiteY2" fmla="*/ 28859 h 52798"/>
                  <a:gd name="connsiteX3" fmla="*/ 34439 w 40092"/>
                  <a:gd name="connsiteY3" fmla="*/ 300 h 52798"/>
                  <a:gd name="connsiteX4" fmla="*/ 39898 w 40092"/>
                  <a:gd name="connsiteY4" fmla="*/ 8280 h 52798"/>
                  <a:gd name="connsiteX5" fmla="*/ 3780 w 40092"/>
                  <a:gd name="connsiteY5" fmla="*/ 52798 h 52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092" h="52798">
                    <a:moveTo>
                      <a:pt x="3780" y="52798"/>
                    </a:moveTo>
                    <a:cubicBezTo>
                      <a:pt x="3360" y="51958"/>
                      <a:pt x="420" y="47338"/>
                      <a:pt x="0" y="42718"/>
                    </a:cubicBezTo>
                    <a:cubicBezTo>
                      <a:pt x="0" y="38099"/>
                      <a:pt x="1680" y="33059"/>
                      <a:pt x="4200" y="28859"/>
                    </a:cubicBezTo>
                    <a:cubicBezTo>
                      <a:pt x="11760" y="16679"/>
                      <a:pt x="12599" y="-2640"/>
                      <a:pt x="34439" y="300"/>
                    </a:cubicBezTo>
                    <a:cubicBezTo>
                      <a:pt x="36538" y="720"/>
                      <a:pt x="39478" y="5340"/>
                      <a:pt x="39898" y="8280"/>
                    </a:cubicBezTo>
                    <a:cubicBezTo>
                      <a:pt x="41998" y="25079"/>
                      <a:pt x="26879" y="46498"/>
                      <a:pt x="3780" y="5279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097309AB-0B28-E5EA-2E08-2B496338A08E}"/>
                  </a:ext>
                </a:extLst>
              </p:cNvPr>
              <p:cNvSpPr/>
              <p:nvPr/>
            </p:nvSpPr>
            <p:spPr>
              <a:xfrm>
                <a:off x="6220504" y="1669681"/>
                <a:ext cx="39422" cy="49304"/>
              </a:xfrm>
              <a:custGeom>
                <a:avLst/>
                <a:gdLst>
                  <a:gd name="connsiteX0" fmla="*/ 15144 w 39422"/>
                  <a:gd name="connsiteY0" fmla="*/ 49305 h 49304"/>
                  <a:gd name="connsiteX1" fmla="*/ 10524 w 39422"/>
                  <a:gd name="connsiteY1" fmla="*/ 47625 h 49304"/>
                  <a:gd name="connsiteX2" fmla="*/ 444 w 39422"/>
                  <a:gd name="connsiteY2" fmla="*/ 36285 h 49304"/>
                  <a:gd name="connsiteX3" fmla="*/ 21443 w 39422"/>
                  <a:gd name="connsiteY3" fmla="*/ 167 h 49304"/>
                  <a:gd name="connsiteX4" fmla="*/ 35723 w 39422"/>
                  <a:gd name="connsiteY4" fmla="*/ 3527 h 49304"/>
                  <a:gd name="connsiteX5" fmla="*/ 39083 w 39422"/>
                  <a:gd name="connsiteY5" fmla="*/ 7306 h 49304"/>
                  <a:gd name="connsiteX6" fmla="*/ 15144 w 39422"/>
                  <a:gd name="connsiteY6" fmla="*/ 49305 h 49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22" h="49304">
                    <a:moveTo>
                      <a:pt x="15144" y="49305"/>
                    </a:moveTo>
                    <a:cubicBezTo>
                      <a:pt x="13464" y="48885"/>
                      <a:pt x="11784" y="48465"/>
                      <a:pt x="10524" y="47625"/>
                    </a:cubicBezTo>
                    <a:cubicBezTo>
                      <a:pt x="6744" y="44265"/>
                      <a:pt x="1704" y="40905"/>
                      <a:pt x="444" y="36285"/>
                    </a:cubicBezTo>
                    <a:cubicBezTo>
                      <a:pt x="-2496" y="23686"/>
                      <a:pt x="9684" y="3107"/>
                      <a:pt x="21443" y="167"/>
                    </a:cubicBezTo>
                    <a:cubicBezTo>
                      <a:pt x="25643" y="-673"/>
                      <a:pt x="31103" y="1847"/>
                      <a:pt x="35723" y="3527"/>
                    </a:cubicBezTo>
                    <a:cubicBezTo>
                      <a:pt x="36983" y="3947"/>
                      <a:pt x="38662" y="5627"/>
                      <a:pt x="39083" y="7306"/>
                    </a:cubicBezTo>
                    <a:cubicBezTo>
                      <a:pt x="42022" y="17386"/>
                      <a:pt x="25223" y="46785"/>
                      <a:pt x="15144" y="4930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5DEFBD6C-8FE2-F31C-3AF5-F664C8A4BAE4}"/>
                  </a:ext>
                </a:extLst>
              </p:cNvPr>
              <p:cNvSpPr/>
              <p:nvPr/>
            </p:nvSpPr>
            <p:spPr>
              <a:xfrm>
                <a:off x="6682902" y="3318312"/>
                <a:ext cx="37426" cy="48635"/>
              </a:xfrm>
              <a:custGeom>
                <a:avLst/>
                <a:gdLst>
                  <a:gd name="connsiteX0" fmla="*/ 7586 w 37426"/>
                  <a:gd name="connsiteY0" fmla="*/ 48262 h 48635"/>
                  <a:gd name="connsiteX1" fmla="*/ 27 w 37426"/>
                  <a:gd name="connsiteY1" fmla="*/ 35243 h 48635"/>
                  <a:gd name="connsiteX2" fmla="*/ 6327 w 37426"/>
                  <a:gd name="connsiteY2" fmla="*/ 21804 h 48635"/>
                  <a:gd name="connsiteX3" fmla="*/ 28166 w 37426"/>
                  <a:gd name="connsiteY3" fmla="*/ 805 h 48635"/>
                  <a:gd name="connsiteX4" fmla="*/ 37405 w 37426"/>
                  <a:gd name="connsiteY4" fmla="*/ 11724 h 48635"/>
                  <a:gd name="connsiteX5" fmla="*/ 16826 w 37426"/>
                  <a:gd name="connsiteY5" fmla="*/ 48262 h 48635"/>
                  <a:gd name="connsiteX6" fmla="*/ 7586 w 37426"/>
                  <a:gd name="connsiteY6" fmla="*/ 48262 h 48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426" h="48635">
                    <a:moveTo>
                      <a:pt x="7586" y="48262"/>
                    </a:moveTo>
                    <a:cubicBezTo>
                      <a:pt x="5487" y="44903"/>
                      <a:pt x="447" y="40283"/>
                      <a:pt x="27" y="35243"/>
                    </a:cubicBezTo>
                    <a:cubicBezTo>
                      <a:pt x="-393" y="31043"/>
                      <a:pt x="4227" y="26424"/>
                      <a:pt x="6327" y="21804"/>
                    </a:cubicBezTo>
                    <a:cubicBezTo>
                      <a:pt x="11366" y="12564"/>
                      <a:pt x="10526" y="-3815"/>
                      <a:pt x="28166" y="805"/>
                    </a:cubicBezTo>
                    <a:cubicBezTo>
                      <a:pt x="31945" y="1645"/>
                      <a:pt x="37825" y="8784"/>
                      <a:pt x="37405" y="11724"/>
                    </a:cubicBezTo>
                    <a:cubicBezTo>
                      <a:pt x="34885" y="26003"/>
                      <a:pt x="33625" y="41963"/>
                      <a:pt x="16826" y="48262"/>
                    </a:cubicBezTo>
                    <a:cubicBezTo>
                      <a:pt x="15146" y="49102"/>
                      <a:pt x="13466" y="48262"/>
                      <a:pt x="7586" y="4826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AA669657-715C-FB2B-D219-3AE131C99075}"/>
                  </a:ext>
                </a:extLst>
              </p:cNvPr>
              <p:cNvSpPr/>
              <p:nvPr/>
            </p:nvSpPr>
            <p:spPr>
              <a:xfrm>
                <a:off x="6323844" y="1743696"/>
                <a:ext cx="39913" cy="47965"/>
              </a:xfrm>
              <a:custGeom>
                <a:avLst/>
                <a:gdLst>
                  <a:gd name="connsiteX0" fmla="*/ 0 w 39913"/>
                  <a:gd name="connsiteY0" fmla="*/ 37027 h 47965"/>
                  <a:gd name="connsiteX1" fmla="*/ 29819 w 39913"/>
                  <a:gd name="connsiteY1" fmla="*/ 69 h 47965"/>
                  <a:gd name="connsiteX2" fmla="*/ 39898 w 39913"/>
                  <a:gd name="connsiteY2" fmla="*/ 7208 h 47965"/>
                  <a:gd name="connsiteX3" fmla="*/ 18479 w 39913"/>
                  <a:gd name="connsiteY3" fmla="*/ 46686 h 47965"/>
                  <a:gd name="connsiteX4" fmla="*/ 5040 w 39913"/>
                  <a:gd name="connsiteY4" fmla="*/ 46686 h 47965"/>
                  <a:gd name="connsiteX5" fmla="*/ 0 w 39913"/>
                  <a:gd name="connsiteY5" fmla="*/ 37027 h 4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913" h="47965">
                    <a:moveTo>
                      <a:pt x="0" y="37027"/>
                    </a:moveTo>
                    <a:cubicBezTo>
                      <a:pt x="1680" y="18968"/>
                      <a:pt x="13439" y="7208"/>
                      <a:pt x="29819" y="69"/>
                    </a:cubicBezTo>
                    <a:cubicBezTo>
                      <a:pt x="31919" y="-771"/>
                      <a:pt x="40318" y="6368"/>
                      <a:pt x="39898" y="7208"/>
                    </a:cubicBezTo>
                    <a:cubicBezTo>
                      <a:pt x="33599" y="20648"/>
                      <a:pt x="26459" y="34087"/>
                      <a:pt x="18479" y="46686"/>
                    </a:cubicBezTo>
                    <a:cubicBezTo>
                      <a:pt x="17219" y="48786"/>
                      <a:pt x="9240" y="47946"/>
                      <a:pt x="5040" y="46686"/>
                    </a:cubicBezTo>
                    <a:cubicBezTo>
                      <a:pt x="2520" y="46267"/>
                      <a:pt x="1680" y="41227"/>
                      <a:pt x="0" y="3702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3D3952F9-F61D-7773-C2D6-42A2DC01EB16}"/>
                  </a:ext>
                </a:extLst>
              </p:cNvPr>
              <p:cNvSpPr/>
              <p:nvPr/>
            </p:nvSpPr>
            <p:spPr>
              <a:xfrm>
                <a:off x="5658914" y="1910743"/>
                <a:ext cx="36310" cy="47749"/>
              </a:xfrm>
              <a:custGeom>
                <a:avLst/>
                <a:gdLst>
                  <a:gd name="connsiteX0" fmla="*/ 30337 w 36310"/>
                  <a:gd name="connsiteY0" fmla="*/ 594 h 47749"/>
                  <a:gd name="connsiteX1" fmla="*/ 36217 w 36310"/>
                  <a:gd name="connsiteY1" fmla="*/ 11094 h 47749"/>
                  <a:gd name="connsiteX2" fmla="*/ 20678 w 36310"/>
                  <a:gd name="connsiteY2" fmla="*/ 47632 h 47749"/>
                  <a:gd name="connsiteX3" fmla="*/ 1358 w 36310"/>
                  <a:gd name="connsiteY3" fmla="*/ 40072 h 47749"/>
                  <a:gd name="connsiteX4" fmla="*/ 23617 w 36310"/>
                  <a:gd name="connsiteY4" fmla="*/ 174 h 47749"/>
                  <a:gd name="connsiteX5" fmla="*/ 30337 w 36310"/>
                  <a:gd name="connsiteY5" fmla="*/ 594 h 47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310" h="47749">
                    <a:moveTo>
                      <a:pt x="30337" y="594"/>
                    </a:moveTo>
                    <a:cubicBezTo>
                      <a:pt x="32017" y="3534"/>
                      <a:pt x="37057" y="8154"/>
                      <a:pt x="36217" y="11094"/>
                    </a:cubicBezTo>
                    <a:cubicBezTo>
                      <a:pt x="32437" y="23693"/>
                      <a:pt x="26977" y="35872"/>
                      <a:pt x="20678" y="47632"/>
                    </a:cubicBezTo>
                    <a:cubicBezTo>
                      <a:pt x="20258" y="48472"/>
                      <a:pt x="3458" y="44692"/>
                      <a:pt x="1358" y="40072"/>
                    </a:cubicBezTo>
                    <a:cubicBezTo>
                      <a:pt x="-4521" y="28733"/>
                      <a:pt x="9758" y="5214"/>
                      <a:pt x="23617" y="174"/>
                    </a:cubicBezTo>
                    <a:cubicBezTo>
                      <a:pt x="24877" y="-246"/>
                      <a:pt x="26557" y="174"/>
                      <a:pt x="30337" y="59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99617A0A-6CA8-0E80-BEAC-1A1D66ABE704}"/>
                  </a:ext>
                </a:extLst>
              </p:cNvPr>
              <p:cNvSpPr/>
              <p:nvPr/>
            </p:nvSpPr>
            <p:spPr>
              <a:xfrm>
                <a:off x="5318094" y="2091005"/>
                <a:ext cx="30370" cy="58718"/>
              </a:xfrm>
              <a:custGeom>
                <a:avLst/>
                <a:gdLst>
                  <a:gd name="connsiteX0" fmla="*/ 19633 w 30370"/>
                  <a:gd name="connsiteY0" fmla="*/ 1345 h 58718"/>
                  <a:gd name="connsiteX1" fmla="*/ 26772 w 30370"/>
                  <a:gd name="connsiteY1" fmla="*/ 8064 h 58718"/>
                  <a:gd name="connsiteX2" fmla="*/ 15433 w 30370"/>
                  <a:gd name="connsiteY2" fmla="*/ 58042 h 58718"/>
                  <a:gd name="connsiteX3" fmla="*/ 2833 w 30370"/>
                  <a:gd name="connsiteY3" fmla="*/ 55522 h 58718"/>
                  <a:gd name="connsiteX4" fmla="*/ 14593 w 30370"/>
                  <a:gd name="connsiteY4" fmla="*/ 85 h 58718"/>
                  <a:gd name="connsiteX5" fmla="*/ 19633 w 30370"/>
                  <a:gd name="connsiteY5" fmla="*/ 1345 h 58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370" h="58718">
                    <a:moveTo>
                      <a:pt x="19633" y="1345"/>
                    </a:moveTo>
                    <a:cubicBezTo>
                      <a:pt x="22152" y="3444"/>
                      <a:pt x="25512" y="5124"/>
                      <a:pt x="26772" y="8064"/>
                    </a:cubicBezTo>
                    <a:cubicBezTo>
                      <a:pt x="34332" y="23184"/>
                      <a:pt x="29712" y="46703"/>
                      <a:pt x="15433" y="58042"/>
                    </a:cubicBezTo>
                    <a:cubicBezTo>
                      <a:pt x="13333" y="59722"/>
                      <a:pt x="4513" y="58042"/>
                      <a:pt x="2833" y="55522"/>
                    </a:cubicBezTo>
                    <a:cubicBezTo>
                      <a:pt x="-4727" y="42503"/>
                      <a:pt x="4093" y="4704"/>
                      <a:pt x="14593" y="85"/>
                    </a:cubicBezTo>
                    <a:cubicBezTo>
                      <a:pt x="16273" y="-335"/>
                      <a:pt x="17953" y="925"/>
                      <a:pt x="19633" y="134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4" name="Freihandform: Form 133">
                <a:extLst>
                  <a:ext uri="{FF2B5EF4-FFF2-40B4-BE49-F238E27FC236}">
                    <a16:creationId xmlns:a16="http://schemas.microsoft.com/office/drawing/2014/main" id="{04276DB2-CE47-5E99-BD56-0B98D90E20D0}"/>
                  </a:ext>
                </a:extLst>
              </p:cNvPr>
              <p:cNvSpPr/>
              <p:nvPr/>
            </p:nvSpPr>
            <p:spPr>
              <a:xfrm>
                <a:off x="5836118" y="3304525"/>
                <a:ext cx="39605" cy="50588"/>
              </a:xfrm>
              <a:custGeom>
                <a:avLst/>
                <a:gdLst>
                  <a:gd name="connsiteX0" fmla="*/ 39605 w 39605"/>
                  <a:gd name="connsiteY0" fmla="*/ 12492 h 50588"/>
                  <a:gd name="connsiteX1" fmla="*/ 25326 w 39605"/>
                  <a:gd name="connsiteY1" fmla="*/ 45251 h 50588"/>
                  <a:gd name="connsiteX2" fmla="*/ 12726 w 39605"/>
                  <a:gd name="connsiteY2" fmla="*/ 50290 h 50588"/>
                  <a:gd name="connsiteX3" fmla="*/ 127 w 39605"/>
                  <a:gd name="connsiteY3" fmla="*/ 36011 h 50588"/>
                  <a:gd name="connsiteX4" fmla="*/ 20706 w 39605"/>
                  <a:gd name="connsiteY4" fmla="*/ 1573 h 50588"/>
                  <a:gd name="connsiteX5" fmla="*/ 29946 w 39605"/>
                  <a:gd name="connsiteY5" fmla="*/ 733 h 50588"/>
                  <a:gd name="connsiteX6" fmla="*/ 39605 w 39605"/>
                  <a:gd name="connsiteY6" fmla="*/ 12492 h 50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605" h="50588">
                    <a:moveTo>
                      <a:pt x="39605" y="12492"/>
                    </a:moveTo>
                    <a:cubicBezTo>
                      <a:pt x="34986" y="23832"/>
                      <a:pt x="30786" y="34751"/>
                      <a:pt x="25326" y="45251"/>
                    </a:cubicBezTo>
                    <a:cubicBezTo>
                      <a:pt x="23646" y="48611"/>
                      <a:pt x="15246" y="51550"/>
                      <a:pt x="12726" y="50290"/>
                    </a:cubicBezTo>
                    <a:cubicBezTo>
                      <a:pt x="7267" y="46931"/>
                      <a:pt x="-1133" y="38951"/>
                      <a:pt x="127" y="36011"/>
                    </a:cubicBezTo>
                    <a:cubicBezTo>
                      <a:pt x="5167" y="23832"/>
                      <a:pt x="13147" y="12492"/>
                      <a:pt x="20706" y="1573"/>
                    </a:cubicBezTo>
                    <a:cubicBezTo>
                      <a:pt x="21966" y="-107"/>
                      <a:pt x="27846" y="-527"/>
                      <a:pt x="29946" y="733"/>
                    </a:cubicBezTo>
                    <a:cubicBezTo>
                      <a:pt x="33306" y="2832"/>
                      <a:pt x="35825" y="7452"/>
                      <a:pt x="39605" y="124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6B68D5E4-2D55-2626-4320-C69B2C10F178}"/>
                  </a:ext>
                </a:extLst>
              </p:cNvPr>
              <p:cNvSpPr/>
              <p:nvPr/>
            </p:nvSpPr>
            <p:spPr>
              <a:xfrm>
                <a:off x="4934911" y="3439943"/>
                <a:ext cx="37010" cy="47613"/>
              </a:xfrm>
              <a:custGeom>
                <a:avLst/>
                <a:gdLst>
                  <a:gd name="connsiteX0" fmla="*/ 37011 w 37010"/>
                  <a:gd name="connsiteY0" fmla="*/ 12728 h 47613"/>
                  <a:gd name="connsiteX1" fmla="*/ 27771 w 37010"/>
                  <a:gd name="connsiteY1" fmla="*/ 29948 h 47613"/>
                  <a:gd name="connsiteX2" fmla="*/ 8452 w 37010"/>
                  <a:gd name="connsiteY2" fmla="*/ 47587 h 47613"/>
                  <a:gd name="connsiteX3" fmla="*/ 5932 w 37010"/>
                  <a:gd name="connsiteY3" fmla="*/ 13568 h 47613"/>
                  <a:gd name="connsiteX4" fmla="*/ 18952 w 37010"/>
                  <a:gd name="connsiteY4" fmla="*/ 549 h 47613"/>
                  <a:gd name="connsiteX5" fmla="*/ 32811 w 37010"/>
                  <a:gd name="connsiteY5" fmla="*/ 3489 h 47613"/>
                  <a:gd name="connsiteX6" fmla="*/ 37011 w 37010"/>
                  <a:gd name="connsiteY6" fmla="*/ 12728 h 47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010" h="47613">
                    <a:moveTo>
                      <a:pt x="37011" y="12728"/>
                    </a:moveTo>
                    <a:cubicBezTo>
                      <a:pt x="34071" y="18188"/>
                      <a:pt x="31971" y="24908"/>
                      <a:pt x="27771" y="29948"/>
                    </a:cubicBezTo>
                    <a:cubicBezTo>
                      <a:pt x="22311" y="36667"/>
                      <a:pt x="15592" y="46747"/>
                      <a:pt x="8452" y="47587"/>
                    </a:cubicBezTo>
                    <a:cubicBezTo>
                      <a:pt x="-1207" y="48427"/>
                      <a:pt x="-3307" y="29108"/>
                      <a:pt x="5932" y="13568"/>
                    </a:cubicBezTo>
                    <a:cubicBezTo>
                      <a:pt x="9292" y="8528"/>
                      <a:pt x="13912" y="3069"/>
                      <a:pt x="18952" y="549"/>
                    </a:cubicBezTo>
                    <a:cubicBezTo>
                      <a:pt x="22311" y="-1131"/>
                      <a:pt x="28611" y="1389"/>
                      <a:pt x="32811" y="3489"/>
                    </a:cubicBezTo>
                    <a:cubicBezTo>
                      <a:pt x="34911" y="4329"/>
                      <a:pt x="35331" y="8949"/>
                      <a:pt x="37011" y="1272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3B2A004F-2CF4-5E23-AC31-E0A0F3F367F6}"/>
                  </a:ext>
                </a:extLst>
              </p:cNvPr>
              <p:cNvSpPr/>
              <p:nvPr/>
            </p:nvSpPr>
            <p:spPr>
              <a:xfrm>
                <a:off x="5887382" y="2173306"/>
                <a:ext cx="45459" cy="41253"/>
              </a:xfrm>
              <a:custGeom>
                <a:avLst/>
                <a:gdLst>
                  <a:gd name="connsiteX0" fmla="*/ 45459 w 45459"/>
                  <a:gd name="connsiteY0" fmla="*/ 17319 h 41253"/>
                  <a:gd name="connsiteX1" fmla="*/ 25720 w 45459"/>
                  <a:gd name="connsiteY1" fmla="*/ 40418 h 41253"/>
                  <a:gd name="connsiteX2" fmla="*/ 521 w 45459"/>
                  <a:gd name="connsiteY2" fmla="*/ 24039 h 41253"/>
                  <a:gd name="connsiteX3" fmla="*/ 23200 w 45459"/>
                  <a:gd name="connsiteY3" fmla="*/ 100 h 41253"/>
                  <a:gd name="connsiteX4" fmla="*/ 45459 w 45459"/>
                  <a:gd name="connsiteY4" fmla="*/ 17319 h 41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59" h="41253">
                    <a:moveTo>
                      <a:pt x="45459" y="17319"/>
                    </a:moveTo>
                    <a:cubicBezTo>
                      <a:pt x="37059" y="27819"/>
                      <a:pt x="32440" y="37479"/>
                      <a:pt x="25720" y="40418"/>
                    </a:cubicBezTo>
                    <a:cubicBezTo>
                      <a:pt x="14381" y="44618"/>
                      <a:pt x="-3259" y="32019"/>
                      <a:pt x="521" y="24039"/>
                    </a:cubicBezTo>
                    <a:cubicBezTo>
                      <a:pt x="5141" y="14380"/>
                      <a:pt x="13960" y="5980"/>
                      <a:pt x="23200" y="100"/>
                    </a:cubicBezTo>
                    <a:cubicBezTo>
                      <a:pt x="25720" y="-1160"/>
                      <a:pt x="35800" y="9760"/>
                      <a:pt x="45459" y="173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7" name="Freihandform: Form 136">
                <a:extLst>
                  <a:ext uri="{FF2B5EF4-FFF2-40B4-BE49-F238E27FC236}">
                    <a16:creationId xmlns:a16="http://schemas.microsoft.com/office/drawing/2014/main" id="{E883E49E-A5E0-674E-DF94-4A125A0DBC60}"/>
                  </a:ext>
                </a:extLst>
              </p:cNvPr>
              <p:cNvSpPr/>
              <p:nvPr/>
            </p:nvSpPr>
            <p:spPr>
              <a:xfrm>
                <a:off x="6586224" y="3191601"/>
                <a:ext cx="34957" cy="58639"/>
              </a:xfrm>
              <a:custGeom>
                <a:avLst/>
                <a:gdLst>
                  <a:gd name="connsiteX0" fmla="*/ 6828 w 34957"/>
                  <a:gd name="connsiteY0" fmla="*/ 58639 h 58639"/>
                  <a:gd name="connsiteX1" fmla="*/ 109 w 34957"/>
                  <a:gd name="connsiteY1" fmla="*/ 40580 h 58639"/>
                  <a:gd name="connsiteX2" fmla="*/ 11448 w 34957"/>
                  <a:gd name="connsiteY2" fmla="*/ 2361 h 58639"/>
                  <a:gd name="connsiteX3" fmla="*/ 28667 w 34957"/>
                  <a:gd name="connsiteY3" fmla="*/ 1521 h 58639"/>
                  <a:gd name="connsiteX4" fmla="*/ 34547 w 34957"/>
                  <a:gd name="connsiteY4" fmla="*/ 17481 h 58639"/>
                  <a:gd name="connsiteX5" fmla="*/ 6828 w 34957"/>
                  <a:gd name="connsiteY5" fmla="*/ 58639 h 5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57" h="58639">
                    <a:moveTo>
                      <a:pt x="6828" y="58639"/>
                    </a:moveTo>
                    <a:cubicBezTo>
                      <a:pt x="3468" y="49399"/>
                      <a:pt x="-731" y="44360"/>
                      <a:pt x="109" y="40580"/>
                    </a:cubicBezTo>
                    <a:cubicBezTo>
                      <a:pt x="2628" y="27560"/>
                      <a:pt x="5988" y="14541"/>
                      <a:pt x="11448" y="2361"/>
                    </a:cubicBezTo>
                    <a:cubicBezTo>
                      <a:pt x="12708" y="-158"/>
                      <a:pt x="24468" y="-998"/>
                      <a:pt x="28667" y="1521"/>
                    </a:cubicBezTo>
                    <a:cubicBezTo>
                      <a:pt x="32447" y="4041"/>
                      <a:pt x="36227" y="13701"/>
                      <a:pt x="34547" y="17481"/>
                    </a:cubicBezTo>
                    <a:cubicBezTo>
                      <a:pt x="29087" y="28820"/>
                      <a:pt x="20688" y="38900"/>
                      <a:pt x="6828" y="5863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8" name="Freihandform: Form 137">
                <a:extLst>
                  <a:ext uri="{FF2B5EF4-FFF2-40B4-BE49-F238E27FC236}">
                    <a16:creationId xmlns:a16="http://schemas.microsoft.com/office/drawing/2014/main" id="{4C991484-52A0-698A-CA82-E4F8CDDB021A}"/>
                  </a:ext>
                </a:extLst>
              </p:cNvPr>
              <p:cNvSpPr/>
              <p:nvPr/>
            </p:nvSpPr>
            <p:spPr>
              <a:xfrm>
                <a:off x="5175330" y="2616260"/>
                <a:ext cx="35873" cy="46844"/>
              </a:xfrm>
              <a:custGeom>
                <a:avLst/>
                <a:gdLst>
                  <a:gd name="connsiteX0" fmla="*/ 6583 w 35873"/>
                  <a:gd name="connsiteY0" fmla="*/ 46845 h 46844"/>
                  <a:gd name="connsiteX1" fmla="*/ 1964 w 35873"/>
                  <a:gd name="connsiteY1" fmla="*/ 45585 h 46844"/>
                  <a:gd name="connsiteX2" fmla="*/ 1964 w 35873"/>
                  <a:gd name="connsiteY2" fmla="*/ 17866 h 46844"/>
                  <a:gd name="connsiteX3" fmla="*/ 29262 w 35873"/>
                  <a:gd name="connsiteY3" fmla="*/ 2747 h 46844"/>
                  <a:gd name="connsiteX4" fmla="*/ 35562 w 35873"/>
                  <a:gd name="connsiteY4" fmla="*/ 10726 h 46844"/>
                  <a:gd name="connsiteX5" fmla="*/ 6583 w 35873"/>
                  <a:gd name="connsiteY5" fmla="*/ 46845 h 46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873" h="46844">
                    <a:moveTo>
                      <a:pt x="6583" y="46845"/>
                    </a:moveTo>
                    <a:cubicBezTo>
                      <a:pt x="4903" y="46425"/>
                      <a:pt x="1964" y="46005"/>
                      <a:pt x="1964" y="45585"/>
                    </a:cubicBezTo>
                    <a:cubicBezTo>
                      <a:pt x="1543" y="36345"/>
                      <a:pt x="-2236" y="24166"/>
                      <a:pt x="1964" y="17866"/>
                    </a:cubicBezTo>
                    <a:cubicBezTo>
                      <a:pt x="7423" y="9886"/>
                      <a:pt x="12883" y="-6493"/>
                      <a:pt x="29262" y="2747"/>
                    </a:cubicBezTo>
                    <a:cubicBezTo>
                      <a:pt x="32202" y="4427"/>
                      <a:pt x="35142" y="7786"/>
                      <a:pt x="35562" y="10726"/>
                    </a:cubicBezTo>
                    <a:cubicBezTo>
                      <a:pt x="38502" y="23746"/>
                      <a:pt x="20023" y="46425"/>
                      <a:pt x="6583" y="4684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9" name="Freihandform: Form 138">
                <a:extLst>
                  <a:ext uri="{FF2B5EF4-FFF2-40B4-BE49-F238E27FC236}">
                    <a16:creationId xmlns:a16="http://schemas.microsoft.com/office/drawing/2014/main" id="{CC40AABB-D1D6-22CD-5CB7-75A8C5BF8074}"/>
                  </a:ext>
                </a:extLst>
              </p:cNvPr>
              <p:cNvSpPr/>
              <p:nvPr/>
            </p:nvSpPr>
            <p:spPr>
              <a:xfrm>
                <a:off x="6179790" y="2574909"/>
                <a:ext cx="44937" cy="42849"/>
              </a:xfrm>
              <a:custGeom>
                <a:avLst/>
                <a:gdLst>
                  <a:gd name="connsiteX0" fmla="*/ 44938 w 44937"/>
                  <a:gd name="connsiteY0" fmla="*/ 24359 h 42849"/>
                  <a:gd name="connsiteX1" fmla="*/ 22259 w 44937"/>
                  <a:gd name="connsiteY1" fmla="*/ 42838 h 42849"/>
                  <a:gd name="connsiteX2" fmla="*/ 0 w 44937"/>
                  <a:gd name="connsiteY2" fmla="*/ 26879 h 42849"/>
                  <a:gd name="connsiteX3" fmla="*/ 25619 w 44937"/>
                  <a:gd name="connsiteY3" fmla="*/ 0 h 42849"/>
                  <a:gd name="connsiteX4" fmla="*/ 44938 w 44937"/>
                  <a:gd name="connsiteY4" fmla="*/ 24359 h 42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37" h="42849">
                    <a:moveTo>
                      <a:pt x="44938" y="24359"/>
                    </a:moveTo>
                    <a:cubicBezTo>
                      <a:pt x="35698" y="32339"/>
                      <a:pt x="28979" y="43258"/>
                      <a:pt x="22259" y="42838"/>
                    </a:cubicBezTo>
                    <a:cubicBezTo>
                      <a:pt x="14699" y="42418"/>
                      <a:pt x="7560" y="32339"/>
                      <a:pt x="0" y="26879"/>
                    </a:cubicBezTo>
                    <a:cubicBezTo>
                      <a:pt x="8400" y="18059"/>
                      <a:pt x="17219" y="8820"/>
                      <a:pt x="25619" y="0"/>
                    </a:cubicBezTo>
                    <a:cubicBezTo>
                      <a:pt x="31499" y="7140"/>
                      <a:pt x="37378" y="14279"/>
                      <a:pt x="44938" y="243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0" name="Freihandform: Form 139">
                <a:extLst>
                  <a:ext uri="{FF2B5EF4-FFF2-40B4-BE49-F238E27FC236}">
                    <a16:creationId xmlns:a16="http://schemas.microsoft.com/office/drawing/2014/main" id="{E215447A-3500-28B1-BC85-D715BFF7BD79}"/>
                  </a:ext>
                </a:extLst>
              </p:cNvPr>
              <p:cNvSpPr/>
              <p:nvPr/>
            </p:nvSpPr>
            <p:spPr>
              <a:xfrm>
                <a:off x="5078130" y="2529937"/>
                <a:ext cx="37192" cy="50597"/>
              </a:xfrm>
              <a:custGeom>
                <a:avLst/>
                <a:gdLst>
                  <a:gd name="connsiteX0" fmla="*/ 27346 w 37192"/>
                  <a:gd name="connsiteY0" fmla="*/ 454 h 50597"/>
                  <a:gd name="connsiteX1" fmla="*/ 36586 w 37192"/>
                  <a:gd name="connsiteY1" fmla="*/ 10953 h 50597"/>
                  <a:gd name="connsiteX2" fmla="*/ 35326 w 37192"/>
                  <a:gd name="connsiteY2" fmla="*/ 20193 h 50597"/>
                  <a:gd name="connsiteX3" fmla="*/ 10127 w 37192"/>
                  <a:gd name="connsiteY3" fmla="*/ 50432 h 50597"/>
                  <a:gd name="connsiteX4" fmla="*/ 2148 w 37192"/>
                  <a:gd name="connsiteY4" fmla="*/ 46652 h 50597"/>
                  <a:gd name="connsiteX5" fmla="*/ 16427 w 37192"/>
                  <a:gd name="connsiteY5" fmla="*/ 873 h 50597"/>
                  <a:gd name="connsiteX6" fmla="*/ 27346 w 37192"/>
                  <a:gd name="connsiteY6" fmla="*/ 454 h 50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192" h="50597">
                    <a:moveTo>
                      <a:pt x="27346" y="454"/>
                    </a:moveTo>
                    <a:cubicBezTo>
                      <a:pt x="29867" y="3394"/>
                      <a:pt x="34066" y="6753"/>
                      <a:pt x="36586" y="10953"/>
                    </a:cubicBezTo>
                    <a:cubicBezTo>
                      <a:pt x="37846" y="13053"/>
                      <a:pt x="37006" y="17673"/>
                      <a:pt x="35326" y="20193"/>
                    </a:cubicBezTo>
                    <a:cubicBezTo>
                      <a:pt x="27346" y="30692"/>
                      <a:pt x="18947" y="40772"/>
                      <a:pt x="10127" y="50432"/>
                    </a:cubicBezTo>
                    <a:cubicBezTo>
                      <a:pt x="9707" y="51271"/>
                      <a:pt x="3408" y="48752"/>
                      <a:pt x="2148" y="46652"/>
                    </a:cubicBezTo>
                    <a:cubicBezTo>
                      <a:pt x="-4152" y="36152"/>
                      <a:pt x="4248" y="9693"/>
                      <a:pt x="16427" y="873"/>
                    </a:cubicBezTo>
                    <a:cubicBezTo>
                      <a:pt x="18527" y="-806"/>
                      <a:pt x="22727" y="454"/>
                      <a:pt x="27346" y="45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1" name="Freihandform: Form 140">
                <a:extLst>
                  <a:ext uri="{FF2B5EF4-FFF2-40B4-BE49-F238E27FC236}">
                    <a16:creationId xmlns:a16="http://schemas.microsoft.com/office/drawing/2014/main" id="{33AF88FC-FCBA-7C80-171F-1BD4A5CF06A6}"/>
                  </a:ext>
                </a:extLst>
              </p:cNvPr>
              <p:cNvSpPr/>
              <p:nvPr/>
            </p:nvSpPr>
            <p:spPr>
              <a:xfrm>
                <a:off x="6357648" y="2973472"/>
                <a:ext cx="38864" cy="47251"/>
              </a:xfrm>
              <a:custGeom>
                <a:avLst/>
                <a:gdLst>
                  <a:gd name="connsiteX0" fmla="*/ 23733 w 38864"/>
                  <a:gd name="connsiteY0" fmla="*/ 0 h 47251"/>
                  <a:gd name="connsiteX1" fmla="*/ 38853 w 38864"/>
                  <a:gd name="connsiteY1" fmla="*/ 33179 h 47251"/>
                  <a:gd name="connsiteX2" fmla="*/ 22473 w 38864"/>
                  <a:gd name="connsiteY2" fmla="*/ 47038 h 47251"/>
                  <a:gd name="connsiteX3" fmla="*/ 634 w 38864"/>
                  <a:gd name="connsiteY3" fmla="*/ 25619 h 47251"/>
                  <a:gd name="connsiteX4" fmla="*/ 23733 w 38864"/>
                  <a:gd name="connsiteY4" fmla="*/ 0 h 47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64" h="47251">
                    <a:moveTo>
                      <a:pt x="23733" y="0"/>
                    </a:moveTo>
                    <a:cubicBezTo>
                      <a:pt x="30873" y="14279"/>
                      <a:pt x="37593" y="23519"/>
                      <a:pt x="38853" y="33179"/>
                    </a:cubicBezTo>
                    <a:cubicBezTo>
                      <a:pt x="39272" y="36958"/>
                      <a:pt x="28773" y="45778"/>
                      <a:pt x="22473" y="47038"/>
                    </a:cubicBezTo>
                    <a:cubicBezTo>
                      <a:pt x="10714" y="49138"/>
                      <a:pt x="-3146" y="35279"/>
                      <a:pt x="634" y="25619"/>
                    </a:cubicBezTo>
                    <a:cubicBezTo>
                      <a:pt x="3994" y="17639"/>
                      <a:pt x="12814" y="11759"/>
                      <a:pt x="2373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44FFCF68-8233-BCB4-4168-C87E759FE908}"/>
                  </a:ext>
                </a:extLst>
              </p:cNvPr>
              <p:cNvSpPr/>
              <p:nvPr/>
            </p:nvSpPr>
            <p:spPr>
              <a:xfrm>
                <a:off x="6502475" y="1622460"/>
                <a:ext cx="39864" cy="46292"/>
              </a:xfrm>
              <a:custGeom>
                <a:avLst/>
                <a:gdLst>
                  <a:gd name="connsiteX0" fmla="*/ 39759 w 39864"/>
                  <a:gd name="connsiteY0" fmla="*/ 12110 h 46292"/>
                  <a:gd name="connsiteX1" fmla="*/ 39339 w 39864"/>
                  <a:gd name="connsiteY1" fmla="*/ 18409 h 46292"/>
                  <a:gd name="connsiteX2" fmla="*/ 10781 w 39864"/>
                  <a:gd name="connsiteY2" fmla="*/ 46128 h 46292"/>
                  <a:gd name="connsiteX3" fmla="*/ 2801 w 39864"/>
                  <a:gd name="connsiteY3" fmla="*/ 41928 h 46292"/>
                  <a:gd name="connsiteX4" fmla="*/ 18760 w 39864"/>
                  <a:gd name="connsiteY4" fmla="*/ 2450 h 46292"/>
                  <a:gd name="connsiteX5" fmla="*/ 31780 w 39864"/>
                  <a:gd name="connsiteY5" fmla="*/ 1190 h 46292"/>
                  <a:gd name="connsiteX6" fmla="*/ 39759 w 39864"/>
                  <a:gd name="connsiteY6" fmla="*/ 12110 h 4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64" h="46292">
                    <a:moveTo>
                      <a:pt x="39759" y="12110"/>
                    </a:moveTo>
                    <a:cubicBezTo>
                      <a:pt x="39759" y="15050"/>
                      <a:pt x="40179" y="17569"/>
                      <a:pt x="39339" y="18409"/>
                    </a:cubicBezTo>
                    <a:cubicBezTo>
                      <a:pt x="30100" y="28069"/>
                      <a:pt x="20440" y="37309"/>
                      <a:pt x="10781" y="46128"/>
                    </a:cubicBezTo>
                    <a:cubicBezTo>
                      <a:pt x="9941" y="46968"/>
                      <a:pt x="3641" y="44448"/>
                      <a:pt x="2801" y="41928"/>
                    </a:cubicBezTo>
                    <a:cubicBezTo>
                      <a:pt x="-6019" y="23449"/>
                      <a:pt x="7841" y="12950"/>
                      <a:pt x="18760" y="2450"/>
                    </a:cubicBezTo>
                    <a:cubicBezTo>
                      <a:pt x="21280" y="-70"/>
                      <a:pt x="28420" y="-910"/>
                      <a:pt x="31780" y="1190"/>
                    </a:cubicBezTo>
                    <a:cubicBezTo>
                      <a:pt x="35140" y="2870"/>
                      <a:pt x="37239" y="8750"/>
                      <a:pt x="39759" y="121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B1F5F13D-50C8-5450-E35A-3FC74FBE664F}"/>
                  </a:ext>
                </a:extLst>
              </p:cNvPr>
              <p:cNvSpPr/>
              <p:nvPr/>
            </p:nvSpPr>
            <p:spPr>
              <a:xfrm>
                <a:off x="6157266" y="1628480"/>
                <a:ext cx="40583" cy="48273"/>
              </a:xfrm>
              <a:custGeom>
                <a:avLst/>
                <a:gdLst>
                  <a:gd name="connsiteX0" fmla="*/ 40583 w 40583"/>
                  <a:gd name="connsiteY0" fmla="*/ 12809 h 48273"/>
                  <a:gd name="connsiteX1" fmla="*/ 17484 w 40583"/>
                  <a:gd name="connsiteY1" fmla="*/ 47667 h 48273"/>
                  <a:gd name="connsiteX2" fmla="*/ 9084 w 40583"/>
                  <a:gd name="connsiteY2" fmla="*/ 46407 h 48273"/>
                  <a:gd name="connsiteX3" fmla="*/ 265 w 40583"/>
                  <a:gd name="connsiteY3" fmla="*/ 19949 h 48273"/>
                  <a:gd name="connsiteX4" fmla="*/ 19584 w 40583"/>
                  <a:gd name="connsiteY4" fmla="*/ 209 h 48273"/>
                  <a:gd name="connsiteX5" fmla="*/ 40583 w 40583"/>
                  <a:gd name="connsiteY5" fmla="*/ 12809 h 4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83" h="48273">
                    <a:moveTo>
                      <a:pt x="40583" y="12809"/>
                    </a:moveTo>
                    <a:cubicBezTo>
                      <a:pt x="32183" y="25828"/>
                      <a:pt x="25044" y="37168"/>
                      <a:pt x="17484" y="47667"/>
                    </a:cubicBezTo>
                    <a:cubicBezTo>
                      <a:pt x="16644" y="48927"/>
                      <a:pt x="9924" y="48087"/>
                      <a:pt x="9084" y="46407"/>
                    </a:cubicBezTo>
                    <a:cubicBezTo>
                      <a:pt x="5304" y="37588"/>
                      <a:pt x="-1415" y="27928"/>
                      <a:pt x="265" y="19949"/>
                    </a:cubicBezTo>
                    <a:cubicBezTo>
                      <a:pt x="1945" y="11969"/>
                      <a:pt x="11184" y="3569"/>
                      <a:pt x="19584" y="209"/>
                    </a:cubicBezTo>
                    <a:cubicBezTo>
                      <a:pt x="23784" y="-1471"/>
                      <a:pt x="32183" y="7349"/>
                      <a:pt x="40583" y="1280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A019826F-C2D4-EEF2-098F-C165F4365A58}"/>
                  </a:ext>
                </a:extLst>
              </p:cNvPr>
              <p:cNvSpPr/>
              <p:nvPr/>
            </p:nvSpPr>
            <p:spPr>
              <a:xfrm>
                <a:off x="6459398" y="2518211"/>
                <a:ext cx="37898" cy="40318"/>
              </a:xfrm>
              <a:custGeom>
                <a:avLst/>
                <a:gdLst>
                  <a:gd name="connsiteX0" fmla="*/ 21099 w 37898"/>
                  <a:gd name="connsiteY0" fmla="*/ 0 h 40318"/>
                  <a:gd name="connsiteX1" fmla="*/ 37899 w 37898"/>
                  <a:gd name="connsiteY1" fmla="*/ 12599 h 40318"/>
                  <a:gd name="connsiteX2" fmla="*/ 12700 w 37898"/>
                  <a:gd name="connsiteY2" fmla="*/ 40318 h 40318"/>
                  <a:gd name="connsiteX3" fmla="*/ 940 w 37898"/>
                  <a:gd name="connsiteY3" fmla="*/ 26459 h 40318"/>
                  <a:gd name="connsiteX4" fmla="*/ 21099 w 37898"/>
                  <a:gd name="connsiteY4" fmla="*/ 0 h 4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898" h="40318">
                    <a:moveTo>
                      <a:pt x="21099" y="0"/>
                    </a:moveTo>
                    <a:cubicBezTo>
                      <a:pt x="24879" y="2940"/>
                      <a:pt x="31179" y="7980"/>
                      <a:pt x="37899" y="12599"/>
                    </a:cubicBezTo>
                    <a:cubicBezTo>
                      <a:pt x="29499" y="21839"/>
                      <a:pt x="21099" y="31079"/>
                      <a:pt x="12700" y="40318"/>
                    </a:cubicBezTo>
                    <a:cubicBezTo>
                      <a:pt x="8500" y="35698"/>
                      <a:pt x="1780" y="31499"/>
                      <a:pt x="940" y="26459"/>
                    </a:cubicBezTo>
                    <a:cubicBezTo>
                      <a:pt x="-1580" y="14279"/>
                      <a:pt x="-320" y="1680"/>
                      <a:pt x="2109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5" name="Freihandform: Form 144">
                <a:extLst>
                  <a:ext uri="{FF2B5EF4-FFF2-40B4-BE49-F238E27FC236}">
                    <a16:creationId xmlns:a16="http://schemas.microsoft.com/office/drawing/2014/main" id="{37C9F122-76D1-B537-CAD8-F65948C543FF}"/>
                  </a:ext>
                </a:extLst>
              </p:cNvPr>
              <p:cNvSpPr/>
              <p:nvPr/>
            </p:nvSpPr>
            <p:spPr>
              <a:xfrm>
                <a:off x="5666049" y="2616028"/>
                <a:ext cx="36266" cy="43296"/>
              </a:xfrm>
              <a:custGeom>
                <a:avLst/>
                <a:gdLst>
                  <a:gd name="connsiteX0" fmla="*/ 17323 w 36266"/>
                  <a:gd name="connsiteY0" fmla="*/ 43297 h 43296"/>
                  <a:gd name="connsiteX1" fmla="*/ 104 w 36266"/>
                  <a:gd name="connsiteY1" fmla="*/ 15998 h 43296"/>
                  <a:gd name="connsiteX2" fmla="*/ 21943 w 36266"/>
                  <a:gd name="connsiteY2" fmla="*/ 39 h 43296"/>
                  <a:gd name="connsiteX3" fmla="*/ 36222 w 36266"/>
                  <a:gd name="connsiteY3" fmla="*/ 17258 h 43296"/>
                  <a:gd name="connsiteX4" fmla="*/ 17323 w 36266"/>
                  <a:gd name="connsiteY4" fmla="*/ 43297 h 43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66" h="43296">
                    <a:moveTo>
                      <a:pt x="17323" y="43297"/>
                    </a:moveTo>
                    <a:cubicBezTo>
                      <a:pt x="9343" y="31117"/>
                      <a:pt x="-1156" y="21878"/>
                      <a:pt x="104" y="15998"/>
                    </a:cubicBezTo>
                    <a:cubicBezTo>
                      <a:pt x="1784" y="8858"/>
                      <a:pt x="13543" y="1719"/>
                      <a:pt x="21943" y="39"/>
                    </a:cubicBezTo>
                    <a:cubicBezTo>
                      <a:pt x="25723" y="-801"/>
                      <a:pt x="37062" y="12218"/>
                      <a:pt x="36222" y="17258"/>
                    </a:cubicBezTo>
                    <a:cubicBezTo>
                      <a:pt x="34962" y="25238"/>
                      <a:pt x="26142" y="31957"/>
                      <a:pt x="17323" y="4329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6" name="Freihandform: Form 145">
                <a:extLst>
                  <a:ext uri="{FF2B5EF4-FFF2-40B4-BE49-F238E27FC236}">
                    <a16:creationId xmlns:a16="http://schemas.microsoft.com/office/drawing/2014/main" id="{B9803DBC-7D6F-EE2E-06FE-6FAD1F585E1E}"/>
                  </a:ext>
                </a:extLst>
              </p:cNvPr>
              <p:cNvSpPr/>
              <p:nvPr/>
            </p:nvSpPr>
            <p:spPr>
              <a:xfrm>
                <a:off x="6726012" y="2330314"/>
                <a:ext cx="37937" cy="47763"/>
              </a:xfrm>
              <a:custGeom>
                <a:avLst/>
                <a:gdLst>
                  <a:gd name="connsiteX0" fmla="*/ 6895 w 37937"/>
                  <a:gd name="connsiteY0" fmla="*/ 47204 h 47763"/>
                  <a:gd name="connsiteX1" fmla="*/ 175 w 37937"/>
                  <a:gd name="connsiteY1" fmla="*/ 35444 h 47763"/>
                  <a:gd name="connsiteX2" fmla="*/ 27054 w 37937"/>
                  <a:gd name="connsiteY2" fmla="*/ 166 h 47763"/>
                  <a:gd name="connsiteX3" fmla="*/ 35034 w 37937"/>
                  <a:gd name="connsiteY3" fmla="*/ 3945 h 47763"/>
                  <a:gd name="connsiteX4" fmla="*/ 16555 w 37937"/>
                  <a:gd name="connsiteY4" fmla="*/ 47204 h 47763"/>
                  <a:gd name="connsiteX5" fmla="*/ 6895 w 37937"/>
                  <a:gd name="connsiteY5" fmla="*/ 47204 h 4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937" h="47763">
                    <a:moveTo>
                      <a:pt x="6895" y="47204"/>
                    </a:moveTo>
                    <a:cubicBezTo>
                      <a:pt x="4795" y="43844"/>
                      <a:pt x="-1085" y="37544"/>
                      <a:pt x="175" y="35444"/>
                    </a:cubicBezTo>
                    <a:cubicBezTo>
                      <a:pt x="8155" y="22845"/>
                      <a:pt x="17814" y="11505"/>
                      <a:pt x="27054" y="166"/>
                    </a:cubicBezTo>
                    <a:cubicBezTo>
                      <a:pt x="27474" y="-674"/>
                      <a:pt x="33774" y="1846"/>
                      <a:pt x="35034" y="3945"/>
                    </a:cubicBezTo>
                    <a:cubicBezTo>
                      <a:pt x="42593" y="16545"/>
                      <a:pt x="35034" y="34604"/>
                      <a:pt x="16555" y="47204"/>
                    </a:cubicBezTo>
                    <a:cubicBezTo>
                      <a:pt x="14874" y="48464"/>
                      <a:pt x="11095" y="47204"/>
                      <a:pt x="6895" y="4720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44BCFD88-62EF-63D5-005E-3FFE5B8EDF0F}"/>
                  </a:ext>
                </a:extLst>
              </p:cNvPr>
              <p:cNvSpPr/>
              <p:nvPr/>
            </p:nvSpPr>
            <p:spPr>
              <a:xfrm>
                <a:off x="5291122" y="3098545"/>
                <a:ext cx="41144" cy="47237"/>
              </a:xfrm>
              <a:custGeom>
                <a:avLst/>
                <a:gdLst>
                  <a:gd name="connsiteX0" fmla="*/ 41145 w 41144"/>
                  <a:gd name="connsiteY0" fmla="*/ 16040 h 47237"/>
                  <a:gd name="connsiteX1" fmla="*/ 16786 w 41144"/>
                  <a:gd name="connsiteY1" fmla="*/ 47119 h 47237"/>
                  <a:gd name="connsiteX2" fmla="*/ 4607 w 41144"/>
                  <a:gd name="connsiteY2" fmla="*/ 40819 h 47237"/>
                  <a:gd name="connsiteX3" fmla="*/ 10486 w 41144"/>
                  <a:gd name="connsiteY3" fmla="*/ 9321 h 47237"/>
                  <a:gd name="connsiteX4" fmla="*/ 25186 w 41144"/>
                  <a:gd name="connsiteY4" fmla="*/ 81 h 47237"/>
                  <a:gd name="connsiteX5" fmla="*/ 41145 w 41144"/>
                  <a:gd name="connsiteY5" fmla="*/ 16040 h 4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144" h="47237">
                    <a:moveTo>
                      <a:pt x="41145" y="16040"/>
                    </a:moveTo>
                    <a:cubicBezTo>
                      <a:pt x="32745" y="27380"/>
                      <a:pt x="25186" y="37879"/>
                      <a:pt x="16786" y="47119"/>
                    </a:cubicBezTo>
                    <a:cubicBezTo>
                      <a:pt x="15946" y="47959"/>
                      <a:pt x="7546" y="44179"/>
                      <a:pt x="4607" y="40819"/>
                    </a:cubicBezTo>
                    <a:cubicBezTo>
                      <a:pt x="-7573" y="28220"/>
                      <a:pt x="7966" y="19820"/>
                      <a:pt x="10486" y="9321"/>
                    </a:cubicBezTo>
                    <a:cubicBezTo>
                      <a:pt x="11746" y="5121"/>
                      <a:pt x="20986" y="-759"/>
                      <a:pt x="25186" y="81"/>
                    </a:cubicBezTo>
                    <a:cubicBezTo>
                      <a:pt x="30225" y="1341"/>
                      <a:pt x="34005" y="8901"/>
                      <a:pt x="41145" y="160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D832DC7D-BD20-534A-BB99-FB4C00278D4E}"/>
                  </a:ext>
                </a:extLst>
              </p:cNvPr>
              <p:cNvSpPr/>
              <p:nvPr/>
            </p:nvSpPr>
            <p:spPr>
              <a:xfrm>
                <a:off x="5695756" y="2246017"/>
                <a:ext cx="38069" cy="41204"/>
              </a:xfrm>
              <a:custGeom>
                <a:avLst/>
                <a:gdLst>
                  <a:gd name="connsiteX0" fmla="*/ 5255 w 38069"/>
                  <a:gd name="connsiteY0" fmla="*/ 41204 h 41204"/>
                  <a:gd name="connsiteX1" fmla="*/ 215 w 38069"/>
                  <a:gd name="connsiteY1" fmla="*/ 29025 h 41204"/>
                  <a:gd name="connsiteX2" fmla="*/ 18274 w 38069"/>
                  <a:gd name="connsiteY2" fmla="*/ 886 h 41204"/>
                  <a:gd name="connsiteX3" fmla="*/ 36333 w 38069"/>
                  <a:gd name="connsiteY3" fmla="*/ 4666 h 41204"/>
                  <a:gd name="connsiteX4" fmla="*/ 36333 w 38069"/>
                  <a:gd name="connsiteY4" fmla="*/ 17685 h 41204"/>
                  <a:gd name="connsiteX5" fmla="*/ 15754 w 38069"/>
                  <a:gd name="connsiteY5" fmla="*/ 39944 h 41204"/>
                  <a:gd name="connsiteX6" fmla="*/ 5255 w 38069"/>
                  <a:gd name="connsiteY6" fmla="*/ 41204 h 41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69" h="41204">
                    <a:moveTo>
                      <a:pt x="5255" y="41204"/>
                    </a:moveTo>
                    <a:cubicBezTo>
                      <a:pt x="3575" y="37424"/>
                      <a:pt x="-1045" y="31965"/>
                      <a:pt x="215" y="29025"/>
                    </a:cubicBezTo>
                    <a:cubicBezTo>
                      <a:pt x="4835" y="18945"/>
                      <a:pt x="10714" y="8866"/>
                      <a:pt x="18274" y="886"/>
                    </a:cubicBezTo>
                    <a:cubicBezTo>
                      <a:pt x="20794" y="-1634"/>
                      <a:pt x="30874" y="1726"/>
                      <a:pt x="36333" y="4666"/>
                    </a:cubicBezTo>
                    <a:cubicBezTo>
                      <a:pt x="38433" y="5926"/>
                      <a:pt x="38853" y="14745"/>
                      <a:pt x="36333" y="17685"/>
                    </a:cubicBezTo>
                    <a:cubicBezTo>
                      <a:pt x="30454" y="26085"/>
                      <a:pt x="23314" y="33225"/>
                      <a:pt x="15754" y="39944"/>
                    </a:cubicBezTo>
                    <a:cubicBezTo>
                      <a:pt x="14494" y="42044"/>
                      <a:pt x="9874" y="40784"/>
                      <a:pt x="5255" y="4120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9" name="Freihandform: Form 148">
                <a:extLst>
                  <a:ext uri="{FF2B5EF4-FFF2-40B4-BE49-F238E27FC236}">
                    <a16:creationId xmlns:a16="http://schemas.microsoft.com/office/drawing/2014/main" id="{C39CA74F-0492-0667-5A2B-B448CA1AFFF7}"/>
                  </a:ext>
                </a:extLst>
              </p:cNvPr>
              <p:cNvSpPr/>
              <p:nvPr/>
            </p:nvSpPr>
            <p:spPr>
              <a:xfrm>
                <a:off x="5863454" y="1914319"/>
                <a:ext cx="42508" cy="46948"/>
              </a:xfrm>
              <a:custGeom>
                <a:avLst/>
                <a:gdLst>
                  <a:gd name="connsiteX0" fmla="*/ 42508 w 42508"/>
                  <a:gd name="connsiteY0" fmla="*/ 9618 h 46948"/>
                  <a:gd name="connsiteX1" fmla="*/ 18569 w 42508"/>
                  <a:gd name="connsiteY1" fmla="*/ 45316 h 46948"/>
                  <a:gd name="connsiteX2" fmla="*/ 4710 w 42508"/>
                  <a:gd name="connsiteY2" fmla="*/ 45736 h 46948"/>
                  <a:gd name="connsiteX3" fmla="*/ 90 w 42508"/>
                  <a:gd name="connsiteY3" fmla="*/ 37337 h 46948"/>
                  <a:gd name="connsiteX4" fmla="*/ 24029 w 42508"/>
                  <a:gd name="connsiteY4" fmla="*/ 378 h 46948"/>
                  <a:gd name="connsiteX5" fmla="*/ 42508 w 42508"/>
                  <a:gd name="connsiteY5" fmla="*/ 9618 h 4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508" h="46948">
                    <a:moveTo>
                      <a:pt x="42508" y="9618"/>
                    </a:moveTo>
                    <a:cubicBezTo>
                      <a:pt x="33688" y="23057"/>
                      <a:pt x="26969" y="34817"/>
                      <a:pt x="18569" y="45316"/>
                    </a:cubicBezTo>
                    <a:cubicBezTo>
                      <a:pt x="16469" y="47836"/>
                      <a:pt x="9330" y="46996"/>
                      <a:pt x="4710" y="45736"/>
                    </a:cubicBezTo>
                    <a:cubicBezTo>
                      <a:pt x="2610" y="45316"/>
                      <a:pt x="510" y="40276"/>
                      <a:pt x="90" y="37337"/>
                    </a:cubicBezTo>
                    <a:cubicBezTo>
                      <a:pt x="-1170" y="19277"/>
                      <a:pt x="11010" y="8778"/>
                      <a:pt x="24029" y="378"/>
                    </a:cubicBezTo>
                    <a:cubicBezTo>
                      <a:pt x="26549" y="-1722"/>
                      <a:pt x="34528" y="5418"/>
                      <a:pt x="42508" y="96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BE2B3DEA-454A-BA1F-2B3F-AB7A8700ECCA}"/>
                  </a:ext>
                </a:extLst>
              </p:cNvPr>
              <p:cNvSpPr/>
              <p:nvPr/>
            </p:nvSpPr>
            <p:spPr>
              <a:xfrm>
                <a:off x="4959743" y="2875616"/>
                <a:ext cx="34018" cy="49582"/>
              </a:xfrm>
              <a:custGeom>
                <a:avLst/>
                <a:gdLst>
                  <a:gd name="connsiteX0" fmla="*/ 0 w 34018"/>
                  <a:gd name="connsiteY0" fmla="*/ 41158 h 49582"/>
                  <a:gd name="connsiteX1" fmla="*/ 6720 w 34018"/>
                  <a:gd name="connsiteY1" fmla="*/ 20999 h 49582"/>
                  <a:gd name="connsiteX2" fmla="*/ 25619 w 34018"/>
                  <a:gd name="connsiteY2" fmla="*/ 0 h 49582"/>
                  <a:gd name="connsiteX3" fmla="*/ 34019 w 34018"/>
                  <a:gd name="connsiteY3" fmla="*/ 20579 h 49582"/>
                  <a:gd name="connsiteX4" fmla="*/ 11760 w 34018"/>
                  <a:gd name="connsiteY4" fmla="*/ 49558 h 49582"/>
                  <a:gd name="connsiteX5" fmla="*/ 0 w 34018"/>
                  <a:gd name="connsiteY5" fmla="*/ 41158 h 49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018" h="49582">
                    <a:moveTo>
                      <a:pt x="0" y="41158"/>
                    </a:moveTo>
                    <a:cubicBezTo>
                      <a:pt x="2520" y="33599"/>
                      <a:pt x="2940" y="26459"/>
                      <a:pt x="6720" y="20999"/>
                    </a:cubicBezTo>
                    <a:cubicBezTo>
                      <a:pt x="11760" y="13439"/>
                      <a:pt x="18899" y="6720"/>
                      <a:pt x="25619" y="0"/>
                    </a:cubicBezTo>
                    <a:cubicBezTo>
                      <a:pt x="28559" y="6720"/>
                      <a:pt x="34019" y="13859"/>
                      <a:pt x="34019" y="20579"/>
                    </a:cubicBezTo>
                    <a:cubicBezTo>
                      <a:pt x="33599" y="34439"/>
                      <a:pt x="29399" y="48298"/>
                      <a:pt x="11760" y="49558"/>
                    </a:cubicBezTo>
                    <a:cubicBezTo>
                      <a:pt x="7980" y="49978"/>
                      <a:pt x="4200" y="44938"/>
                      <a:pt x="0" y="411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70217D7A-91D3-4A05-99D5-AC125C983F66}"/>
                  </a:ext>
                </a:extLst>
              </p:cNvPr>
              <p:cNvSpPr/>
              <p:nvPr/>
            </p:nvSpPr>
            <p:spPr>
              <a:xfrm>
                <a:off x="5949220" y="2807159"/>
                <a:ext cx="36128" cy="44608"/>
              </a:xfrm>
              <a:custGeom>
                <a:avLst/>
                <a:gdLst>
                  <a:gd name="connsiteX0" fmla="*/ 19319 w 36128"/>
                  <a:gd name="connsiteY0" fmla="*/ 0 h 44608"/>
                  <a:gd name="connsiteX1" fmla="*/ 36118 w 36128"/>
                  <a:gd name="connsiteY1" fmla="*/ 28139 h 44608"/>
                  <a:gd name="connsiteX2" fmla="*/ 20159 w 36128"/>
                  <a:gd name="connsiteY2" fmla="*/ 44518 h 44608"/>
                  <a:gd name="connsiteX3" fmla="*/ 0 w 36128"/>
                  <a:gd name="connsiteY3" fmla="*/ 26459 h 44608"/>
                  <a:gd name="connsiteX4" fmla="*/ 19319 w 36128"/>
                  <a:gd name="connsiteY4" fmla="*/ 0 h 44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28" h="44608">
                    <a:moveTo>
                      <a:pt x="19319" y="0"/>
                    </a:moveTo>
                    <a:cubicBezTo>
                      <a:pt x="27299" y="12179"/>
                      <a:pt x="35279" y="20159"/>
                      <a:pt x="36118" y="28139"/>
                    </a:cubicBezTo>
                    <a:cubicBezTo>
                      <a:pt x="36538" y="33599"/>
                      <a:pt x="23939" y="45778"/>
                      <a:pt x="20159" y="44518"/>
                    </a:cubicBezTo>
                    <a:cubicBezTo>
                      <a:pt x="11759" y="41578"/>
                      <a:pt x="420" y="33178"/>
                      <a:pt x="0" y="26459"/>
                    </a:cubicBezTo>
                    <a:cubicBezTo>
                      <a:pt x="0" y="19319"/>
                      <a:pt x="10500" y="11339"/>
                      <a:pt x="1931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840972D8-02AC-9C2C-B9D2-90CAA1FEAD65}"/>
                  </a:ext>
                </a:extLst>
              </p:cNvPr>
              <p:cNvSpPr/>
              <p:nvPr/>
            </p:nvSpPr>
            <p:spPr>
              <a:xfrm>
                <a:off x="5372558" y="2833192"/>
                <a:ext cx="39504" cy="47101"/>
              </a:xfrm>
              <a:custGeom>
                <a:avLst/>
                <a:gdLst>
                  <a:gd name="connsiteX0" fmla="*/ 39505 w 39504"/>
                  <a:gd name="connsiteY0" fmla="*/ 6726 h 47101"/>
                  <a:gd name="connsiteX1" fmla="*/ 31945 w 39504"/>
                  <a:gd name="connsiteY1" fmla="*/ 24785 h 47101"/>
                  <a:gd name="connsiteX2" fmla="*/ 9686 w 39504"/>
                  <a:gd name="connsiteY2" fmla="*/ 46624 h 47101"/>
                  <a:gd name="connsiteX3" fmla="*/ 27 w 39504"/>
                  <a:gd name="connsiteY3" fmla="*/ 35705 h 47101"/>
                  <a:gd name="connsiteX4" fmla="*/ 30685 w 39504"/>
                  <a:gd name="connsiteY4" fmla="*/ 6 h 47101"/>
                  <a:gd name="connsiteX5" fmla="*/ 39505 w 39504"/>
                  <a:gd name="connsiteY5" fmla="*/ 6726 h 4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504" h="47101">
                    <a:moveTo>
                      <a:pt x="39505" y="6726"/>
                    </a:moveTo>
                    <a:cubicBezTo>
                      <a:pt x="36985" y="12606"/>
                      <a:pt x="34465" y="18485"/>
                      <a:pt x="31945" y="24785"/>
                    </a:cubicBezTo>
                    <a:cubicBezTo>
                      <a:pt x="27325" y="34865"/>
                      <a:pt x="26485" y="49984"/>
                      <a:pt x="9686" y="46624"/>
                    </a:cubicBezTo>
                    <a:cubicBezTo>
                      <a:pt x="5906" y="45784"/>
                      <a:pt x="446" y="39484"/>
                      <a:pt x="27" y="35705"/>
                    </a:cubicBezTo>
                    <a:cubicBezTo>
                      <a:pt x="-814" y="21005"/>
                      <a:pt x="18506" y="-414"/>
                      <a:pt x="30685" y="6"/>
                    </a:cubicBezTo>
                    <a:cubicBezTo>
                      <a:pt x="33205" y="6"/>
                      <a:pt x="35725" y="3786"/>
                      <a:pt x="39505" y="672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7E43EF7B-617D-D72B-1994-4B381B93EDF2}"/>
                  </a:ext>
                </a:extLst>
              </p:cNvPr>
              <p:cNvSpPr/>
              <p:nvPr/>
            </p:nvSpPr>
            <p:spPr>
              <a:xfrm>
                <a:off x="5315952" y="2329507"/>
                <a:ext cx="32503" cy="41710"/>
              </a:xfrm>
              <a:custGeom>
                <a:avLst/>
                <a:gdLst>
                  <a:gd name="connsiteX0" fmla="*/ 10435 w 32503"/>
                  <a:gd name="connsiteY0" fmla="*/ 41710 h 41710"/>
                  <a:gd name="connsiteX1" fmla="*/ 355 w 32503"/>
                  <a:gd name="connsiteY1" fmla="*/ 33731 h 41710"/>
                  <a:gd name="connsiteX2" fmla="*/ 4135 w 32503"/>
                  <a:gd name="connsiteY2" fmla="*/ 11472 h 41710"/>
                  <a:gd name="connsiteX3" fmla="*/ 23875 w 32503"/>
                  <a:gd name="connsiteY3" fmla="*/ 132 h 41710"/>
                  <a:gd name="connsiteX4" fmla="*/ 31854 w 32503"/>
                  <a:gd name="connsiteY4" fmla="*/ 4752 h 41710"/>
                  <a:gd name="connsiteX5" fmla="*/ 10435 w 32503"/>
                  <a:gd name="connsiteY5" fmla="*/ 41710 h 41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503" h="41710">
                    <a:moveTo>
                      <a:pt x="10435" y="41710"/>
                    </a:moveTo>
                    <a:cubicBezTo>
                      <a:pt x="7495" y="39610"/>
                      <a:pt x="355" y="37090"/>
                      <a:pt x="355" y="33731"/>
                    </a:cubicBezTo>
                    <a:cubicBezTo>
                      <a:pt x="-485" y="26171"/>
                      <a:pt x="-64" y="17351"/>
                      <a:pt x="4135" y="11472"/>
                    </a:cubicBezTo>
                    <a:cubicBezTo>
                      <a:pt x="7915" y="5592"/>
                      <a:pt x="16735" y="3072"/>
                      <a:pt x="23875" y="132"/>
                    </a:cubicBezTo>
                    <a:cubicBezTo>
                      <a:pt x="25554" y="-708"/>
                      <a:pt x="30594" y="2652"/>
                      <a:pt x="31854" y="4752"/>
                    </a:cubicBezTo>
                    <a:cubicBezTo>
                      <a:pt x="35634" y="14411"/>
                      <a:pt x="22195" y="39610"/>
                      <a:pt x="10435" y="417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68F73A9D-122C-7F7D-9D69-6292234CC533}"/>
                  </a:ext>
                </a:extLst>
              </p:cNvPr>
              <p:cNvSpPr/>
              <p:nvPr/>
            </p:nvSpPr>
            <p:spPr>
              <a:xfrm>
                <a:off x="4899050" y="3232100"/>
                <a:ext cx="31823" cy="50478"/>
              </a:xfrm>
              <a:custGeom>
                <a:avLst/>
                <a:gdLst>
                  <a:gd name="connsiteX0" fmla="*/ 5255 w 31823"/>
                  <a:gd name="connsiteY0" fmla="*/ 50478 h 50478"/>
                  <a:gd name="connsiteX1" fmla="*/ 215 w 31823"/>
                  <a:gd name="connsiteY1" fmla="*/ 38299 h 50478"/>
                  <a:gd name="connsiteX2" fmla="*/ 20374 w 31823"/>
                  <a:gd name="connsiteY2" fmla="*/ 80 h 50478"/>
                  <a:gd name="connsiteX3" fmla="*/ 28774 w 31823"/>
                  <a:gd name="connsiteY3" fmla="*/ 3020 h 50478"/>
                  <a:gd name="connsiteX4" fmla="*/ 16174 w 31823"/>
                  <a:gd name="connsiteY4" fmla="*/ 48798 h 50478"/>
                  <a:gd name="connsiteX5" fmla="*/ 5255 w 31823"/>
                  <a:gd name="connsiteY5" fmla="*/ 50478 h 5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823" h="50478">
                    <a:moveTo>
                      <a:pt x="5255" y="50478"/>
                    </a:moveTo>
                    <a:cubicBezTo>
                      <a:pt x="3575" y="46699"/>
                      <a:pt x="-1045" y="41239"/>
                      <a:pt x="215" y="38299"/>
                    </a:cubicBezTo>
                    <a:cubicBezTo>
                      <a:pt x="6095" y="24859"/>
                      <a:pt x="13234" y="12260"/>
                      <a:pt x="20374" y="80"/>
                    </a:cubicBezTo>
                    <a:cubicBezTo>
                      <a:pt x="20794" y="-339"/>
                      <a:pt x="27514" y="920"/>
                      <a:pt x="28774" y="3020"/>
                    </a:cubicBezTo>
                    <a:cubicBezTo>
                      <a:pt x="35913" y="13520"/>
                      <a:pt x="30034" y="34939"/>
                      <a:pt x="16174" y="48798"/>
                    </a:cubicBezTo>
                    <a:cubicBezTo>
                      <a:pt x="14494" y="50058"/>
                      <a:pt x="9874" y="49639"/>
                      <a:pt x="5255" y="5047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7800058D-82F4-CB15-C051-2E3DA2F1DB42}"/>
                  </a:ext>
                </a:extLst>
              </p:cNvPr>
              <p:cNvSpPr/>
              <p:nvPr/>
            </p:nvSpPr>
            <p:spPr>
              <a:xfrm>
                <a:off x="6304909" y="3130916"/>
                <a:ext cx="45393" cy="35120"/>
              </a:xfrm>
              <a:custGeom>
                <a:avLst/>
                <a:gdLst>
                  <a:gd name="connsiteX0" fmla="*/ 45393 w 45393"/>
                  <a:gd name="connsiteY0" fmla="*/ 14329 h 35120"/>
                  <a:gd name="connsiteX1" fmla="*/ 23974 w 45393"/>
                  <a:gd name="connsiteY1" fmla="*/ 34068 h 35120"/>
                  <a:gd name="connsiteX2" fmla="*/ 35 w 45393"/>
                  <a:gd name="connsiteY2" fmla="*/ 14749 h 35120"/>
                  <a:gd name="connsiteX3" fmla="*/ 10115 w 45393"/>
                  <a:gd name="connsiteY3" fmla="*/ 49 h 35120"/>
                  <a:gd name="connsiteX4" fmla="*/ 45393 w 45393"/>
                  <a:gd name="connsiteY4" fmla="*/ 14329 h 35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93" h="35120">
                    <a:moveTo>
                      <a:pt x="45393" y="14329"/>
                    </a:moveTo>
                    <a:cubicBezTo>
                      <a:pt x="35734" y="23568"/>
                      <a:pt x="31114" y="31128"/>
                      <a:pt x="23974" y="34068"/>
                    </a:cubicBezTo>
                    <a:cubicBezTo>
                      <a:pt x="13475" y="38688"/>
                      <a:pt x="-805" y="27348"/>
                      <a:pt x="35" y="14749"/>
                    </a:cubicBezTo>
                    <a:cubicBezTo>
                      <a:pt x="455" y="9289"/>
                      <a:pt x="8015" y="-791"/>
                      <a:pt x="10115" y="49"/>
                    </a:cubicBezTo>
                    <a:cubicBezTo>
                      <a:pt x="20614" y="2149"/>
                      <a:pt x="30274" y="7609"/>
                      <a:pt x="45393" y="1432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7E678506-806C-6209-D7B9-DCC2246A67A3}"/>
                  </a:ext>
                </a:extLst>
              </p:cNvPr>
              <p:cNvSpPr/>
              <p:nvPr/>
            </p:nvSpPr>
            <p:spPr>
              <a:xfrm>
                <a:off x="6517289" y="2705715"/>
                <a:ext cx="45417" cy="31822"/>
              </a:xfrm>
              <a:custGeom>
                <a:avLst/>
                <a:gdLst>
                  <a:gd name="connsiteX0" fmla="*/ 36705 w 45417"/>
                  <a:gd name="connsiteY0" fmla="*/ 31726 h 31822"/>
                  <a:gd name="connsiteX1" fmla="*/ 167 w 45417"/>
                  <a:gd name="connsiteY1" fmla="*/ 9048 h 31822"/>
                  <a:gd name="connsiteX2" fmla="*/ 3527 w 45417"/>
                  <a:gd name="connsiteY2" fmla="*/ 1908 h 31822"/>
                  <a:gd name="connsiteX3" fmla="*/ 43845 w 45417"/>
                  <a:gd name="connsiteY3" fmla="*/ 16187 h 31822"/>
                  <a:gd name="connsiteX4" fmla="*/ 44685 w 45417"/>
                  <a:gd name="connsiteY4" fmla="*/ 25847 h 31822"/>
                  <a:gd name="connsiteX5" fmla="*/ 36705 w 45417"/>
                  <a:gd name="connsiteY5" fmla="*/ 31726 h 3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17" h="31822">
                    <a:moveTo>
                      <a:pt x="36705" y="31726"/>
                    </a:moveTo>
                    <a:cubicBezTo>
                      <a:pt x="19486" y="32986"/>
                      <a:pt x="9407" y="21647"/>
                      <a:pt x="167" y="9048"/>
                    </a:cubicBezTo>
                    <a:cubicBezTo>
                      <a:pt x="-673" y="7787"/>
                      <a:pt x="1847" y="2748"/>
                      <a:pt x="3527" y="1908"/>
                    </a:cubicBezTo>
                    <a:cubicBezTo>
                      <a:pt x="16126" y="-3552"/>
                      <a:pt x="35025" y="3168"/>
                      <a:pt x="43845" y="16187"/>
                    </a:cubicBezTo>
                    <a:cubicBezTo>
                      <a:pt x="45525" y="18707"/>
                      <a:pt x="45945" y="23327"/>
                      <a:pt x="44685" y="25847"/>
                    </a:cubicBezTo>
                    <a:cubicBezTo>
                      <a:pt x="43845" y="28367"/>
                      <a:pt x="39645" y="29627"/>
                      <a:pt x="36705" y="3172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D9B339E3-E5C7-3CBA-D2B8-03592B391D95}"/>
                  </a:ext>
                </a:extLst>
              </p:cNvPr>
              <p:cNvSpPr/>
              <p:nvPr/>
            </p:nvSpPr>
            <p:spPr>
              <a:xfrm>
                <a:off x="5783327" y="2742003"/>
                <a:ext cx="43692" cy="34198"/>
              </a:xfrm>
              <a:custGeom>
                <a:avLst/>
                <a:gdLst>
                  <a:gd name="connsiteX0" fmla="*/ 0 w 43692"/>
                  <a:gd name="connsiteY0" fmla="*/ 25678 h 34198"/>
                  <a:gd name="connsiteX1" fmla="*/ 2100 w 43692"/>
                  <a:gd name="connsiteY1" fmla="*/ 17278 h 34198"/>
                  <a:gd name="connsiteX2" fmla="*/ 32759 w 43692"/>
                  <a:gd name="connsiteY2" fmla="*/ 59 h 34198"/>
                  <a:gd name="connsiteX3" fmla="*/ 43678 w 43692"/>
                  <a:gd name="connsiteY3" fmla="*/ 8459 h 34198"/>
                  <a:gd name="connsiteX4" fmla="*/ 28139 w 43692"/>
                  <a:gd name="connsiteY4" fmla="*/ 31558 h 34198"/>
                  <a:gd name="connsiteX5" fmla="*/ 5460 w 43692"/>
                  <a:gd name="connsiteY5" fmla="*/ 33658 h 34198"/>
                  <a:gd name="connsiteX6" fmla="*/ 0 w 43692"/>
                  <a:gd name="connsiteY6" fmla="*/ 2567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692" h="34198">
                    <a:moveTo>
                      <a:pt x="0" y="25678"/>
                    </a:moveTo>
                    <a:cubicBezTo>
                      <a:pt x="840" y="22738"/>
                      <a:pt x="420" y="18538"/>
                      <a:pt x="2100" y="17278"/>
                    </a:cubicBezTo>
                    <a:cubicBezTo>
                      <a:pt x="12180" y="10978"/>
                      <a:pt x="22259" y="4679"/>
                      <a:pt x="32759" y="59"/>
                    </a:cubicBezTo>
                    <a:cubicBezTo>
                      <a:pt x="34858" y="-781"/>
                      <a:pt x="44098" y="7619"/>
                      <a:pt x="43678" y="8459"/>
                    </a:cubicBezTo>
                    <a:cubicBezTo>
                      <a:pt x="39478" y="16858"/>
                      <a:pt x="35279" y="26098"/>
                      <a:pt x="28139" y="31558"/>
                    </a:cubicBezTo>
                    <a:cubicBezTo>
                      <a:pt x="22679" y="35337"/>
                      <a:pt x="13439" y="34077"/>
                      <a:pt x="5460" y="33658"/>
                    </a:cubicBezTo>
                    <a:cubicBezTo>
                      <a:pt x="4200" y="33237"/>
                      <a:pt x="2100" y="28618"/>
                      <a:pt x="0" y="2567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B4812184-E478-7483-B8A8-A71B1C272E2D}"/>
                  </a:ext>
                </a:extLst>
              </p:cNvPr>
              <p:cNvSpPr/>
              <p:nvPr/>
            </p:nvSpPr>
            <p:spPr>
              <a:xfrm>
                <a:off x="5916444" y="1820201"/>
                <a:ext cx="30874" cy="53410"/>
              </a:xfrm>
              <a:custGeom>
                <a:avLst/>
                <a:gdLst>
                  <a:gd name="connsiteX0" fmla="*/ 24377 w 30874"/>
                  <a:gd name="connsiteY0" fmla="*/ 0 h 53410"/>
                  <a:gd name="connsiteX1" fmla="*/ 29836 w 30874"/>
                  <a:gd name="connsiteY1" fmla="*/ 7140 h 53410"/>
                  <a:gd name="connsiteX2" fmla="*/ 8417 w 30874"/>
                  <a:gd name="connsiteY2" fmla="*/ 53338 h 53410"/>
                  <a:gd name="connsiteX3" fmla="*/ 18 w 30874"/>
                  <a:gd name="connsiteY3" fmla="*/ 46618 h 53410"/>
                  <a:gd name="connsiteX4" fmla="*/ 20177 w 30874"/>
                  <a:gd name="connsiteY4" fmla="*/ 2520 h 53410"/>
                  <a:gd name="connsiteX5" fmla="*/ 24377 w 30874"/>
                  <a:gd name="connsiteY5" fmla="*/ 0 h 53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74" h="53410">
                    <a:moveTo>
                      <a:pt x="24377" y="0"/>
                    </a:moveTo>
                    <a:cubicBezTo>
                      <a:pt x="26477" y="2100"/>
                      <a:pt x="29417" y="4200"/>
                      <a:pt x="29836" y="7140"/>
                    </a:cubicBezTo>
                    <a:cubicBezTo>
                      <a:pt x="34036" y="26039"/>
                      <a:pt x="25217" y="45778"/>
                      <a:pt x="8417" y="53338"/>
                    </a:cubicBezTo>
                    <a:cubicBezTo>
                      <a:pt x="6737" y="54178"/>
                      <a:pt x="-402" y="47458"/>
                      <a:pt x="18" y="46618"/>
                    </a:cubicBezTo>
                    <a:cubicBezTo>
                      <a:pt x="6318" y="31499"/>
                      <a:pt x="13037" y="16799"/>
                      <a:pt x="20177" y="2520"/>
                    </a:cubicBezTo>
                    <a:cubicBezTo>
                      <a:pt x="20597" y="840"/>
                      <a:pt x="22697" y="840"/>
                      <a:pt x="24377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BC7AC26F-FE36-7C42-2739-2465E81AA6D7}"/>
                  </a:ext>
                </a:extLst>
              </p:cNvPr>
              <p:cNvSpPr/>
              <p:nvPr/>
            </p:nvSpPr>
            <p:spPr>
              <a:xfrm>
                <a:off x="6565682" y="3398493"/>
                <a:ext cx="31481" cy="49593"/>
              </a:xfrm>
              <a:custGeom>
                <a:avLst/>
                <a:gdLst>
                  <a:gd name="connsiteX0" fmla="*/ 21071 w 31481"/>
                  <a:gd name="connsiteY0" fmla="*/ 0 h 49593"/>
                  <a:gd name="connsiteX1" fmla="*/ 29891 w 31481"/>
                  <a:gd name="connsiteY1" fmla="*/ 8820 h 49593"/>
                  <a:gd name="connsiteX2" fmla="*/ 29891 w 31481"/>
                  <a:gd name="connsiteY2" fmla="*/ 23939 h 49593"/>
                  <a:gd name="connsiteX3" fmla="*/ 8472 w 31481"/>
                  <a:gd name="connsiteY3" fmla="*/ 49558 h 49593"/>
                  <a:gd name="connsiteX4" fmla="*/ 912 w 31481"/>
                  <a:gd name="connsiteY4" fmla="*/ 44518 h 49593"/>
                  <a:gd name="connsiteX5" fmla="*/ 21071 w 31481"/>
                  <a:gd name="connsiteY5" fmla="*/ 0 h 4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481" h="49593">
                    <a:moveTo>
                      <a:pt x="21071" y="0"/>
                    </a:moveTo>
                    <a:cubicBezTo>
                      <a:pt x="23591" y="2520"/>
                      <a:pt x="28631" y="5040"/>
                      <a:pt x="29891" y="8820"/>
                    </a:cubicBezTo>
                    <a:cubicBezTo>
                      <a:pt x="31571" y="13439"/>
                      <a:pt x="32411" y="20159"/>
                      <a:pt x="29891" y="23939"/>
                    </a:cubicBezTo>
                    <a:cubicBezTo>
                      <a:pt x="24011" y="33178"/>
                      <a:pt x="16031" y="41578"/>
                      <a:pt x="8472" y="49558"/>
                    </a:cubicBezTo>
                    <a:cubicBezTo>
                      <a:pt x="8052" y="49978"/>
                      <a:pt x="1752" y="46618"/>
                      <a:pt x="912" y="44518"/>
                    </a:cubicBezTo>
                    <a:cubicBezTo>
                      <a:pt x="-3288" y="30659"/>
                      <a:pt x="7632" y="5040"/>
                      <a:pt x="2107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74E89E91-D209-9A55-DD2B-14D110E36C11}"/>
                  </a:ext>
                </a:extLst>
              </p:cNvPr>
              <p:cNvSpPr/>
              <p:nvPr/>
            </p:nvSpPr>
            <p:spPr>
              <a:xfrm>
                <a:off x="6231868" y="2419096"/>
                <a:ext cx="38638" cy="34858"/>
              </a:xfrm>
              <a:custGeom>
                <a:avLst/>
                <a:gdLst>
                  <a:gd name="connsiteX0" fmla="*/ 19319 w 38638"/>
                  <a:gd name="connsiteY0" fmla="*/ 0 h 34858"/>
                  <a:gd name="connsiteX1" fmla="*/ 38638 w 38638"/>
                  <a:gd name="connsiteY1" fmla="*/ 15119 h 34858"/>
                  <a:gd name="connsiteX2" fmla="*/ 19739 w 38638"/>
                  <a:gd name="connsiteY2" fmla="*/ 34858 h 34858"/>
                  <a:gd name="connsiteX3" fmla="*/ 0 w 38638"/>
                  <a:gd name="connsiteY3" fmla="*/ 15539 h 34858"/>
                  <a:gd name="connsiteX4" fmla="*/ 19319 w 38638"/>
                  <a:gd name="connsiteY4" fmla="*/ 0 h 3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638" h="34858">
                    <a:moveTo>
                      <a:pt x="19319" y="0"/>
                    </a:moveTo>
                    <a:cubicBezTo>
                      <a:pt x="26879" y="6300"/>
                      <a:pt x="32759" y="10500"/>
                      <a:pt x="38638" y="15119"/>
                    </a:cubicBezTo>
                    <a:cubicBezTo>
                      <a:pt x="32339" y="21839"/>
                      <a:pt x="26039" y="28559"/>
                      <a:pt x="19739" y="34858"/>
                    </a:cubicBezTo>
                    <a:cubicBezTo>
                      <a:pt x="13020" y="28559"/>
                      <a:pt x="6720" y="21839"/>
                      <a:pt x="0" y="15539"/>
                    </a:cubicBezTo>
                    <a:cubicBezTo>
                      <a:pt x="5880" y="10919"/>
                      <a:pt x="11759" y="6300"/>
                      <a:pt x="1931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A844F7CB-E6B1-E05D-7F8B-4F5C240ADB88}"/>
                  </a:ext>
                </a:extLst>
              </p:cNvPr>
              <p:cNvSpPr/>
              <p:nvPr/>
            </p:nvSpPr>
            <p:spPr>
              <a:xfrm>
                <a:off x="6151261" y="3049488"/>
                <a:ext cx="34460" cy="53757"/>
              </a:xfrm>
              <a:custGeom>
                <a:avLst/>
                <a:gdLst>
                  <a:gd name="connsiteX0" fmla="*/ 12150 w 34460"/>
                  <a:gd name="connsiteY0" fmla="*/ 0 h 53757"/>
                  <a:gd name="connsiteX1" fmla="*/ 34409 w 34460"/>
                  <a:gd name="connsiteY1" fmla="*/ 39898 h 53757"/>
                  <a:gd name="connsiteX2" fmla="*/ 20969 w 34460"/>
                  <a:gd name="connsiteY2" fmla="*/ 53758 h 53757"/>
                  <a:gd name="connsiteX3" fmla="*/ 391 w 34460"/>
                  <a:gd name="connsiteY3" fmla="*/ 26879 h 53757"/>
                  <a:gd name="connsiteX4" fmla="*/ 12150 w 34460"/>
                  <a:gd name="connsiteY4" fmla="*/ 0 h 53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60" h="53757">
                    <a:moveTo>
                      <a:pt x="12150" y="0"/>
                    </a:moveTo>
                    <a:cubicBezTo>
                      <a:pt x="24749" y="21419"/>
                      <a:pt x="31469" y="30239"/>
                      <a:pt x="34409" y="39898"/>
                    </a:cubicBezTo>
                    <a:cubicBezTo>
                      <a:pt x="35249" y="42838"/>
                      <a:pt x="25589" y="49138"/>
                      <a:pt x="20969" y="53758"/>
                    </a:cubicBezTo>
                    <a:cubicBezTo>
                      <a:pt x="13830" y="44938"/>
                      <a:pt x="5010" y="36538"/>
                      <a:pt x="391" y="26879"/>
                    </a:cubicBezTo>
                    <a:cubicBezTo>
                      <a:pt x="-1709" y="22679"/>
                      <a:pt x="5010" y="14699"/>
                      <a:pt x="12150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6904701A-6E74-0FCE-4A27-DDD65803A2F0}"/>
                  </a:ext>
                </a:extLst>
              </p:cNvPr>
              <p:cNvSpPr/>
              <p:nvPr/>
            </p:nvSpPr>
            <p:spPr>
              <a:xfrm>
                <a:off x="6369202" y="2299821"/>
                <a:ext cx="28170" cy="47038"/>
              </a:xfrm>
              <a:custGeom>
                <a:avLst/>
                <a:gdLst>
                  <a:gd name="connsiteX0" fmla="*/ 20999 w 28170"/>
                  <a:gd name="connsiteY0" fmla="*/ 47038 h 47038"/>
                  <a:gd name="connsiteX1" fmla="*/ 0 w 28170"/>
                  <a:gd name="connsiteY1" fmla="*/ 19739 h 47038"/>
                  <a:gd name="connsiteX2" fmla="*/ 16799 w 28170"/>
                  <a:gd name="connsiteY2" fmla="*/ 0 h 47038"/>
                  <a:gd name="connsiteX3" fmla="*/ 28139 w 28170"/>
                  <a:gd name="connsiteY3" fmla="*/ 13439 h 47038"/>
                  <a:gd name="connsiteX4" fmla="*/ 20999 w 28170"/>
                  <a:gd name="connsiteY4" fmla="*/ 47038 h 47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70" h="47038">
                    <a:moveTo>
                      <a:pt x="20999" y="47038"/>
                    </a:moveTo>
                    <a:cubicBezTo>
                      <a:pt x="10080" y="33599"/>
                      <a:pt x="0" y="26879"/>
                      <a:pt x="0" y="19739"/>
                    </a:cubicBezTo>
                    <a:cubicBezTo>
                      <a:pt x="0" y="13020"/>
                      <a:pt x="10919" y="6720"/>
                      <a:pt x="16799" y="0"/>
                    </a:cubicBezTo>
                    <a:cubicBezTo>
                      <a:pt x="20579" y="4620"/>
                      <a:pt x="27719" y="8820"/>
                      <a:pt x="28139" y="13439"/>
                    </a:cubicBezTo>
                    <a:cubicBezTo>
                      <a:pt x="28559" y="21839"/>
                      <a:pt x="24779" y="30239"/>
                      <a:pt x="20999" y="4703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C1C76D14-1D52-6375-626E-9CC9BC523160}"/>
                  </a:ext>
                </a:extLst>
              </p:cNvPr>
              <p:cNvSpPr/>
              <p:nvPr/>
            </p:nvSpPr>
            <p:spPr>
              <a:xfrm>
                <a:off x="5633276" y="2260286"/>
                <a:ext cx="42115" cy="35547"/>
              </a:xfrm>
              <a:custGeom>
                <a:avLst/>
                <a:gdLst>
                  <a:gd name="connsiteX0" fmla="*/ 42116 w 42115"/>
                  <a:gd name="connsiteY0" fmla="*/ 23155 h 35547"/>
                  <a:gd name="connsiteX1" fmla="*/ 21957 w 42115"/>
                  <a:gd name="connsiteY1" fmla="*/ 35334 h 35547"/>
                  <a:gd name="connsiteX2" fmla="*/ 538 w 42115"/>
                  <a:gd name="connsiteY2" fmla="*/ 13495 h 35547"/>
                  <a:gd name="connsiteX3" fmla="*/ 13977 w 42115"/>
                  <a:gd name="connsiteY3" fmla="*/ 56 h 35547"/>
                  <a:gd name="connsiteX4" fmla="*/ 42116 w 42115"/>
                  <a:gd name="connsiteY4" fmla="*/ 23155 h 35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115" h="35547">
                    <a:moveTo>
                      <a:pt x="42116" y="23155"/>
                    </a:moveTo>
                    <a:cubicBezTo>
                      <a:pt x="33296" y="29035"/>
                      <a:pt x="27837" y="34494"/>
                      <a:pt x="21957" y="35334"/>
                    </a:cubicBezTo>
                    <a:cubicBezTo>
                      <a:pt x="10197" y="37434"/>
                      <a:pt x="-2822" y="23575"/>
                      <a:pt x="538" y="13495"/>
                    </a:cubicBezTo>
                    <a:cubicBezTo>
                      <a:pt x="2638" y="8035"/>
                      <a:pt x="12717" y="-784"/>
                      <a:pt x="13977" y="56"/>
                    </a:cubicBezTo>
                    <a:cubicBezTo>
                      <a:pt x="23637" y="5516"/>
                      <a:pt x="31196" y="13495"/>
                      <a:pt x="42116" y="231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D1250B52-6107-F6DD-C665-83620D8AB6C7}"/>
                  </a:ext>
                </a:extLst>
              </p:cNvPr>
              <p:cNvSpPr/>
              <p:nvPr/>
            </p:nvSpPr>
            <p:spPr>
              <a:xfrm>
                <a:off x="5549397" y="2666465"/>
                <a:ext cx="36538" cy="39058"/>
              </a:xfrm>
              <a:custGeom>
                <a:avLst/>
                <a:gdLst>
                  <a:gd name="connsiteX0" fmla="*/ 36538 w 36538"/>
                  <a:gd name="connsiteY0" fmla="*/ 18059 h 39058"/>
                  <a:gd name="connsiteX1" fmla="*/ 11759 w 36538"/>
                  <a:gd name="connsiteY1" fmla="*/ 39058 h 39058"/>
                  <a:gd name="connsiteX2" fmla="*/ 0 w 36538"/>
                  <a:gd name="connsiteY2" fmla="*/ 20579 h 39058"/>
                  <a:gd name="connsiteX3" fmla="*/ 9660 w 36538"/>
                  <a:gd name="connsiteY3" fmla="*/ 0 h 39058"/>
                  <a:gd name="connsiteX4" fmla="*/ 36538 w 36538"/>
                  <a:gd name="connsiteY4" fmla="*/ 18059 h 39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38" h="39058">
                    <a:moveTo>
                      <a:pt x="36538" y="18059"/>
                    </a:moveTo>
                    <a:cubicBezTo>
                      <a:pt x="25619" y="27299"/>
                      <a:pt x="18479" y="33178"/>
                      <a:pt x="11759" y="39058"/>
                    </a:cubicBezTo>
                    <a:cubicBezTo>
                      <a:pt x="7560" y="32759"/>
                      <a:pt x="420" y="26879"/>
                      <a:pt x="0" y="20579"/>
                    </a:cubicBezTo>
                    <a:cubicBezTo>
                      <a:pt x="0" y="13859"/>
                      <a:pt x="6300" y="6720"/>
                      <a:pt x="9660" y="0"/>
                    </a:cubicBezTo>
                    <a:cubicBezTo>
                      <a:pt x="17219" y="5040"/>
                      <a:pt x="24779" y="10079"/>
                      <a:pt x="36538" y="180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23889D9D-8ECD-18EE-25B3-1B7D3BF0D4F5}"/>
                  </a:ext>
                </a:extLst>
              </p:cNvPr>
              <p:cNvSpPr/>
              <p:nvPr/>
            </p:nvSpPr>
            <p:spPr>
              <a:xfrm>
                <a:off x="6297469" y="2155266"/>
                <a:ext cx="41914" cy="37908"/>
              </a:xfrm>
              <a:custGeom>
                <a:avLst/>
                <a:gdLst>
                  <a:gd name="connsiteX0" fmla="*/ 41914 w 41914"/>
                  <a:gd name="connsiteY0" fmla="*/ 29480 h 37908"/>
                  <a:gd name="connsiteX1" fmla="*/ 19235 w 41914"/>
                  <a:gd name="connsiteY1" fmla="*/ 37879 h 37908"/>
                  <a:gd name="connsiteX2" fmla="*/ 336 w 41914"/>
                  <a:gd name="connsiteY2" fmla="*/ 8901 h 37908"/>
                  <a:gd name="connsiteX3" fmla="*/ 10836 w 41914"/>
                  <a:gd name="connsiteY3" fmla="*/ 81 h 37908"/>
                  <a:gd name="connsiteX4" fmla="*/ 41914 w 41914"/>
                  <a:gd name="connsiteY4" fmla="*/ 29480 h 3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14" h="37908">
                    <a:moveTo>
                      <a:pt x="41914" y="29480"/>
                    </a:moveTo>
                    <a:cubicBezTo>
                      <a:pt x="30155" y="34099"/>
                      <a:pt x="24695" y="38299"/>
                      <a:pt x="19235" y="37879"/>
                    </a:cubicBezTo>
                    <a:cubicBezTo>
                      <a:pt x="9996" y="37459"/>
                      <a:pt x="-2184" y="18560"/>
                      <a:pt x="336" y="8901"/>
                    </a:cubicBezTo>
                    <a:cubicBezTo>
                      <a:pt x="1596" y="5121"/>
                      <a:pt x="9996" y="-759"/>
                      <a:pt x="10836" y="81"/>
                    </a:cubicBezTo>
                    <a:cubicBezTo>
                      <a:pt x="20495" y="8061"/>
                      <a:pt x="29315" y="16880"/>
                      <a:pt x="41914" y="294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54E7A5B5-27E0-CF28-F601-CD056C42E202}"/>
                  </a:ext>
                </a:extLst>
              </p:cNvPr>
              <p:cNvSpPr/>
              <p:nvPr/>
            </p:nvSpPr>
            <p:spPr>
              <a:xfrm>
                <a:off x="5802646" y="3158118"/>
                <a:ext cx="47878" cy="30017"/>
              </a:xfrm>
              <a:custGeom>
                <a:avLst/>
                <a:gdLst>
                  <a:gd name="connsiteX0" fmla="*/ 47878 w 47878"/>
                  <a:gd name="connsiteY0" fmla="*/ 13165 h 30017"/>
                  <a:gd name="connsiteX1" fmla="*/ 21419 w 47878"/>
                  <a:gd name="connsiteY1" fmla="*/ 29964 h 30017"/>
                  <a:gd name="connsiteX2" fmla="*/ 0 w 47878"/>
                  <a:gd name="connsiteY2" fmla="*/ 14005 h 30017"/>
                  <a:gd name="connsiteX3" fmla="*/ 24359 w 47878"/>
                  <a:gd name="connsiteY3" fmla="*/ 145 h 30017"/>
                  <a:gd name="connsiteX4" fmla="*/ 47878 w 47878"/>
                  <a:gd name="connsiteY4" fmla="*/ 13165 h 3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878" h="30017">
                    <a:moveTo>
                      <a:pt x="47878" y="13165"/>
                    </a:moveTo>
                    <a:cubicBezTo>
                      <a:pt x="35279" y="21564"/>
                      <a:pt x="27719" y="30804"/>
                      <a:pt x="21419" y="29964"/>
                    </a:cubicBezTo>
                    <a:cubicBezTo>
                      <a:pt x="13860" y="29124"/>
                      <a:pt x="7140" y="19465"/>
                      <a:pt x="0" y="14005"/>
                    </a:cubicBezTo>
                    <a:cubicBezTo>
                      <a:pt x="7980" y="8965"/>
                      <a:pt x="15539" y="1826"/>
                      <a:pt x="24359" y="145"/>
                    </a:cubicBezTo>
                    <a:cubicBezTo>
                      <a:pt x="28979" y="-1114"/>
                      <a:pt x="35698" y="6025"/>
                      <a:pt x="47878" y="1316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8DF5ED6F-7107-7C22-9BC7-53468C5775A2}"/>
                  </a:ext>
                </a:extLst>
              </p:cNvPr>
              <p:cNvSpPr/>
              <p:nvPr/>
            </p:nvSpPr>
            <p:spPr>
              <a:xfrm>
                <a:off x="5972686" y="2698250"/>
                <a:ext cx="42051" cy="29531"/>
              </a:xfrm>
              <a:custGeom>
                <a:avLst/>
                <a:gdLst>
                  <a:gd name="connsiteX0" fmla="*/ 42051 w 42051"/>
                  <a:gd name="connsiteY0" fmla="*/ 20292 h 29531"/>
                  <a:gd name="connsiteX1" fmla="*/ 19792 w 42051"/>
                  <a:gd name="connsiteY1" fmla="*/ 29532 h 29531"/>
                  <a:gd name="connsiteX2" fmla="*/ 53 w 42051"/>
                  <a:gd name="connsiteY2" fmla="*/ 11473 h 29531"/>
                  <a:gd name="connsiteX3" fmla="*/ 14333 w 42051"/>
                  <a:gd name="connsiteY3" fmla="*/ 133 h 29531"/>
                  <a:gd name="connsiteX4" fmla="*/ 42051 w 42051"/>
                  <a:gd name="connsiteY4" fmla="*/ 20292 h 2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51" h="29531">
                    <a:moveTo>
                      <a:pt x="42051" y="20292"/>
                    </a:moveTo>
                    <a:cubicBezTo>
                      <a:pt x="30712" y="25332"/>
                      <a:pt x="25252" y="29532"/>
                      <a:pt x="19792" y="29532"/>
                    </a:cubicBezTo>
                    <a:cubicBezTo>
                      <a:pt x="8453" y="29532"/>
                      <a:pt x="-787" y="23652"/>
                      <a:pt x="53" y="11473"/>
                    </a:cubicBezTo>
                    <a:cubicBezTo>
                      <a:pt x="473" y="6853"/>
                      <a:pt x="11393" y="-1127"/>
                      <a:pt x="14333" y="133"/>
                    </a:cubicBezTo>
                    <a:cubicBezTo>
                      <a:pt x="22312" y="3073"/>
                      <a:pt x="29452" y="10633"/>
                      <a:pt x="42051" y="202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F39D7369-A3CD-E0D3-B1F9-62983825EF68}"/>
                  </a:ext>
                </a:extLst>
              </p:cNvPr>
              <p:cNvSpPr/>
              <p:nvPr/>
            </p:nvSpPr>
            <p:spPr>
              <a:xfrm>
                <a:off x="5537556" y="2080775"/>
                <a:ext cx="21774" cy="46012"/>
              </a:xfrm>
              <a:custGeom>
                <a:avLst/>
                <a:gdLst>
                  <a:gd name="connsiteX0" fmla="*/ 21500 w 21774"/>
                  <a:gd name="connsiteY0" fmla="*/ 22074 h 46012"/>
                  <a:gd name="connsiteX1" fmla="*/ 21080 w 21774"/>
                  <a:gd name="connsiteY1" fmla="*/ 35933 h 46012"/>
                  <a:gd name="connsiteX2" fmla="*/ 13521 w 21774"/>
                  <a:gd name="connsiteY2" fmla="*/ 46013 h 46012"/>
                  <a:gd name="connsiteX3" fmla="*/ 2601 w 21774"/>
                  <a:gd name="connsiteY3" fmla="*/ 35933 h 46012"/>
                  <a:gd name="connsiteX4" fmla="*/ 81 w 21774"/>
                  <a:gd name="connsiteY4" fmla="*/ 26274 h 46012"/>
                  <a:gd name="connsiteX5" fmla="*/ 7221 w 21774"/>
                  <a:gd name="connsiteY5" fmla="*/ 235 h 46012"/>
                  <a:gd name="connsiteX6" fmla="*/ 21500 w 21774"/>
                  <a:gd name="connsiteY6" fmla="*/ 22074 h 46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774" h="46012">
                    <a:moveTo>
                      <a:pt x="21500" y="22074"/>
                    </a:moveTo>
                    <a:cubicBezTo>
                      <a:pt x="21500" y="29213"/>
                      <a:pt x="22340" y="32993"/>
                      <a:pt x="21080" y="35933"/>
                    </a:cubicBezTo>
                    <a:cubicBezTo>
                      <a:pt x="19400" y="39713"/>
                      <a:pt x="16041" y="42653"/>
                      <a:pt x="13521" y="46013"/>
                    </a:cubicBezTo>
                    <a:cubicBezTo>
                      <a:pt x="9741" y="42653"/>
                      <a:pt x="5541" y="39713"/>
                      <a:pt x="2601" y="35933"/>
                    </a:cubicBezTo>
                    <a:cubicBezTo>
                      <a:pt x="921" y="33413"/>
                      <a:pt x="-339" y="29213"/>
                      <a:pt x="81" y="26274"/>
                    </a:cubicBezTo>
                    <a:cubicBezTo>
                      <a:pt x="1761" y="17034"/>
                      <a:pt x="4281" y="235"/>
                      <a:pt x="7221" y="235"/>
                    </a:cubicBezTo>
                    <a:cubicBezTo>
                      <a:pt x="28640" y="-2285"/>
                      <a:pt x="17301" y="16194"/>
                      <a:pt x="21500" y="2207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9C267842-5A0D-1948-5099-69EED955F75E}"/>
                  </a:ext>
                </a:extLst>
              </p:cNvPr>
              <p:cNvSpPr/>
              <p:nvPr/>
            </p:nvSpPr>
            <p:spPr>
              <a:xfrm>
                <a:off x="6461802" y="3097290"/>
                <a:ext cx="30099" cy="47533"/>
              </a:xfrm>
              <a:custGeom>
                <a:avLst/>
                <a:gdLst>
                  <a:gd name="connsiteX0" fmla="*/ 12816 w 30099"/>
                  <a:gd name="connsiteY0" fmla="*/ 47534 h 47533"/>
                  <a:gd name="connsiteX1" fmla="*/ 636 w 30099"/>
                  <a:gd name="connsiteY1" fmla="*/ 23595 h 47533"/>
                  <a:gd name="connsiteX2" fmla="*/ 19115 w 30099"/>
                  <a:gd name="connsiteY2" fmla="*/ 76 h 47533"/>
                  <a:gd name="connsiteX3" fmla="*/ 30035 w 30099"/>
                  <a:gd name="connsiteY3" fmla="*/ 12255 h 47533"/>
                  <a:gd name="connsiteX4" fmla="*/ 12816 w 30099"/>
                  <a:gd name="connsiteY4" fmla="*/ 47534 h 4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099" h="47533">
                    <a:moveTo>
                      <a:pt x="12816" y="47534"/>
                    </a:moveTo>
                    <a:cubicBezTo>
                      <a:pt x="6516" y="35355"/>
                      <a:pt x="2736" y="29895"/>
                      <a:pt x="636" y="23595"/>
                    </a:cubicBezTo>
                    <a:cubicBezTo>
                      <a:pt x="-2724" y="13515"/>
                      <a:pt x="7776" y="-1184"/>
                      <a:pt x="19115" y="76"/>
                    </a:cubicBezTo>
                    <a:cubicBezTo>
                      <a:pt x="23315" y="496"/>
                      <a:pt x="30875" y="8895"/>
                      <a:pt x="30035" y="12255"/>
                    </a:cubicBezTo>
                    <a:cubicBezTo>
                      <a:pt x="27935" y="20655"/>
                      <a:pt x="22475" y="28635"/>
                      <a:pt x="12816" y="4753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F671F39F-AB27-A87F-4292-63A935C209C6}"/>
                  </a:ext>
                </a:extLst>
              </p:cNvPr>
              <p:cNvSpPr/>
              <p:nvPr/>
            </p:nvSpPr>
            <p:spPr>
              <a:xfrm>
                <a:off x="5538306" y="3089276"/>
                <a:ext cx="32372" cy="42528"/>
              </a:xfrm>
              <a:custGeom>
                <a:avLst/>
                <a:gdLst>
                  <a:gd name="connsiteX0" fmla="*/ 31250 w 32372"/>
                  <a:gd name="connsiteY0" fmla="*/ 4730 h 42528"/>
                  <a:gd name="connsiteX1" fmla="*/ 32090 w 32372"/>
                  <a:gd name="connsiteY1" fmla="*/ 12290 h 42528"/>
                  <a:gd name="connsiteX2" fmla="*/ 7311 w 32372"/>
                  <a:gd name="connsiteY2" fmla="*/ 42528 h 42528"/>
                  <a:gd name="connsiteX3" fmla="*/ 1012 w 32372"/>
                  <a:gd name="connsiteY3" fmla="*/ 36649 h 42528"/>
                  <a:gd name="connsiteX4" fmla="*/ 22011 w 32372"/>
                  <a:gd name="connsiteY4" fmla="*/ 110 h 42528"/>
                  <a:gd name="connsiteX5" fmla="*/ 31250 w 32372"/>
                  <a:gd name="connsiteY5" fmla="*/ 4730 h 42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372" h="42528">
                    <a:moveTo>
                      <a:pt x="31250" y="4730"/>
                    </a:moveTo>
                    <a:cubicBezTo>
                      <a:pt x="31670" y="9350"/>
                      <a:pt x="32930" y="11450"/>
                      <a:pt x="32090" y="12290"/>
                    </a:cubicBezTo>
                    <a:cubicBezTo>
                      <a:pt x="24111" y="22369"/>
                      <a:pt x="15711" y="32449"/>
                      <a:pt x="7311" y="42528"/>
                    </a:cubicBezTo>
                    <a:cubicBezTo>
                      <a:pt x="5211" y="40429"/>
                      <a:pt x="1851" y="39169"/>
                      <a:pt x="1012" y="36649"/>
                    </a:cubicBezTo>
                    <a:cubicBezTo>
                      <a:pt x="-3188" y="23209"/>
                      <a:pt x="6051" y="7250"/>
                      <a:pt x="22011" y="110"/>
                    </a:cubicBezTo>
                    <a:cubicBezTo>
                      <a:pt x="24530" y="-730"/>
                      <a:pt x="29150" y="3470"/>
                      <a:pt x="31250" y="47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3E01ACDF-07C2-0F03-7BDE-D12716E5928C}"/>
                  </a:ext>
                </a:extLst>
              </p:cNvPr>
              <p:cNvSpPr/>
              <p:nvPr/>
            </p:nvSpPr>
            <p:spPr>
              <a:xfrm>
                <a:off x="6283106" y="3022551"/>
                <a:ext cx="36958" cy="29892"/>
              </a:xfrm>
              <a:custGeom>
                <a:avLst/>
                <a:gdLst>
                  <a:gd name="connsiteX0" fmla="*/ 36958 w 36958"/>
                  <a:gd name="connsiteY0" fmla="*/ 15598 h 29892"/>
                  <a:gd name="connsiteX1" fmla="*/ 15119 w 36958"/>
                  <a:gd name="connsiteY1" fmla="*/ 29877 h 29892"/>
                  <a:gd name="connsiteX2" fmla="*/ 0 w 36958"/>
                  <a:gd name="connsiteY2" fmla="*/ 15177 h 29892"/>
                  <a:gd name="connsiteX3" fmla="*/ 14699 w 36958"/>
                  <a:gd name="connsiteY3" fmla="*/ 58 h 29892"/>
                  <a:gd name="connsiteX4" fmla="*/ 36958 w 36958"/>
                  <a:gd name="connsiteY4" fmla="*/ 15598 h 29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58" h="29892">
                    <a:moveTo>
                      <a:pt x="36958" y="15598"/>
                    </a:moveTo>
                    <a:cubicBezTo>
                      <a:pt x="26879" y="22317"/>
                      <a:pt x="20579" y="30297"/>
                      <a:pt x="15119" y="29877"/>
                    </a:cubicBezTo>
                    <a:cubicBezTo>
                      <a:pt x="9240" y="29037"/>
                      <a:pt x="0" y="20217"/>
                      <a:pt x="0" y="15177"/>
                    </a:cubicBezTo>
                    <a:cubicBezTo>
                      <a:pt x="0" y="9718"/>
                      <a:pt x="9240" y="478"/>
                      <a:pt x="14699" y="58"/>
                    </a:cubicBezTo>
                    <a:cubicBezTo>
                      <a:pt x="20579" y="-782"/>
                      <a:pt x="26879" y="7618"/>
                      <a:pt x="36958" y="1559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0639029F-33DB-ADCE-DDB7-9D3D5A135217}"/>
                  </a:ext>
                </a:extLst>
              </p:cNvPr>
              <p:cNvSpPr/>
              <p:nvPr/>
            </p:nvSpPr>
            <p:spPr>
              <a:xfrm>
                <a:off x="6547694" y="2477050"/>
                <a:ext cx="44517" cy="28295"/>
              </a:xfrm>
              <a:custGeom>
                <a:avLst/>
                <a:gdLst>
                  <a:gd name="connsiteX0" fmla="*/ 44518 w 44517"/>
                  <a:gd name="connsiteY0" fmla="*/ 16802 h 28295"/>
                  <a:gd name="connsiteX1" fmla="*/ 24779 w 44517"/>
                  <a:gd name="connsiteY1" fmla="*/ 28142 h 28295"/>
                  <a:gd name="connsiteX2" fmla="*/ 0 w 44517"/>
                  <a:gd name="connsiteY2" fmla="*/ 3783 h 28295"/>
                  <a:gd name="connsiteX3" fmla="*/ 24779 w 44517"/>
                  <a:gd name="connsiteY3" fmla="*/ 423 h 28295"/>
                  <a:gd name="connsiteX4" fmla="*/ 44518 w 44517"/>
                  <a:gd name="connsiteY4" fmla="*/ 16802 h 2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517" h="28295">
                    <a:moveTo>
                      <a:pt x="44518" y="16802"/>
                    </a:moveTo>
                    <a:cubicBezTo>
                      <a:pt x="34858" y="22682"/>
                      <a:pt x="26879" y="29402"/>
                      <a:pt x="24779" y="28142"/>
                    </a:cubicBezTo>
                    <a:cubicBezTo>
                      <a:pt x="15539" y="21422"/>
                      <a:pt x="7980" y="12183"/>
                      <a:pt x="0" y="3783"/>
                    </a:cubicBezTo>
                    <a:cubicBezTo>
                      <a:pt x="8400" y="2523"/>
                      <a:pt x="17219" y="-1257"/>
                      <a:pt x="24779" y="423"/>
                    </a:cubicBezTo>
                    <a:cubicBezTo>
                      <a:pt x="31079" y="1683"/>
                      <a:pt x="35698" y="9243"/>
                      <a:pt x="44518" y="1680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3" name="Freihandform: Form 172">
                <a:extLst>
                  <a:ext uri="{FF2B5EF4-FFF2-40B4-BE49-F238E27FC236}">
                    <a16:creationId xmlns:a16="http://schemas.microsoft.com/office/drawing/2014/main" id="{F142D1DF-C17A-D5BC-5E73-95764E22D4F8}"/>
                  </a:ext>
                </a:extLst>
              </p:cNvPr>
              <p:cNvSpPr/>
              <p:nvPr/>
            </p:nvSpPr>
            <p:spPr>
              <a:xfrm>
                <a:off x="5688411" y="3021356"/>
                <a:ext cx="43258" cy="29094"/>
              </a:xfrm>
              <a:custGeom>
                <a:avLst/>
                <a:gdLst>
                  <a:gd name="connsiteX0" fmla="*/ 43258 w 43258"/>
                  <a:gd name="connsiteY0" fmla="*/ 10073 h 29094"/>
                  <a:gd name="connsiteX1" fmla="*/ 15119 w 43258"/>
                  <a:gd name="connsiteY1" fmla="*/ 28973 h 29094"/>
                  <a:gd name="connsiteX2" fmla="*/ 0 w 43258"/>
                  <a:gd name="connsiteY2" fmla="*/ 17213 h 29094"/>
                  <a:gd name="connsiteX3" fmla="*/ 21419 w 43258"/>
                  <a:gd name="connsiteY3" fmla="*/ 414 h 29094"/>
                  <a:gd name="connsiteX4" fmla="*/ 43258 w 43258"/>
                  <a:gd name="connsiteY4" fmla="*/ 10073 h 2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58" h="29094">
                    <a:moveTo>
                      <a:pt x="43258" y="10073"/>
                    </a:moveTo>
                    <a:cubicBezTo>
                      <a:pt x="30659" y="18893"/>
                      <a:pt x="23519" y="26033"/>
                      <a:pt x="15119" y="28973"/>
                    </a:cubicBezTo>
                    <a:cubicBezTo>
                      <a:pt x="11759" y="30233"/>
                      <a:pt x="5040" y="21413"/>
                      <a:pt x="0" y="17213"/>
                    </a:cubicBezTo>
                    <a:cubicBezTo>
                      <a:pt x="7139" y="11333"/>
                      <a:pt x="13439" y="3774"/>
                      <a:pt x="21419" y="414"/>
                    </a:cubicBezTo>
                    <a:cubicBezTo>
                      <a:pt x="25199" y="-1686"/>
                      <a:pt x="32338" y="4614"/>
                      <a:pt x="43258" y="1007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0B650B0F-AC35-796B-314F-CA353F125BC4}"/>
                  </a:ext>
                </a:extLst>
              </p:cNvPr>
              <p:cNvSpPr/>
              <p:nvPr/>
            </p:nvSpPr>
            <p:spPr>
              <a:xfrm>
                <a:off x="6556320" y="2982238"/>
                <a:ext cx="34632" cy="35751"/>
              </a:xfrm>
              <a:custGeom>
                <a:avLst/>
                <a:gdLst>
                  <a:gd name="connsiteX0" fmla="*/ 34632 w 34632"/>
                  <a:gd name="connsiteY0" fmla="*/ 15593 h 35751"/>
                  <a:gd name="connsiteX1" fmla="*/ 12793 w 34632"/>
                  <a:gd name="connsiteY1" fmla="*/ 35752 h 35751"/>
                  <a:gd name="connsiteX2" fmla="*/ 194 w 34632"/>
                  <a:gd name="connsiteY2" fmla="*/ 16853 h 35751"/>
                  <a:gd name="connsiteX3" fmla="*/ 20773 w 34632"/>
                  <a:gd name="connsiteY3" fmla="*/ 53 h 35751"/>
                  <a:gd name="connsiteX4" fmla="*/ 34632 w 34632"/>
                  <a:gd name="connsiteY4" fmla="*/ 15593 h 3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32" h="35751">
                    <a:moveTo>
                      <a:pt x="34632" y="15593"/>
                    </a:moveTo>
                    <a:cubicBezTo>
                      <a:pt x="25813" y="23573"/>
                      <a:pt x="19513" y="29452"/>
                      <a:pt x="12793" y="35752"/>
                    </a:cubicBezTo>
                    <a:cubicBezTo>
                      <a:pt x="8174" y="29032"/>
                      <a:pt x="-1486" y="20213"/>
                      <a:pt x="194" y="16853"/>
                    </a:cubicBezTo>
                    <a:cubicBezTo>
                      <a:pt x="3974" y="9293"/>
                      <a:pt x="13213" y="4253"/>
                      <a:pt x="20773" y="53"/>
                    </a:cubicBezTo>
                    <a:cubicBezTo>
                      <a:pt x="22033" y="-786"/>
                      <a:pt x="28333" y="8453"/>
                      <a:pt x="34632" y="1559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88CD0B4D-620E-4154-557C-D270618BA528}"/>
                  </a:ext>
                </a:extLst>
              </p:cNvPr>
              <p:cNvSpPr/>
              <p:nvPr/>
            </p:nvSpPr>
            <p:spPr>
              <a:xfrm>
                <a:off x="5737394" y="2488002"/>
                <a:ext cx="31235" cy="41128"/>
              </a:xfrm>
              <a:custGeom>
                <a:avLst/>
                <a:gdLst>
                  <a:gd name="connsiteX0" fmla="*/ 15274 w 31235"/>
                  <a:gd name="connsiteY0" fmla="*/ 41128 h 41128"/>
                  <a:gd name="connsiteX1" fmla="*/ 155 w 31235"/>
                  <a:gd name="connsiteY1" fmla="*/ 14670 h 41128"/>
                  <a:gd name="connsiteX2" fmla="*/ 9815 w 31235"/>
                  <a:gd name="connsiteY2" fmla="*/ 390 h 41128"/>
                  <a:gd name="connsiteX3" fmla="*/ 30814 w 31235"/>
                  <a:gd name="connsiteY3" fmla="*/ 23069 h 41128"/>
                  <a:gd name="connsiteX4" fmla="*/ 15274 w 31235"/>
                  <a:gd name="connsiteY4" fmla="*/ 41128 h 41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235" h="41128">
                    <a:moveTo>
                      <a:pt x="15274" y="41128"/>
                    </a:moveTo>
                    <a:cubicBezTo>
                      <a:pt x="8975" y="30629"/>
                      <a:pt x="2255" y="23069"/>
                      <a:pt x="155" y="14670"/>
                    </a:cubicBezTo>
                    <a:cubicBezTo>
                      <a:pt x="-1105" y="10890"/>
                      <a:pt x="5615" y="1650"/>
                      <a:pt x="9815" y="390"/>
                    </a:cubicBezTo>
                    <a:cubicBezTo>
                      <a:pt x="20734" y="-2550"/>
                      <a:pt x="33753" y="11730"/>
                      <a:pt x="30814" y="23069"/>
                    </a:cubicBezTo>
                    <a:cubicBezTo>
                      <a:pt x="28714" y="28949"/>
                      <a:pt x="22414" y="33149"/>
                      <a:pt x="15274" y="4112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FC5C8689-8968-DC38-486C-A2D820728C6F}"/>
                  </a:ext>
                </a:extLst>
              </p:cNvPr>
              <p:cNvSpPr/>
              <p:nvPr/>
            </p:nvSpPr>
            <p:spPr>
              <a:xfrm>
                <a:off x="6148658" y="2213304"/>
                <a:ext cx="33587" cy="30347"/>
              </a:xfrm>
              <a:custGeom>
                <a:avLst/>
                <a:gdLst>
                  <a:gd name="connsiteX0" fmla="*/ 12233 w 33587"/>
                  <a:gd name="connsiteY0" fmla="*/ 0 h 30347"/>
                  <a:gd name="connsiteX1" fmla="*/ 26512 w 33587"/>
                  <a:gd name="connsiteY1" fmla="*/ 5460 h 30347"/>
                  <a:gd name="connsiteX2" fmla="*/ 33232 w 33587"/>
                  <a:gd name="connsiteY2" fmla="*/ 20999 h 30347"/>
                  <a:gd name="connsiteX3" fmla="*/ 17693 w 33587"/>
                  <a:gd name="connsiteY3" fmla="*/ 30239 h 30347"/>
                  <a:gd name="connsiteX4" fmla="*/ 5093 w 33587"/>
                  <a:gd name="connsiteY4" fmla="*/ 23099 h 30347"/>
                  <a:gd name="connsiteX5" fmla="*/ 53 w 33587"/>
                  <a:gd name="connsiteY5" fmla="*/ 5880 h 30347"/>
                  <a:gd name="connsiteX6" fmla="*/ 12233 w 33587"/>
                  <a:gd name="connsiteY6" fmla="*/ 0 h 3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587" h="30347">
                    <a:moveTo>
                      <a:pt x="12233" y="0"/>
                    </a:moveTo>
                    <a:cubicBezTo>
                      <a:pt x="17693" y="1680"/>
                      <a:pt x="23572" y="2100"/>
                      <a:pt x="26512" y="5460"/>
                    </a:cubicBezTo>
                    <a:cubicBezTo>
                      <a:pt x="30292" y="9660"/>
                      <a:pt x="34912" y="17639"/>
                      <a:pt x="33232" y="20999"/>
                    </a:cubicBezTo>
                    <a:cubicBezTo>
                      <a:pt x="31132" y="25619"/>
                      <a:pt x="23572" y="29399"/>
                      <a:pt x="17693" y="30239"/>
                    </a:cubicBezTo>
                    <a:cubicBezTo>
                      <a:pt x="13913" y="31079"/>
                      <a:pt x="7613" y="26879"/>
                      <a:pt x="5093" y="23099"/>
                    </a:cubicBezTo>
                    <a:cubicBezTo>
                      <a:pt x="1733" y="18059"/>
                      <a:pt x="-367" y="11759"/>
                      <a:pt x="53" y="5880"/>
                    </a:cubicBezTo>
                    <a:cubicBezTo>
                      <a:pt x="53" y="4200"/>
                      <a:pt x="8033" y="2100"/>
                      <a:pt x="1223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7C7B9ED6-9277-2079-29E0-A7D76FD9A415}"/>
                  </a:ext>
                </a:extLst>
              </p:cNvPr>
              <p:cNvSpPr/>
              <p:nvPr/>
            </p:nvSpPr>
            <p:spPr>
              <a:xfrm>
                <a:off x="5223244" y="2193302"/>
                <a:ext cx="32586" cy="41333"/>
              </a:xfrm>
              <a:custGeom>
                <a:avLst/>
                <a:gdLst>
                  <a:gd name="connsiteX0" fmla="*/ 32586 w 32586"/>
                  <a:gd name="connsiteY0" fmla="*/ 13283 h 41333"/>
                  <a:gd name="connsiteX1" fmla="*/ 14947 w 32586"/>
                  <a:gd name="connsiteY1" fmla="*/ 41001 h 41333"/>
                  <a:gd name="connsiteX2" fmla="*/ 2348 w 32586"/>
                  <a:gd name="connsiteY2" fmla="*/ 36802 h 41333"/>
                  <a:gd name="connsiteX3" fmla="*/ 18727 w 32586"/>
                  <a:gd name="connsiteY3" fmla="*/ 263 h 41333"/>
                  <a:gd name="connsiteX4" fmla="*/ 27966 w 32586"/>
                  <a:gd name="connsiteY4" fmla="*/ 2783 h 41333"/>
                  <a:gd name="connsiteX5" fmla="*/ 32586 w 32586"/>
                  <a:gd name="connsiteY5" fmla="*/ 13283 h 41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586" h="41333">
                    <a:moveTo>
                      <a:pt x="32586" y="13283"/>
                    </a:moveTo>
                    <a:cubicBezTo>
                      <a:pt x="27547" y="21682"/>
                      <a:pt x="21667" y="31762"/>
                      <a:pt x="14947" y="41001"/>
                    </a:cubicBezTo>
                    <a:cubicBezTo>
                      <a:pt x="14107" y="42261"/>
                      <a:pt x="4027" y="39742"/>
                      <a:pt x="2348" y="36802"/>
                    </a:cubicBezTo>
                    <a:cubicBezTo>
                      <a:pt x="-4372" y="23782"/>
                      <a:pt x="4027" y="5723"/>
                      <a:pt x="18727" y="263"/>
                    </a:cubicBezTo>
                    <a:cubicBezTo>
                      <a:pt x="21247" y="-577"/>
                      <a:pt x="25447" y="683"/>
                      <a:pt x="27966" y="2783"/>
                    </a:cubicBezTo>
                    <a:cubicBezTo>
                      <a:pt x="30066" y="4463"/>
                      <a:pt x="30486" y="8243"/>
                      <a:pt x="32586" y="132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53DC8899-5DD7-D3FB-F1A8-B221647AF0C1}"/>
                  </a:ext>
                </a:extLst>
              </p:cNvPr>
              <p:cNvSpPr/>
              <p:nvPr/>
            </p:nvSpPr>
            <p:spPr>
              <a:xfrm>
                <a:off x="5917721" y="2928842"/>
                <a:ext cx="41578" cy="29526"/>
              </a:xfrm>
              <a:custGeom>
                <a:avLst/>
                <a:gdLst>
                  <a:gd name="connsiteX0" fmla="*/ 41578 w 41578"/>
                  <a:gd name="connsiteY0" fmla="*/ 16491 h 29526"/>
                  <a:gd name="connsiteX1" fmla="*/ 12180 w 41578"/>
                  <a:gd name="connsiteY1" fmla="*/ 29510 h 29526"/>
                  <a:gd name="connsiteX2" fmla="*/ 0 w 41578"/>
                  <a:gd name="connsiteY2" fmla="*/ 17751 h 29526"/>
                  <a:gd name="connsiteX3" fmla="*/ 20159 w 41578"/>
                  <a:gd name="connsiteY3" fmla="*/ 112 h 29526"/>
                  <a:gd name="connsiteX4" fmla="*/ 41578 w 41578"/>
                  <a:gd name="connsiteY4" fmla="*/ 16491 h 29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78" h="29526">
                    <a:moveTo>
                      <a:pt x="41578" y="16491"/>
                    </a:moveTo>
                    <a:cubicBezTo>
                      <a:pt x="28979" y="22371"/>
                      <a:pt x="20999" y="27830"/>
                      <a:pt x="12180" y="29510"/>
                    </a:cubicBezTo>
                    <a:cubicBezTo>
                      <a:pt x="8820" y="29930"/>
                      <a:pt x="4200" y="21950"/>
                      <a:pt x="0" y="17751"/>
                    </a:cubicBezTo>
                    <a:cubicBezTo>
                      <a:pt x="6720" y="11451"/>
                      <a:pt x="12599" y="3051"/>
                      <a:pt x="20159" y="112"/>
                    </a:cubicBezTo>
                    <a:cubicBezTo>
                      <a:pt x="24359" y="-1149"/>
                      <a:pt x="31919" y="8511"/>
                      <a:pt x="41578" y="1649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9" name="Freihandform: Form 178">
                <a:extLst>
                  <a:ext uri="{FF2B5EF4-FFF2-40B4-BE49-F238E27FC236}">
                    <a16:creationId xmlns:a16="http://schemas.microsoft.com/office/drawing/2014/main" id="{3288641F-B0F8-AFAC-1E45-DC885D6C34DD}"/>
                  </a:ext>
                </a:extLst>
              </p:cNvPr>
              <p:cNvSpPr/>
              <p:nvPr/>
            </p:nvSpPr>
            <p:spPr>
              <a:xfrm>
                <a:off x="5785007" y="2917118"/>
                <a:ext cx="44098" cy="29956"/>
              </a:xfrm>
              <a:custGeom>
                <a:avLst/>
                <a:gdLst>
                  <a:gd name="connsiteX0" fmla="*/ 44098 w 44098"/>
                  <a:gd name="connsiteY0" fmla="*/ 10995 h 29956"/>
                  <a:gd name="connsiteX1" fmla="*/ 20159 w 44098"/>
                  <a:gd name="connsiteY1" fmla="*/ 29895 h 29956"/>
                  <a:gd name="connsiteX2" fmla="*/ 0 w 44098"/>
                  <a:gd name="connsiteY2" fmla="*/ 18555 h 29956"/>
                  <a:gd name="connsiteX3" fmla="*/ 24359 w 44098"/>
                  <a:gd name="connsiteY3" fmla="*/ 76 h 29956"/>
                  <a:gd name="connsiteX4" fmla="*/ 44098 w 44098"/>
                  <a:gd name="connsiteY4" fmla="*/ 10995 h 2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098" h="29956">
                    <a:moveTo>
                      <a:pt x="44098" y="10995"/>
                    </a:moveTo>
                    <a:cubicBezTo>
                      <a:pt x="33178" y="20235"/>
                      <a:pt x="27299" y="29055"/>
                      <a:pt x="20159" y="29895"/>
                    </a:cubicBezTo>
                    <a:cubicBezTo>
                      <a:pt x="14279" y="30735"/>
                      <a:pt x="6720" y="22755"/>
                      <a:pt x="0" y="18555"/>
                    </a:cubicBezTo>
                    <a:cubicBezTo>
                      <a:pt x="7980" y="12255"/>
                      <a:pt x="15539" y="4696"/>
                      <a:pt x="24359" y="76"/>
                    </a:cubicBezTo>
                    <a:cubicBezTo>
                      <a:pt x="26879" y="-764"/>
                      <a:pt x="33599" y="5536"/>
                      <a:pt x="44098" y="1099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46FF144B-578F-C1CA-C5B8-1327A2C4C966}"/>
                  </a:ext>
                </a:extLst>
              </p:cNvPr>
              <p:cNvSpPr/>
              <p:nvPr/>
            </p:nvSpPr>
            <p:spPr>
              <a:xfrm>
                <a:off x="5297828" y="2582048"/>
                <a:ext cx="27808" cy="40365"/>
              </a:xfrm>
              <a:custGeom>
                <a:avLst/>
                <a:gdLst>
                  <a:gd name="connsiteX0" fmla="*/ 6300 w 27808"/>
                  <a:gd name="connsiteY0" fmla="*/ 40318 h 40365"/>
                  <a:gd name="connsiteX1" fmla="*/ 0 w 27808"/>
                  <a:gd name="connsiteY1" fmla="*/ 33599 h 40365"/>
                  <a:gd name="connsiteX2" fmla="*/ 7980 w 27808"/>
                  <a:gd name="connsiteY2" fmla="*/ 6300 h 40365"/>
                  <a:gd name="connsiteX3" fmla="*/ 25199 w 27808"/>
                  <a:gd name="connsiteY3" fmla="*/ 0 h 40365"/>
                  <a:gd name="connsiteX4" fmla="*/ 27299 w 27808"/>
                  <a:gd name="connsiteY4" fmla="*/ 17639 h 40365"/>
                  <a:gd name="connsiteX5" fmla="*/ 15119 w 27808"/>
                  <a:gd name="connsiteY5" fmla="*/ 39058 h 40365"/>
                  <a:gd name="connsiteX6" fmla="*/ 6300 w 27808"/>
                  <a:gd name="connsiteY6" fmla="*/ 40318 h 40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08" h="40365">
                    <a:moveTo>
                      <a:pt x="6300" y="40318"/>
                    </a:moveTo>
                    <a:cubicBezTo>
                      <a:pt x="4200" y="37798"/>
                      <a:pt x="0" y="35279"/>
                      <a:pt x="0" y="33599"/>
                    </a:cubicBezTo>
                    <a:cubicBezTo>
                      <a:pt x="1680" y="24359"/>
                      <a:pt x="3360" y="14279"/>
                      <a:pt x="7980" y="6300"/>
                    </a:cubicBezTo>
                    <a:cubicBezTo>
                      <a:pt x="10500" y="2100"/>
                      <a:pt x="19319" y="2100"/>
                      <a:pt x="25199" y="0"/>
                    </a:cubicBezTo>
                    <a:cubicBezTo>
                      <a:pt x="26039" y="5880"/>
                      <a:pt x="28979" y="12180"/>
                      <a:pt x="27299" y="17639"/>
                    </a:cubicBezTo>
                    <a:cubicBezTo>
                      <a:pt x="25199" y="25199"/>
                      <a:pt x="20159" y="32339"/>
                      <a:pt x="15119" y="39058"/>
                    </a:cubicBezTo>
                    <a:cubicBezTo>
                      <a:pt x="14279" y="40738"/>
                      <a:pt x="9239" y="40318"/>
                      <a:pt x="6300" y="403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E9B48906-42EE-5BBB-C57C-1C9D4C64DD1B}"/>
                  </a:ext>
                </a:extLst>
              </p:cNvPr>
              <p:cNvSpPr/>
              <p:nvPr/>
            </p:nvSpPr>
            <p:spPr>
              <a:xfrm>
                <a:off x="6471678" y="2849577"/>
                <a:ext cx="39058" cy="32870"/>
              </a:xfrm>
              <a:custGeom>
                <a:avLst/>
                <a:gdLst>
                  <a:gd name="connsiteX0" fmla="*/ 15119 w 39058"/>
                  <a:gd name="connsiteY0" fmla="*/ 0 h 32870"/>
                  <a:gd name="connsiteX1" fmla="*/ 39058 w 39058"/>
                  <a:gd name="connsiteY1" fmla="*/ 19739 h 32870"/>
                  <a:gd name="connsiteX2" fmla="*/ 20159 w 39058"/>
                  <a:gd name="connsiteY2" fmla="*/ 32759 h 32870"/>
                  <a:gd name="connsiteX3" fmla="*/ 0 w 39058"/>
                  <a:gd name="connsiteY3" fmla="*/ 14279 h 32870"/>
                  <a:gd name="connsiteX4" fmla="*/ 15119 w 39058"/>
                  <a:gd name="connsiteY4" fmla="*/ 0 h 3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58" h="32870">
                    <a:moveTo>
                      <a:pt x="15119" y="0"/>
                    </a:moveTo>
                    <a:cubicBezTo>
                      <a:pt x="24359" y="7560"/>
                      <a:pt x="31499" y="13439"/>
                      <a:pt x="39058" y="19739"/>
                    </a:cubicBezTo>
                    <a:cubicBezTo>
                      <a:pt x="32759" y="24359"/>
                      <a:pt x="24359" y="34018"/>
                      <a:pt x="20159" y="32759"/>
                    </a:cubicBezTo>
                    <a:cubicBezTo>
                      <a:pt x="12179" y="30239"/>
                      <a:pt x="6720" y="20999"/>
                      <a:pt x="0" y="14279"/>
                    </a:cubicBezTo>
                    <a:cubicBezTo>
                      <a:pt x="4200" y="10080"/>
                      <a:pt x="8820" y="5880"/>
                      <a:pt x="1511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51315198-C9DE-3755-F665-C8ECBC24FC7A}"/>
                  </a:ext>
                </a:extLst>
              </p:cNvPr>
              <p:cNvSpPr/>
              <p:nvPr/>
            </p:nvSpPr>
            <p:spPr>
              <a:xfrm>
                <a:off x="5438950" y="2152580"/>
                <a:ext cx="42410" cy="29380"/>
              </a:xfrm>
              <a:custGeom>
                <a:avLst/>
                <a:gdLst>
                  <a:gd name="connsiteX0" fmla="*/ 42410 w 42410"/>
                  <a:gd name="connsiteY0" fmla="*/ 6547 h 29380"/>
                  <a:gd name="connsiteX1" fmla="*/ 15951 w 42410"/>
                  <a:gd name="connsiteY1" fmla="*/ 29226 h 29380"/>
                  <a:gd name="connsiteX2" fmla="*/ 832 w 42410"/>
                  <a:gd name="connsiteY2" fmla="*/ 19146 h 29380"/>
                  <a:gd name="connsiteX3" fmla="*/ 18471 w 42410"/>
                  <a:gd name="connsiteY3" fmla="*/ 247 h 29380"/>
                  <a:gd name="connsiteX4" fmla="*/ 42410 w 42410"/>
                  <a:gd name="connsiteY4" fmla="*/ 6547 h 2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10" h="29380">
                    <a:moveTo>
                      <a:pt x="42410" y="6547"/>
                    </a:moveTo>
                    <a:cubicBezTo>
                      <a:pt x="30231" y="17467"/>
                      <a:pt x="23931" y="25446"/>
                      <a:pt x="15951" y="29226"/>
                    </a:cubicBezTo>
                    <a:cubicBezTo>
                      <a:pt x="13011" y="30486"/>
                      <a:pt x="2092" y="23766"/>
                      <a:pt x="832" y="19146"/>
                    </a:cubicBezTo>
                    <a:cubicBezTo>
                      <a:pt x="-3368" y="5287"/>
                      <a:pt x="9232" y="2347"/>
                      <a:pt x="18471" y="247"/>
                    </a:cubicBezTo>
                    <a:cubicBezTo>
                      <a:pt x="23511" y="-1013"/>
                      <a:pt x="29811" y="2767"/>
                      <a:pt x="42410" y="65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112B95C9-ED38-1ABE-555A-9A97C63CE683}"/>
                  </a:ext>
                </a:extLst>
              </p:cNvPr>
              <p:cNvSpPr/>
              <p:nvPr/>
            </p:nvSpPr>
            <p:spPr>
              <a:xfrm>
                <a:off x="5509450" y="2828158"/>
                <a:ext cx="28762" cy="42418"/>
              </a:xfrm>
              <a:custGeom>
                <a:avLst/>
                <a:gdLst>
                  <a:gd name="connsiteX0" fmla="*/ 17269 w 28762"/>
                  <a:gd name="connsiteY0" fmla="*/ 0 h 42418"/>
                  <a:gd name="connsiteX1" fmla="*/ 28608 w 28762"/>
                  <a:gd name="connsiteY1" fmla="*/ 18899 h 42418"/>
                  <a:gd name="connsiteX2" fmla="*/ 14749 w 28762"/>
                  <a:gd name="connsiteY2" fmla="*/ 42418 h 42418"/>
                  <a:gd name="connsiteX3" fmla="*/ 49 w 28762"/>
                  <a:gd name="connsiteY3" fmla="*/ 26459 h 42418"/>
                  <a:gd name="connsiteX4" fmla="*/ 17269 w 28762"/>
                  <a:gd name="connsiteY4" fmla="*/ 0 h 42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2" h="42418">
                    <a:moveTo>
                      <a:pt x="17269" y="0"/>
                    </a:moveTo>
                    <a:cubicBezTo>
                      <a:pt x="23148" y="9239"/>
                      <a:pt x="29868" y="15539"/>
                      <a:pt x="28608" y="18899"/>
                    </a:cubicBezTo>
                    <a:cubicBezTo>
                      <a:pt x="26088" y="27299"/>
                      <a:pt x="19369" y="34858"/>
                      <a:pt x="14749" y="42418"/>
                    </a:cubicBezTo>
                    <a:cubicBezTo>
                      <a:pt x="9289" y="36958"/>
                      <a:pt x="-791" y="30659"/>
                      <a:pt x="49" y="26459"/>
                    </a:cubicBezTo>
                    <a:cubicBezTo>
                      <a:pt x="1309" y="18479"/>
                      <a:pt x="8869" y="11759"/>
                      <a:pt x="1726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1F75E639-5F88-88DE-B124-935C6A00FCB5}"/>
                  </a:ext>
                </a:extLst>
              </p:cNvPr>
              <p:cNvSpPr/>
              <p:nvPr/>
            </p:nvSpPr>
            <p:spPr>
              <a:xfrm>
                <a:off x="5412421" y="1868670"/>
                <a:ext cx="30788" cy="41407"/>
              </a:xfrm>
              <a:custGeom>
                <a:avLst/>
                <a:gdLst>
                  <a:gd name="connsiteX0" fmla="*/ 8042 w 30788"/>
                  <a:gd name="connsiteY0" fmla="*/ 41407 h 41407"/>
                  <a:gd name="connsiteX1" fmla="*/ 482 w 30788"/>
                  <a:gd name="connsiteY1" fmla="*/ 32168 h 41407"/>
                  <a:gd name="connsiteX2" fmla="*/ 18541 w 30788"/>
                  <a:gd name="connsiteY2" fmla="*/ 249 h 41407"/>
                  <a:gd name="connsiteX3" fmla="*/ 30301 w 30788"/>
                  <a:gd name="connsiteY3" fmla="*/ 5709 h 41407"/>
                  <a:gd name="connsiteX4" fmla="*/ 8042 w 30788"/>
                  <a:gd name="connsiteY4" fmla="*/ 41407 h 41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88" h="41407">
                    <a:moveTo>
                      <a:pt x="8042" y="41407"/>
                    </a:moveTo>
                    <a:cubicBezTo>
                      <a:pt x="5942" y="38888"/>
                      <a:pt x="902" y="35948"/>
                      <a:pt x="482" y="32168"/>
                    </a:cubicBezTo>
                    <a:cubicBezTo>
                      <a:pt x="-2038" y="17048"/>
                      <a:pt x="5522" y="6129"/>
                      <a:pt x="18541" y="249"/>
                    </a:cubicBezTo>
                    <a:cubicBezTo>
                      <a:pt x="21481" y="-1011"/>
                      <a:pt x="29461" y="2769"/>
                      <a:pt x="30301" y="5709"/>
                    </a:cubicBezTo>
                    <a:cubicBezTo>
                      <a:pt x="33661" y="16628"/>
                      <a:pt x="18961" y="40147"/>
                      <a:pt x="8042" y="4140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5" name="Freihandform: Form 184">
                <a:extLst>
                  <a:ext uri="{FF2B5EF4-FFF2-40B4-BE49-F238E27FC236}">
                    <a16:creationId xmlns:a16="http://schemas.microsoft.com/office/drawing/2014/main" id="{E47ADF87-DB8C-1DF6-AAA3-329DAA592466}"/>
                  </a:ext>
                </a:extLst>
              </p:cNvPr>
              <p:cNvSpPr/>
              <p:nvPr/>
            </p:nvSpPr>
            <p:spPr>
              <a:xfrm>
                <a:off x="5771740" y="2015056"/>
                <a:ext cx="35525" cy="40265"/>
              </a:xfrm>
              <a:custGeom>
                <a:avLst/>
                <a:gdLst>
                  <a:gd name="connsiteX0" fmla="*/ 35526 w 35525"/>
                  <a:gd name="connsiteY0" fmla="*/ 7997 h 40265"/>
                  <a:gd name="connsiteX1" fmla="*/ 17047 w 35525"/>
                  <a:gd name="connsiteY1" fmla="*/ 37815 h 40265"/>
                  <a:gd name="connsiteX2" fmla="*/ 3607 w 35525"/>
                  <a:gd name="connsiteY2" fmla="*/ 39075 h 40265"/>
                  <a:gd name="connsiteX3" fmla="*/ 667 w 35525"/>
                  <a:gd name="connsiteY3" fmla="*/ 26476 h 40265"/>
                  <a:gd name="connsiteX4" fmla="*/ 24606 w 35525"/>
                  <a:gd name="connsiteY4" fmla="*/ 437 h 40265"/>
                  <a:gd name="connsiteX5" fmla="*/ 29646 w 35525"/>
                  <a:gd name="connsiteY5" fmla="*/ 1277 h 40265"/>
                  <a:gd name="connsiteX6" fmla="*/ 35526 w 35525"/>
                  <a:gd name="connsiteY6" fmla="*/ 7997 h 4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525" h="40265">
                    <a:moveTo>
                      <a:pt x="35526" y="7997"/>
                    </a:moveTo>
                    <a:cubicBezTo>
                      <a:pt x="29646" y="18076"/>
                      <a:pt x="24186" y="28576"/>
                      <a:pt x="17047" y="37815"/>
                    </a:cubicBezTo>
                    <a:cubicBezTo>
                      <a:pt x="14947" y="40335"/>
                      <a:pt x="6547" y="41175"/>
                      <a:pt x="3607" y="39075"/>
                    </a:cubicBezTo>
                    <a:cubicBezTo>
                      <a:pt x="667" y="37395"/>
                      <a:pt x="-1013" y="28576"/>
                      <a:pt x="667" y="26476"/>
                    </a:cubicBezTo>
                    <a:cubicBezTo>
                      <a:pt x="7807" y="17236"/>
                      <a:pt x="16207" y="8837"/>
                      <a:pt x="24606" y="437"/>
                    </a:cubicBezTo>
                    <a:cubicBezTo>
                      <a:pt x="25446" y="-403"/>
                      <a:pt x="28386" y="17"/>
                      <a:pt x="29646" y="1277"/>
                    </a:cubicBezTo>
                    <a:cubicBezTo>
                      <a:pt x="31326" y="2957"/>
                      <a:pt x="33006" y="5477"/>
                      <a:pt x="35526" y="799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FE4599CE-22F9-F8FA-9EF3-FD8E4D443FE0}"/>
                  </a:ext>
                </a:extLst>
              </p:cNvPr>
              <p:cNvSpPr/>
              <p:nvPr/>
            </p:nvSpPr>
            <p:spPr>
              <a:xfrm>
                <a:off x="5979879" y="3106030"/>
                <a:ext cx="36538" cy="28860"/>
              </a:xfrm>
              <a:custGeom>
                <a:avLst/>
                <a:gdLst>
                  <a:gd name="connsiteX0" fmla="*/ 36538 w 36538"/>
                  <a:gd name="connsiteY0" fmla="*/ 16955 h 28860"/>
                  <a:gd name="connsiteX1" fmla="*/ 18899 w 36538"/>
                  <a:gd name="connsiteY1" fmla="*/ 28715 h 28860"/>
                  <a:gd name="connsiteX2" fmla="*/ 0 w 36538"/>
                  <a:gd name="connsiteY2" fmla="*/ 8555 h 28860"/>
                  <a:gd name="connsiteX3" fmla="*/ 15959 w 36538"/>
                  <a:gd name="connsiteY3" fmla="*/ 156 h 28860"/>
                  <a:gd name="connsiteX4" fmla="*/ 36538 w 36538"/>
                  <a:gd name="connsiteY4" fmla="*/ 16955 h 2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38" h="28860">
                    <a:moveTo>
                      <a:pt x="36538" y="16955"/>
                    </a:moveTo>
                    <a:cubicBezTo>
                      <a:pt x="27719" y="22835"/>
                      <a:pt x="20159" y="29974"/>
                      <a:pt x="18899" y="28715"/>
                    </a:cubicBezTo>
                    <a:cubicBezTo>
                      <a:pt x="11759" y="23255"/>
                      <a:pt x="6300" y="15275"/>
                      <a:pt x="0" y="8555"/>
                    </a:cubicBezTo>
                    <a:cubicBezTo>
                      <a:pt x="5460" y="5616"/>
                      <a:pt x="11759" y="-1104"/>
                      <a:pt x="15959" y="156"/>
                    </a:cubicBezTo>
                    <a:cubicBezTo>
                      <a:pt x="22259" y="1836"/>
                      <a:pt x="27299" y="8975"/>
                      <a:pt x="36538" y="169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5A653963-FBA6-9956-FBF4-21D190A9EEAF}"/>
                  </a:ext>
                </a:extLst>
              </p:cNvPr>
              <p:cNvSpPr/>
              <p:nvPr/>
            </p:nvSpPr>
            <p:spPr>
              <a:xfrm>
                <a:off x="5822806" y="2636226"/>
                <a:ext cx="28575" cy="41158"/>
              </a:xfrm>
              <a:custGeom>
                <a:avLst/>
                <a:gdLst>
                  <a:gd name="connsiteX0" fmla="*/ 15959 w 28575"/>
                  <a:gd name="connsiteY0" fmla="*/ 41158 h 41158"/>
                  <a:gd name="connsiteX1" fmla="*/ 0 w 28575"/>
                  <a:gd name="connsiteY1" fmla="*/ 19319 h 41158"/>
                  <a:gd name="connsiteX2" fmla="*/ 13019 w 28575"/>
                  <a:gd name="connsiteY2" fmla="*/ 0 h 41158"/>
                  <a:gd name="connsiteX3" fmla="*/ 28559 w 28575"/>
                  <a:gd name="connsiteY3" fmla="*/ 16379 h 41158"/>
                  <a:gd name="connsiteX4" fmla="*/ 15959 w 28575"/>
                  <a:gd name="connsiteY4" fmla="*/ 41158 h 41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41158">
                    <a:moveTo>
                      <a:pt x="15959" y="41158"/>
                    </a:moveTo>
                    <a:cubicBezTo>
                      <a:pt x="8400" y="31499"/>
                      <a:pt x="0" y="25619"/>
                      <a:pt x="0" y="19319"/>
                    </a:cubicBezTo>
                    <a:cubicBezTo>
                      <a:pt x="0" y="13019"/>
                      <a:pt x="8400" y="6720"/>
                      <a:pt x="13019" y="0"/>
                    </a:cubicBezTo>
                    <a:cubicBezTo>
                      <a:pt x="18479" y="5460"/>
                      <a:pt x="27719" y="10500"/>
                      <a:pt x="28559" y="16379"/>
                    </a:cubicBezTo>
                    <a:cubicBezTo>
                      <a:pt x="28979" y="23099"/>
                      <a:pt x="21419" y="30659"/>
                      <a:pt x="15959" y="411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94FAF9CA-9A55-9CF9-4370-9C39427B6620}"/>
                  </a:ext>
                </a:extLst>
              </p:cNvPr>
              <p:cNvSpPr/>
              <p:nvPr/>
            </p:nvSpPr>
            <p:spPr>
              <a:xfrm>
                <a:off x="6104541" y="2616907"/>
                <a:ext cx="29066" cy="35278"/>
              </a:xfrm>
              <a:custGeom>
                <a:avLst/>
                <a:gdLst>
                  <a:gd name="connsiteX0" fmla="*/ 14771 w 29066"/>
                  <a:gd name="connsiteY0" fmla="*/ 0 h 35278"/>
                  <a:gd name="connsiteX1" fmla="*/ 29051 w 29066"/>
                  <a:gd name="connsiteY1" fmla="*/ 16799 h 35278"/>
                  <a:gd name="connsiteX2" fmla="*/ 9312 w 29066"/>
                  <a:gd name="connsiteY2" fmla="*/ 35279 h 35278"/>
                  <a:gd name="connsiteX3" fmla="*/ 72 w 29066"/>
                  <a:gd name="connsiteY3" fmla="*/ 19739 h 35278"/>
                  <a:gd name="connsiteX4" fmla="*/ 14771 w 29066"/>
                  <a:gd name="connsiteY4" fmla="*/ 0 h 35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66" h="35278">
                    <a:moveTo>
                      <a:pt x="14771" y="0"/>
                    </a:moveTo>
                    <a:cubicBezTo>
                      <a:pt x="21491" y="7980"/>
                      <a:pt x="29471" y="15960"/>
                      <a:pt x="29051" y="16799"/>
                    </a:cubicBezTo>
                    <a:cubicBezTo>
                      <a:pt x="23171" y="23939"/>
                      <a:pt x="16031" y="29399"/>
                      <a:pt x="9312" y="35279"/>
                    </a:cubicBezTo>
                    <a:cubicBezTo>
                      <a:pt x="5952" y="30239"/>
                      <a:pt x="-768" y="23939"/>
                      <a:pt x="72" y="19739"/>
                    </a:cubicBezTo>
                    <a:cubicBezTo>
                      <a:pt x="1332" y="13439"/>
                      <a:pt x="8052" y="8400"/>
                      <a:pt x="1477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447CBD62-AD84-EA17-0A04-B18DB3F4BD97}"/>
                  </a:ext>
                </a:extLst>
              </p:cNvPr>
              <p:cNvSpPr/>
              <p:nvPr/>
            </p:nvSpPr>
            <p:spPr>
              <a:xfrm>
                <a:off x="5767368" y="2121328"/>
                <a:ext cx="23639" cy="39898"/>
              </a:xfrm>
              <a:custGeom>
                <a:avLst/>
                <a:gdLst>
                  <a:gd name="connsiteX0" fmla="*/ 0 w 23639"/>
                  <a:gd name="connsiteY0" fmla="*/ 11759 h 39898"/>
                  <a:gd name="connsiteX1" fmla="*/ 9660 w 23639"/>
                  <a:gd name="connsiteY1" fmla="*/ 0 h 39898"/>
                  <a:gd name="connsiteX2" fmla="*/ 21839 w 23639"/>
                  <a:gd name="connsiteY2" fmla="*/ 12179 h 39898"/>
                  <a:gd name="connsiteX3" fmla="*/ 22259 w 23639"/>
                  <a:gd name="connsiteY3" fmla="*/ 26879 h 39898"/>
                  <a:gd name="connsiteX4" fmla="*/ 10919 w 23639"/>
                  <a:gd name="connsiteY4" fmla="*/ 39898 h 39898"/>
                  <a:gd name="connsiteX5" fmla="*/ 1680 w 23639"/>
                  <a:gd name="connsiteY5" fmla="*/ 30239 h 39898"/>
                  <a:gd name="connsiteX6" fmla="*/ 0 w 23639"/>
                  <a:gd name="connsiteY6" fmla="*/ 11759 h 3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39" h="39898">
                    <a:moveTo>
                      <a:pt x="0" y="11759"/>
                    </a:moveTo>
                    <a:cubicBezTo>
                      <a:pt x="2100" y="8820"/>
                      <a:pt x="5880" y="4620"/>
                      <a:pt x="9660" y="0"/>
                    </a:cubicBezTo>
                    <a:cubicBezTo>
                      <a:pt x="13859" y="4200"/>
                      <a:pt x="19319" y="7140"/>
                      <a:pt x="21839" y="12179"/>
                    </a:cubicBezTo>
                    <a:cubicBezTo>
                      <a:pt x="23939" y="16379"/>
                      <a:pt x="24359" y="22679"/>
                      <a:pt x="22259" y="26879"/>
                    </a:cubicBezTo>
                    <a:cubicBezTo>
                      <a:pt x="20159" y="31919"/>
                      <a:pt x="15119" y="35698"/>
                      <a:pt x="10919" y="39898"/>
                    </a:cubicBezTo>
                    <a:cubicBezTo>
                      <a:pt x="7560" y="36958"/>
                      <a:pt x="3360" y="34019"/>
                      <a:pt x="1680" y="30239"/>
                    </a:cubicBezTo>
                    <a:cubicBezTo>
                      <a:pt x="0" y="25619"/>
                      <a:pt x="840" y="20159"/>
                      <a:pt x="0" y="117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1794A793-E97A-6CE9-4BE3-43EC99D618DF}"/>
                  </a:ext>
                </a:extLst>
              </p:cNvPr>
              <p:cNvSpPr/>
              <p:nvPr/>
            </p:nvSpPr>
            <p:spPr>
              <a:xfrm>
                <a:off x="5947893" y="2603048"/>
                <a:ext cx="29114" cy="36118"/>
              </a:xfrm>
              <a:custGeom>
                <a:avLst/>
                <a:gdLst>
                  <a:gd name="connsiteX0" fmla="*/ 12247 w 29114"/>
                  <a:gd name="connsiteY0" fmla="*/ 36119 h 36118"/>
                  <a:gd name="connsiteX1" fmla="*/ 68 w 29114"/>
                  <a:gd name="connsiteY1" fmla="*/ 19319 h 36118"/>
                  <a:gd name="connsiteX2" fmla="*/ 19387 w 29114"/>
                  <a:gd name="connsiteY2" fmla="*/ 0 h 36118"/>
                  <a:gd name="connsiteX3" fmla="*/ 29046 w 29114"/>
                  <a:gd name="connsiteY3" fmla="*/ 18479 h 36118"/>
                  <a:gd name="connsiteX4" fmla="*/ 12247 w 29114"/>
                  <a:gd name="connsiteY4" fmla="*/ 36119 h 3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14" h="36118">
                    <a:moveTo>
                      <a:pt x="12247" y="36119"/>
                    </a:moveTo>
                    <a:cubicBezTo>
                      <a:pt x="6367" y="28139"/>
                      <a:pt x="-772" y="20579"/>
                      <a:pt x="68" y="19319"/>
                    </a:cubicBezTo>
                    <a:cubicBezTo>
                      <a:pt x="5527" y="12180"/>
                      <a:pt x="12667" y="6300"/>
                      <a:pt x="19387" y="0"/>
                    </a:cubicBezTo>
                    <a:cubicBezTo>
                      <a:pt x="22747" y="6300"/>
                      <a:pt x="29886" y="13020"/>
                      <a:pt x="29046" y="18479"/>
                    </a:cubicBezTo>
                    <a:cubicBezTo>
                      <a:pt x="28626" y="23939"/>
                      <a:pt x="20227" y="28559"/>
                      <a:pt x="12247" y="361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1" name="Freihandform: Form 190">
                <a:extLst>
                  <a:ext uri="{FF2B5EF4-FFF2-40B4-BE49-F238E27FC236}">
                    <a16:creationId xmlns:a16="http://schemas.microsoft.com/office/drawing/2014/main" id="{587CB986-66BB-2651-D6DE-38D7FA09AAAB}"/>
                  </a:ext>
                </a:extLst>
              </p:cNvPr>
              <p:cNvSpPr/>
              <p:nvPr/>
            </p:nvSpPr>
            <p:spPr>
              <a:xfrm>
                <a:off x="5737063" y="2833220"/>
                <a:ext cx="26801" cy="44075"/>
              </a:xfrm>
              <a:custGeom>
                <a:avLst/>
                <a:gdLst>
                  <a:gd name="connsiteX0" fmla="*/ 2586 w 26801"/>
                  <a:gd name="connsiteY0" fmla="*/ 44075 h 44075"/>
                  <a:gd name="connsiteX1" fmla="*/ 66 w 26801"/>
                  <a:gd name="connsiteY1" fmla="*/ 13837 h 44075"/>
                  <a:gd name="connsiteX2" fmla="*/ 16865 w 26801"/>
                  <a:gd name="connsiteY2" fmla="*/ 1657 h 44075"/>
                  <a:gd name="connsiteX3" fmla="*/ 26525 w 26801"/>
                  <a:gd name="connsiteY3" fmla="*/ 16357 h 44075"/>
                  <a:gd name="connsiteX4" fmla="*/ 2586 w 26801"/>
                  <a:gd name="connsiteY4" fmla="*/ 44075 h 44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801" h="44075">
                    <a:moveTo>
                      <a:pt x="2586" y="44075"/>
                    </a:moveTo>
                    <a:cubicBezTo>
                      <a:pt x="1326" y="30216"/>
                      <a:pt x="-354" y="21816"/>
                      <a:pt x="66" y="13837"/>
                    </a:cubicBezTo>
                    <a:cubicBezTo>
                      <a:pt x="486" y="3757"/>
                      <a:pt x="6365" y="-3382"/>
                      <a:pt x="16865" y="1657"/>
                    </a:cubicBezTo>
                    <a:cubicBezTo>
                      <a:pt x="21905" y="4177"/>
                      <a:pt x="28205" y="14257"/>
                      <a:pt x="26525" y="16357"/>
                    </a:cubicBezTo>
                    <a:cubicBezTo>
                      <a:pt x="21905" y="25596"/>
                      <a:pt x="13925" y="32316"/>
                      <a:pt x="2586" y="4407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C7271362-2482-8E0A-DAC6-D0ABFE88095C}"/>
                  </a:ext>
                </a:extLst>
              </p:cNvPr>
              <p:cNvSpPr/>
              <p:nvPr/>
            </p:nvSpPr>
            <p:spPr>
              <a:xfrm>
                <a:off x="6083574" y="2923074"/>
                <a:ext cx="29453" cy="34872"/>
              </a:xfrm>
              <a:custGeom>
                <a:avLst/>
                <a:gdLst>
                  <a:gd name="connsiteX0" fmla="*/ 10960 w 29453"/>
                  <a:gd name="connsiteY0" fmla="*/ 0 h 34872"/>
                  <a:gd name="connsiteX1" fmla="*/ 29439 w 29453"/>
                  <a:gd name="connsiteY1" fmla="*/ 24779 h 34872"/>
                  <a:gd name="connsiteX2" fmla="*/ 16420 w 29453"/>
                  <a:gd name="connsiteY2" fmla="*/ 34858 h 34872"/>
                  <a:gd name="connsiteX3" fmla="*/ 461 w 29453"/>
                  <a:gd name="connsiteY3" fmla="*/ 14279 h 34872"/>
                  <a:gd name="connsiteX4" fmla="*/ 10960 w 29453"/>
                  <a:gd name="connsiteY4" fmla="*/ 0 h 34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53" h="34872">
                    <a:moveTo>
                      <a:pt x="10960" y="0"/>
                    </a:moveTo>
                    <a:cubicBezTo>
                      <a:pt x="18520" y="9660"/>
                      <a:pt x="24820" y="16799"/>
                      <a:pt x="29439" y="24779"/>
                    </a:cubicBezTo>
                    <a:cubicBezTo>
                      <a:pt x="29859" y="25619"/>
                      <a:pt x="21040" y="34858"/>
                      <a:pt x="16420" y="34858"/>
                    </a:cubicBezTo>
                    <a:cubicBezTo>
                      <a:pt x="3400" y="35279"/>
                      <a:pt x="-1639" y="26459"/>
                      <a:pt x="461" y="14279"/>
                    </a:cubicBezTo>
                    <a:cubicBezTo>
                      <a:pt x="881" y="10080"/>
                      <a:pt x="5500" y="7140"/>
                      <a:pt x="10960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D042C7A9-1F0F-4726-4968-805A6656AE4D}"/>
                  </a:ext>
                </a:extLst>
              </p:cNvPr>
              <p:cNvSpPr/>
              <p:nvPr/>
            </p:nvSpPr>
            <p:spPr>
              <a:xfrm>
                <a:off x="5603155" y="2955832"/>
                <a:ext cx="27316" cy="41998"/>
              </a:xfrm>
              <a:custGeom>
                <a:avLst/>
                <a:gdLst>
                  <a:gd name="connsiteX0" fmla="*/ 14279 w 27316"/>
                  <a:gd name="connsiteY0" fmla="*/ 0 h 41998"/>
                  <a:gd name="connsiteX1" fmla="*/ 27299 w 27316"/>
                  <a:gd name="connsiteY1" fmla="*/ 23519 h 41998"/>
                  <a:gd name="connsiteX2" fmla="*/ 13439 w 27316"/>
                  <a:gd name="connsiteY2" fmla="*/ 41998 h 41998"/>
                  <a:gd name="connsiteX3" fmla="*/ 0 w 27316"/>
                  <a:gd name="connsiteY3" fmla="*/ 23099 h 41998"/>
                  <a:gd name="connsiteX4" fmla="*/ 14279 w 27316"/>
                  <a:gd name="connsiteY4" fmla="*/ 0 h 41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16" h="41998">
                    <a:moveTo>
                      <a:pt x="14279" y="0"/>
                    </a:moveTo>
                    <a:cubicBezTo>
                      <a:pt x="20579" y="10080"/>
                      <a:pt x="27719" y="17219"/>
                      <a:pt x="27299" y="23519"/>
                    </a:cubicBezTo>
                    <a:cubicBezTo>
                      <a:pt x="26879" y="29819"/>
                      <a:pt x="18479" y="35698"/>
                      <a:pt x="13439" y="41998"/>
                    </a:cubicBezTo>
                    <a:cubicBezTo>
                      <a:pt x="8820" y="35698"/>
                      <a:pt x="420" y="29819"/>
                      <a:pt x="0" y="23099"/>
                    </a:cubicBezTo>
                    <a:cubicBezTo>
                      <a:pt x="0" y="16799"/>
                      <a:pt x="7560" y="10080"/>
                      <a:pt x="1427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4" name="Freihandform: Form 193">
                <a:extLst>
                  <a:ext uri="{FF2B5EF4-FFF2-40B4-BE49-F238E27FC236}">
                    <a16:creationId xmlns:a16="http://schemas.microsoft.com/office/drawing/2014/main" id="{C17030DD-E8BB-449A-F7A3-F0794AC96772}"/>
                  </a:ext>
                </a:extLst>
              </p:cNvPr>
              <p:cNvSpPr/>
              <p:nvPr/>
            </p:nvSpPr>
            <p:spPr>
              <a:xfrm>
                <a:off x="5832318" y="3022610"/>
                <a:ext cx="35845" cy="29570"/>
              </a:xfrm>
              <a:custGeom>
                <a:avLst/>
                <a:gdLst>
                  <a:gd name="connsiteX0" fmla="*/ 35846 w 35845"/>
                  <a:gd name="connsiteY0" fmla="*/ 18899 h 29570"/>
                  <a:gd name="connsiteX1" fmla="*/ 15267 w 35845"/>
                  <a:gd name="connsiteY1" fmla="*/ 29399 h 29570"/>
                  <a:gd name="connsiteX2" fmla="*/ 147 w 35845"/>
                  <a:gd name="connsiteY2" fmla="*/ 14699 h 29570"/>
                  <a:gd name="connsiteX3" fmla="*/ 9387 w 35845"/>
                  <a:gd name="connsiteY3" fmla="*/ 0 h 29570"/>
                  <a:gd name="connsiteX4" fmla="*/ 35846 w 35845"/>
                  <a:gd name="connsiteY4" fmla="*/ 18899 h 2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45" h="29570">
                    <a:moveTo>
                      <a:pt x="35846" y="18899"/>
                    </a:moveTo>
                    <a:cubicBezTo>
                      <a:pt x="25346" y="24779"/>
                      <a:pt x="19047" y="30659"/>
                      <a:pt x="15267" y="29399"/>
                    </a:cubicBezTo>
                    <a:cubicBezTo>
                      <a:pt x="8967" y="27299"/>
                      <a:pt x="2667" y="20999"/>
                      <a:pt x="147" y="14699"/>
                    </a:cubicBezTo>
                    <a:cubicBezTo>
                      <a:pt x="-1113" y="11340"/>
                      <a:pt x="6027" y="5040"/>
                      <a:pt x="9387" y="0"/>
                    </a:cubicBezTo>
                    <a:cubicBezTo>
                      <a:pt x="16526" y="5040"/>
                      <a:pt x="24086" y="10500"/>
                      <a:pt x="35846" y="188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5" name="Freihandform: Form 194">
                <a:extLst>
                  <a:ext uri="{FF2B5EF4-FFF2-40B4-BE49-F238E27FC236}">
                    <a16:creationId xmlns:a16="http://schemas.microsoft.com/office/drawing/2014/main" id="{5E7F86C1-499A-7035-E07D-A81AC3970FF4}"/>
                  </a:ext>
                </a:extLst>
              </p:cNvPr>
              <p:cNvSpPr/>
              <p:nvPr/>
            </p:nvSpPr>
            <p:spPr>
              <a:xfrm>
                <a:off x="6357022" y="2466256"/>
                <a:ext cx="35698" cy="29868"/>
              </a:xfrm>
              <a:custGeom>
                <a:avLst/>
                <a:gdLst>
                  <a:gd name="connsiteX0" fmla="*/ 35698 w 35698"/>
                  <a:gd name="connsiteY0" fmla="*/ 20036 h 29868"/>
                  <a:gd name="connsiteX1" fmla="*/ 16799 w 35698"/>
                  <a:gd name="connsiteY1" fmla="*/ 29696 h 29868"/>
                  <a:gd name="connsiteX2" fmla="*/ 0 w 35698"/>
                  <a:gd name="connsiteY2" fmla="*/ 7017 h 29868"/>
                  <a:gd name="connsiteX3" fmla="*/ 17219 w 35698"/>
                  <a:gd name="connsiteY3" fmla="*/ 297 h 29868"/>
                  <a:gd name="connsiteX4" fmla="*/ 35698 w 35698"/>
                  <a:gd name="connsiteY4" fmla="*/ 20036 h 29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8" h="29868">
                    <a:moveTo>
                      <a:pt x="35698" y="20036"/>
                    </a:moveTo>
                    <a:cubicBezTo>
                      <a:pt x="26459" y="25076"/>
                      <a:pt x="18059" y="30956"/>
                      <a:pt x="16799" y="29696"/>
                    </a:cubicBezTo>
                    <a:cubicBezTo>
                      <a:pt x="10080" y="22976"/>
                      <a:pt x="5460" y="14577"/>
                      <a:pt x="0" y="7017"/>
                    </a:cubicBezTo>
                    <a:cubicBezTo>
                      <a:pt x="5880" y="4497"/>
                      <a:pt x="13020" y="-1383"/>
                      <a:pt x="17219" y="297"/>
                    </a:cubicBezTo>
                    <a:cubicBezTo>
                      <a:pt x="23519" y="3237"/>
                      <a:pt x="27719" y="10797"/>
                      <a:pt x="35698" y="2003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468FF226-4F15-178A-D34E-E8531C524988}"/>
                  </a:ext>
                </a:extLst>
              </p:cNvPr>
              <p:cNvSpPr/>
              <p:nvPr/>
            </p:nvSpPr>
            <p:spPr>
              <a:xfrm>
                <a:off x="5980299" y="2225329"/>
                <a:ext cx="34438" cy="29621"/>
              </a:xfrm>
              <a:custGeom>
                <a:avLst/>
                <a:gdLst>
                  <a:gd name="connsiteX0" fmla="*/ 34438 w 34438"/>
                  <a:gd name="connsiteY0" fmla="*/ 17375 h 29621"/>
                  <a:gd name="connsiteX1" fmla="*/ 18059 w 34438"/>
                  <a:gd name="connsiteY1" fmla="*/ 29554 h 29621"/>
                  <a:gd name="connsiteX2" fmla="*/ 0 w 34438"/>
                  <a:gd name="connsiteY2" fmla="*/ 8975 h 29621"/>
                  <a:gd name="connsiteX3" fmla="*/ 15119 w 34438"/>
                  <a:gd name="connsiteY3" fmla="*/ 155 h 29621"/>
                  <a:gd name="connsiteX4" fmla="*/ 34438 w 34438"/>
                  <a:gd name="connsiteY4" fmla="*/ 17375 h 29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38" h="29621">
                    <a:moveTo>
                      <a:pt x="34438" y="17375"/>
                    </a:moveTo>
                    <a:cubicBezTo>
                      <a:pt x="26459" y="23254"/>
                      <a:pt x="18899" y="30394"/>
                      <a:pt x="18059" y="29554"/>
                    </a:cubicBezTo>
                    <a:cubicBezTo>
                      <a:pt x="11339" y="23674"/>
                      <a:pt x="5880" y="16115"/>
                      <a:pt x="0" y="8975"/>
                    </a:cubicBezTo>
                    <a:cubicBezTo>
                      <a:pt x="5040" y="5615"/>
                      <a:pt x="11339" y="-1105"/>
                      <a:pt x="15119" y="155"/>
                    </a:cubicBezTo>
                    <a:cubicBezTo>
                      <a:pt x="21839" y="2255"/>
                      <a:pt x="26459" y="9395"/>
                      <a:pt x="34438" y="1737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7" name="Freihandform: Form 196">
                <a:extLst>
                  <a:ext uri="{FF2B5EF4-FFF2-40B4-BE49-F238E27FC236}">
                    <a16:creationId xmlns:a16="http://schemas.microsoft.com/office/drawing/2014/main" id="{AB9721B5-003D-B775-03CC-7DA630DB6854}"/>
                  </a:ext>
                </a:extLst>
              </p:cNvPr>
              <p:cNvSpPr/>
              <p:nvPr/>
            </p:nvSpPr>
            <p:spPr>
              <a:xfrm>
                <a:off x="6241948" y="2247258"/>
                <a:ext cx="35698" cy="29111"/>
              </a:xfrm>
              <a:custGeom>
                <a:avLst/>
                <a:gdLst>
                  <a:gd name="connsiteX0" fmla="*/ 35698 w 35698"/>
                  <a:gd name="connsiteY0" fmla="*/ 16864 h 29111"/>
                  <a:gd name="connsiteX1" fmla="*/ 19739 w 35698"/>
                  <a:gd name="connsiteY1" fmla="*/ 29043 h 29111"/>
                  <a:gd name="connsiteX2" fmla="*/ 0 w 35698"/>
                  <a:gd name="connsiteY2" fmla="*/ 10564 h 29111"/>
                  <a:gd name="connsiteX3" fmla="*/ 18479 w 35698"/>
                  <a:gd name="connsiteY3" fmla="*/ 65 h 29111"/>
                  <a:gd name="connsiteX4" fmla="*/ 35698 w 35698"/>
                  <a:gd name="connsiteY4" fmla="*/ 16864 h 2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8" h="29111">
                    <a:moveTo>
                      <a:pt x="35698" y="16864"/>
                    </a:moveTo>
                    <a:cubicBezTo>
                      <a:pt x="28139" y="22744"/>
                      <a:pt x="20999" y="29883"/>
                      <a:pt x="19739" y="29043"/>
                    </a:cubicBezTo>
                    <a:cubicBezTo>
                      <a:pt x="12179" y="24004"/>
                      <a:pt x="6300" y="16864"/>
                      <a:pt x="0" y="10564"/>
                    </a:cubicBezTo>
                    <a:cubicBezTo>
                      <a:pt x="6300" y="6784"/>
                      <a:pt x="12599" y="-775"/>
                      <a:pt x="18479" y="65"/>
                    </a:cubicBezTo>
                    <a:cubicBezTo>
                      <a:pt x="23519" y="65"/>
                      <a:pt x="28139" y="8884"/>
                      <a:pt x="35698" y="168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8" name="Freihandform: Form 197">
                <a:extLst>
                  <a:ext uri="{FF2B5EF4-FFF2-40B4-BE49-F238E27FC236}">
                    <a16:creationId xmlns:a16="http://schemas.microsoft.com/office/drawing/2014/main" id="{47DE142B-48CC-83A2-7B6E-0F974D48466F}"/>
                  </a:ext>
                </a:extLst>
              </p:cNvPr>
              <p:cNvSpPr/>
              <p:nvPr/>
            </p:nvSpPr>
            <p:spPr>
              <a:xfrm>
                <a:off x="6052956" y="2287577"/>
                <a:ext cx="35278" cy="29883"/>
              </a:xfrm>
              <a:custGeom>
                <a:avLst/>
                <a:gdLst>
                  <a:gd name="connsiteX0" fmla="*/ 35278 w 35278"/>
                  <a:gd name="connsiteY0" fmla="*/ 13504 h 29883"/>
                  <a:gd name="connsiteX1" fmla="*/ 19319 w 35278"/>
                  <a:gd name="connsiteY1" fmla="*/ 29883 h 29883"/>
                  <a:gd name="connsiteX2" fmla="*/ 0 w 35278"/>
                  <a:gd name="connsiteY2" fmla="*/ 10564 h 29883"/>
                  <a:gd name="connsiteX3" fmla="*/ 14279 w 35278"/>
                  <a:gd name="connsiteY3" fmla="*/ 65 h 29883"/>
                  <a:gd name="connsiteX4" fmla="*/ 35278 w 35278"/>
                  <a:gd name="connsiteY4" fmla="*/ 13504 h 2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78" h="29883">
                    <a:moveTo>
                      <a:pt x="35278" y="13504"/>
                    </a:moveTo>
                    <a:cubicBezTo>
                      <a:pt x="28139" y="21064"/>
                      <a:pt x="23519" y="25264"/>
                      <a:pt x="19319" y="29883"/>
                    </a:cubicBezTo>
                    <a:cubicBezTo>
                      <a:pt x="13019" y="23584"/>
                      <a:pt x="6720" y="17284"/>
                      <a:pt x="0" y="10564"/>
                    </a:cubicBezTo>
                    <a:cubicBezTo>
                      <a:pt x="4620" y="6784"/>
                      <a:pt x="10079" y="-775"/>
                      <a:pt x="14279" y="65"/>
                    </a:cubicBezTo>
                    <a:cubicBezTo>
                      <a:pt x="20999" y="905"/>
                      <a:pt x="26459" y="7624"/>
                      <a:pt x="35278" y="1350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9" name="Freihandform: Form 198">
                <a:extLst>
                  <a:ext uri="{FF2B5EF4-FFF2-40B4-BE49-F238E27FC236}">
                    <a16:creationId xmlns:a16="http://schemas.microsoft.com/office/drawing/2014/main" id="{930E9F23-04B2-C1CB-B0E5-D496490D490A}"/>
                  </a:ext>
                </a:extLst>
              </p:cNvPr>
              <p:cNvSpPr/>
              <p:nvPr/>
            </p:nvSpPr>
            <p:spPr>
              <a:xfrm>
                <a:off x="6052116" y="3084708"/>
                <a:ext cx="37798" cy="29524"/>
              </a:xfrm>
              <a:custGeom>
                <a:avLst/>
                <a:gdLst>
                  <a:gd name="connsiteX0" fmla="*/ 37798 w 37798"/>
                  <a:gd name="connsiteY0" fmla="*/ 16018 h 29524"/>
                  <a:gd name="connsiteX1" fmla="*/ 20579 w 37798"/>
                  <a:gd name="connsiteY1" fmla="*/ 29457 h 29524"/>
                  <a:gd name="connsiteX2" fmla="*/ 0 w 37798"/>
                  <a:gd name="connsiteY2" fmla="*/ 11398 h 29524"/>
                  <a:gd name="connsiteX3" fmla="*/ 11759 w 37798"/>
                  <a:gd name="connsiteY3" fmla="*/ 59 h 29524"/>
                  <a:gd name="connsiteX4" fmla="*/ 37798 w 37798"/>
                  <a:gd name="connsiteY4" fmla="*/ 16018 h 29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798" h="29524">
                    <a:moveTo>
                      <a:pt x="37798" y="16018"/>
                    </a:moveTo>
                    <a:cubicBezTo>
                      <a:pt x="28979" y="23158"/>
                      <a:pt x="22259" y="30297"/>
                      <a:pt x="20579" y="29457"/>
                    </a:cubicBezTo>
                    <a:cubicBezTo>
                      <a:pt x="13019" y="24838"/>
                      <a:pt x="6720" y="17698"/>
                      <a:pt x="0" y="11398"/>
                    </a:cubicBezTo>
                    <a:cubicBezTo>
                      <a:pt x="4200" y="7618"/>
                      <a:pt x="9240" y="-781"/>
                      <a:pt x="11759" y="59"/>
                    </a:cubicBezTo>
                    <a:cubicBezTo>
                      <a:pt x="19739" y="2578"/>
                      <a:pt x="26459" y="8458"/>
                      <a:pt x="37798" y="160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0" name="Freihandform: Form 199">
                <a:extLst>
                  <a:ext uri="{FF2B5EF4-FFF2-40B4-BE49-F238E27FC236}">
                    <a16:creationId xmlns:a16="http://schemas.microsoft.com/office/drawing/2014/main" id="{00DC8FBE-BD7C-B6D8-500B-B5F17A52E5E5}"/>
                  </a:ext>
                </a:extLst>
              </p:cNvPr>
              <p:cNvSpPr/>
              <p:nvPr/>
            </p:nvSpPr>
            <p:spPr>
              <a:xfrm>
                <a:off x="5487645" y="2333839"/>
                <a:ext cx="29851" cy="38220"/>
              </a:xfrm>
              <a:custGeom>
                <a:avLst/>
                <a:gdLst>
                  <a:gd name="connsiteX0" fmla="*/ 22274 w 29851"/>
                  <a:gd name="connsiteY0" fmla="*/ 0 h 38220"/>
                  <a:gd name="connsiteX1" fmla="*/ 29834 w 29851"/>
                  <a:gd name="connsiteY1" fmla="*/ 23519 h 38220"/>
                  <a:gd name="connsiteX2" fmla="*/ 13455 w 29851"/>
                  <a:gd name="connsiteY2" fmla="*/ 37798 h 38220"/>
                  <a:gd name="connsiteX3" fmla="*/ 15 w 29851"/>
                  <a:gd name="connsiteY3" fmla="*/ 26039 h 38220"/>
                  <a:gd name="connsiteX4" fmla="*/ 22274 w 29851"/>
                  <a:gd name="connsiteY4" fmla="*/ 0 h 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" h="38220">
                    <a:moveTo>
                      <a:pt x="22274" y="0"/>
                    </a:moveTo>
                    <a:cubicBezTo>
                      <a:pt x="26474" y="12179"/>
                      <a:pt x="29834" y="17639"/>
                      <a:pt x="29834" y="23519"/>
                    </a:cubicBezTo>
                    <a:cubicBezTo>
                      <a:pt x="30254" y="34018"/>
                      <a:pt x="23114" y="39898"/>
                      <a:pt x="13455" y="37798"/>
                    </a:cubicBezTo>
                    <a:cubicBezTo>
                      <a:pt x="7995" y="36538"/>
                      <a:pt x="-405" y="27299"/>
                      <a:pt x="15" y="26039"/>
                    </a:cubicBezTo>
                    <a:cubicBezTo>
                      <a:pt x="5055" y="18479"/>
                      <a:pt x="11775" y="11759"/>
                      <a:pt x="22274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ECF178AE-7762-5587-C01E-DE85D7D65AA6}"/>
                  </a:ext>
                </a:extLst>
              </p:cNvPr>
              <p:cNvSpPr/>
              <p:nvPr/>
            </p:nvSpPr>
            <p:spPr>
              <a:xfrm>
                <a:off x="6158791" y="2351743"/>
                <a:ext cx="35278" cy="27747"/>
              </a:xfrm>
              <a:custGeom>
                <a:avLst/>
                <a:gdLst>
                  <a:gd name="connsiteX0" fmla="*/ 35278 w 35278"/>
                  <a:gd name="connsiteY0" fmla="*/ 18215 h 27747"/>
                  <a:gd name="connsiteX1" fmla="*/ 15119 w 35278"/>
                  <a:gd name="connsiteY1" fmla="*/ 27454 h 27747"/>
                  <a:gd name="connsiteX2" fmla="*/ 0 w 35278"/>
                  <a:gd name="connsiteY2" fmla="*/ 8555 h 27747"/>
                  <a:gd name="connsiteX3" fmla="*/ 15539 w 35278"/>
                  <a:gd name="connsiteY3" fmla="*/ 156 h 27747"/>
                  <a:gd name="connsiteX4" fmla="*/ 35278 w 35278"/>
                  <a:gd name="connsiteY4" fmla="*/ 18215 h 2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78" h="27747">
                    <a:moveTo>
                      <a:pt x="35278" y="18215"/>
                    </a:moveTo>
                    <a:cubicBezTo>
                      <a:pt x="25199" y="23255"/>
                      <a:pt x="17219" y="29134"/>
                      <a:pt x="15119" y="27454"/>
                    </a:cubicBezTo>
                    <a:cubicBezTo>
                      <a:pt x="8820" y="22835"/>
                      <a:pt x="5040" y="15275"/>
                      <a:pt x="0" y="8555"/>
                    </a:cubicBezTo>
                    <a:cubicBezTo>
                      <a:pt x="5040" y="5615"/>
                      <a:pt x="11759" y="-1104"/>
                      <a:pt x="15539" y="156"/>
                    </a:cubicBezTo>
                    <a:cubicBezTo>
                      <a:pt x="21839" y="1836"/>
                      <a:pt x="26039" y="9395"/>
                      <a:pt x="35278" y="1821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3DA18570-A1D2-5E30-2545-8F0B57A7C8A0}"/>
                  </a:ext>
                </a:extLst>
              </p:cNvPr>
              <p:cNvSpPr/>
              <p:nvPr/>
            </p:nvSpPr>
            <p:spPr>
              <a:xfrm>
                <a:off x="5602251" y="2823538"/>
                <a:ext cx="35763" cy="29425"/>
              </a:xfrm>
              <a:custGeom>
                <a:avLst/>
                <a:gdLst>
                  <a:gd name="connsiteX0" fmla="*/ 35763 w 35763"/>
                  <a:gd name="connsiteY0" fmla="*/ 20999 h 29425"/>
                  <a:gd name="connsiteX1" fmla="*/ 10984 w 35763"/>
                  <a:gd name="connsiteY1" fmla="*/ 29399 h 29425"/>
                  <a:gd name="connsiteX2" fmla="*/ 65 w 35763"/>
                  <a:gd name="connsiteY2" fmla="*/ 18059 h 29425"/>
                  <a:gd name="connsiteX3" fmla="*/ 14764 w 35763"/>
                  <a:gd name="connsiteY3" fmla="*/ 0 h 29425"/>
                  <a:gd name="connsiteX4" fmla="*/ 35763 w 35763"/>
                  <a:gd name="connsiteY4" fmla="*/ 20999 h 29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763" h="29425">
                    <a:moveTo>
                      <a:pt x="35763" y="20999"/>
                    </a:moveTo>
                    <a:cubicBezTo>
                      <a:pt x="24003" y="25199"/>
                      <a:pt x="17284" y="29819"/>
                      <a:pt x="10984" y="29399"/>
                    </a:cubicBezTo>
                    <a:cubicBezTo>
                      <a:pt x="6784" y="28979"/>
                      <a:pt x="-775" y="19739"/>
                      <a:pt x="65" y="18059"/>
                    </a:cubicBezTo>
                    <a:cubicBezTo>
                      <a:pt x="3424" y="11340"/>
                      <a:pt x="9724" y="5880"/>
                      <a:pt x="14764" y="0"/>
                    </a:cubicBezTo>
                    <a:cubicBezTo>
                      <a:pt x="20224" y="5460"/>
                      <a:pt x="25683" y="10920"/>
                      <a:pt x="35763" y="209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6195B666-A887-F3A8-3E03-408E85CE88E9}"/>
                  </a:ext>
                </a:extLst>
              </p:cNvPr>
              <p:cNvSpPr/>
              <p:nvPr/>
            </p:nvSpPr>
            <p:spPr>
              <a:xfrm>
                <a:off x="6789184" y="1935696"/>
                <a:ext cx="27419" cy="38256"/>
              </a:xfrm>
              <a:custGeom>
                <a:avLst/>
                <a:gdLst>
                  <a:gd name="connsiteX0" fmla="*/ 0 w 27419"/>
                  <a:gd name="connsiteY0" fmla="*/ 30659 h 38256"/>
                  <a:gd name="connsiteX1" fmla="*/ 5040 w 27419"/>
                  <a:gd name="connsiteY1" fmla="*/ 21839 h 38256"/>
                  <a:gd name="connsiteX2" fmla="*/ 23099 w 27419"/>
                  <a:gd name="connsiteY2" fmla="*/ 0 h 38256"/>
                  <a:gd name="connsiteX3" fmla="*/ 27299 w 27419"/>
                  <a:gd name="connsiteY3" fmla="*/ 8820 h 38256"/>
                  <a:gd name="connsiteX4" fmla="*/ 10500 w 27419"/>
                  <a:gd name="connsiteY4" fmla="*/ 37798 h 38256"/>
                  <a:gd name="connsiteX5" fmla="*/ 5880 w 27419"/>
                  <a:gd name="connsiteY5" fmla="*/ 37378 h 38256"/>
                  <a:gd name="connsiteX6" fmla="*/ 0 w 27419"/>
                  <a:gd name="connsiteY6" fmla="*/ 30659 h 38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19" h="38256">
                    <a:moveTo>
                      <a:pt x="0" y="30659"/>
                    </a:moveTo>
                    <a:cubicBezTo>
                      <a:pt x="1680" y="27719"/>
                      <a:pt x="2940" y="24359"/>
                      <a:pt x="5040" y="21839"/>
                    </a:cubicBezTo>
                    <a:cubicBezTo>
                      <a:pt x="10919" y="14279"/>
                      <a:pt x="16799" y="7140"/>
                      <a:pt x="23099" y="0"/>
                    </a:cubicBezTo>
                    <a:cubicBezTo>
                      <a:pt x="24359" y="2940"/>
                      <a:pt x="28139" y="6720"/>
                      <a:pt x="27299" y="8820"/>
                    </a:cubicBezTo>
                    <a:cubicBezTo>
                      <a:pt x="22259" y="18899"/>
                      <a:pt x="16379" y="28139"/>
                      <a:pt x="10500" y="37798"/>
                    </a:cubicBezTo>
                    <a:cubicBezTo>
                      <a:pt x="10080" y="38638"/>
                      <a:pt x="6720" y="38218"/>
                      <a:pt x="5880" y="37378"/>
                    </a:cubicBezTo>
                    <a:cubicBezTo>
                      <a:pt x="3360" y="35278"/>
                      <a:pt x="1680" y="32759"/>
                      <a:pt x="0" y="306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A0940E93-B0D9-B44C-9E94-1C245A9F5262}"/>
                  </a:ext>
                </a:extLst>
              </p:cNvPr>
              <p:cNvSpPr/>
              <p:nvPr/>
            </p:nvSpPr>
            <p:spPr>
              <a:xfrm>
                <a:off x="6149971" y="2882756"/>
                <a:ext cx="32506" cy="29097"/>
              </a:xfrm>
              <a:custGeom>
                <a:avLst/>
                <a:gdLst>
                  <a:gd name="connsiteX0" fmla="*/ 14279 w 32506"/>
                  <a:gd name="connsiteY0" fmla="*/ 0 h 29097"/>
                  <a:gd name="connsiteX1" fmla="*/ 30239 w 32506"/>
                  <a:gd name="connsiteY1" fmla="*/ 10079 h 29097"/>
                  <a:gd name="connsiteX2" fmla="*/ 31499 w 32506"/>
                  <a:gd name="connsiteY2" fmla="*/ 22679 h 29097"/>
                  <a:gd name="connsiteX3" fmla="*/ 20159 w 32506"/>
                  <a:gd name="connsiteY3" fmla="*/ 28979 h 29097"/>
                  <a:gd name="connsiteX4" fmla="*/ 4620 w 32506"/>
                  <a:gd name="connsiteY4" fmla="*/ 16379 h 29097"/>
                  <a:gd name="connsiteX5" fmla="*/ 0 w 32506"/>
                  <a:gd name="connsiteY5" fmla="*/ 7560 h 29097"/>
                  <a:gd name="connsiteX6" fmla="*/ 14279 w 32506"/>
                  <a:gd name="connsiteY6" fmla="*/ 0 h 2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506" h="29097">
                    <a:moveTo>
                      <a:pt x="14279" y="0"/>
                    </a:moveTo>
                    <a:cubicBezTo>
                      <a:pt x="19319" y="3360"/>
                      <a:pt x="26039" y="5880"/>
                      <a:pt x="30239" y="10079"/>
                    </a:cubicBezTo>
                    <a:cubicBezTo>
                      <a:pt x="32759" y="12599"/>
                      <a:pt x="33179" y="19739"/>
                      <a:pt x="31499" y="22679"/>
                    </a:cubicBezTo>
                    <a:cubicBezTo>
                      <a:pt x="29399" y="26039"/>
                      <a:pt x="22679" y="29819"/>
                      <a:pt x="20159" y="28979"/>
                    </a:cubicBezTo>
                    <a:cubicBezTo>
                      <a:pt x="14279" y="26459"/>
                      <a:pt x="9240" y="20999"/>
                      <a:pt x="4620" y="16379"/>
                    </a:cubicBezTo>
                    <a:cubicBezTo>
                      <a:pt x="2520" y="14279"/>
                      <a:pt x="1260" y="10500"/>
                      <a:pt x="0" y="7560"/>
                    </a:cubicBezTo>
                    <a:cubicBezTo>
                      <a:pt x="3780" y="5040"/>
                      <a:pt x="8400" y="2940"/>
                      <a:pt x="1427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DAF6CEC6-5C2F-23FB-6441-C089237FD1BB}"/>
                  </a:ext>
                </a:extLst>
              </p:cNvPr>
              <p:cNvSpPr/>
              <p:nvPr/>
            </p:nvSpPr>
            <p:spPr>
              <a:xfrm>
                <a:off x="5497093" y="2970893"/>
                <a:ext cx="35505" cy="29531"/>
              </a:xfrm>
              <a:custGeom>
                <a:avLst/>
                <a:gdLst>
                  <a:gd name="connsiteX0" fmla="*/ 35505 w 35505"/>
                  <a:gd name="connsiteY0" fmla="*/ 20218 h 29531"/>
                  <a:gd name="connsiteX1" fmla="*/ 14086 w 35505"/>
                  <a:gd name="connsiteY1" fmla="*/ 29457 h 29531"/>
                  <a:gd name="connsiteX2" fmla="*/ 1067 w 35505"/>
                  <a:gd name="connsiteY2" fmla="*/ 13498 h 29531"/>
                  <a:gd name="connsiteX3" fmla="*/ 14506 w 35505"/>
                  <a:gd name="connsiteY3" fmla="*/ 58 h 29531"/>
                  <a:gd name="connsiteX4" fmla="*/ 35505 w 35505"/>
                  <a:gd name="connsiteY4" fmla="*/ 20218 h 2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505" h="29531">
                    <a:moveTo>
                      <a:pt x="35505" y="20218"/>
                    </a:moveTo>
                    <a:cubicBezTo>
                      <a:pt x="25426" y="24837"/>
                      <a:pt x="19966" y="29457"/>
                      <a:pt x="14086" y="29457"/>
                    </a:cubicBezTo>
                    <a:cubicBezTo>
                      <a:pt x="4006" y="30297"/>
                      <a:pt x="-2713" y="23997"/>
                      <a:pt x="1067" y="13498"/>
                    </a:cubicBezTo>
                    <a:cubicBezTo>
                      <a:pt x="3166" y="7618"/>
                      <a:pt x="12826" y="-782"/>
                      <a:pt x="14506" y="58"/>
                    </a:cubicBezTo>
                    <a:cubicBezTo>
                      <a:pt x="21646" y="3838"/>
                      <a:pt x="26265" y="10558"/>
                      <a:pt x="35505" y="202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E5E9578B-495C-6604-2E4C-222EDD8C0A5A}"/>
                  </a:ext>
                </a:extLst>
              </p:cNvPr>
              <p:cNvSpPr/>
              <p:nvPr/>
            </p:nvSpPr>
            <p:spPr>
              <a:xfrm>
                <a:off x="6517301" y="2323760"/>
                <a:ext cx="27068" cy="36209"/>
              </a:xfrm>
              <a:custGeom>
                <a:avLst/>
                <a:gdLst>
                  <a:gd name="connsiteX0" fmla="*/ 20313 w 27068"/>
                  <a:gd name="connsiteY0" fmla="*/ 0 h 36209"/>
                  <a:gd name="connsiteX1" fmla="*/ 27033 w 27068"/>
                  <a:gd name="connsiteY1" fmla="*/ 22259 h 36209"/>
                  <a:gd name="connsiteX2" fmla="*/ 10654 w 27068"/>
                  <a:gd name="connsiteY2" fmla="*/ 34858 h 36209"/>
                  <a:gd name="connsiteX3" fmla="*/ 154 w 27068"/>
                  <a:gd name="connsiteY3" fmla="*/ 20579 h 36209"/>
                  <a:gd name="connsiteX4" fmla="*/ 20313 w 27068"/>
                  <a:gd name="connsiteY4" fmla="*/ 0 h 36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68" h="36209">
                    <a:moveTo>
                      <a:pt x="20313" y="0"/>
                    </a:moveTo>
                    <a:cubicBezTo>
                      <a:pt x="24093" y="10920"/>
                      <a:pt x="27453" y="16799"/>
                      <a:pt x="27033" y="22259"/>
                    </a:cubicBezTo>
                    <a:cubicBezTo>
                      <a:pt x="26613" y="31499"/>
                      <a:pt x="21153" y="39478"/>
                      <a:pt x="10654" y="34858"/>
                    </a:cubicBezTo>
                    <a:cubicBezTo>
                      <a:pt x="5614" y="32759"/>
                      <a:pt x="-1106" y="23099"/>
                      <a:pt x="154" y="20579"/>
                    </a:cubicBezTo>
                    <a:cubicBezTo>
                      <a:pt x="3094" y="13859"/>
                      <a:pt x="10654" y="9240"/>
                      <a:pt x="2031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500AB0F6-1ACE-A8D8-33D0-9FB8EE222C73}"/>
                  </a:ext>
                </a:extLst>
              </p:cNvPr>
              <p:cNvSpPr/>
              <p:nvPr/>
            </p:nvSpPr>
            <p:spPr>
              <a:xfrm>
                <a:off x="5650220" y="2387597"/>
                <a:ext cx="25591" cy="31878"/>
              </a:xfrm>
              <a:custGeom>
                <a:avLst/>
                <a:gdLst>
                  <a:gd name="connsiteX0" fmla="*/ 25592 w 25591"/>
                  <a:gd name="connsiteY0" fmla="*/ 20579 h 31878"/>
                  <a:gd name="connsiteX1" fmla="*/ 20132 w 25591"/>
                  <a:gd name="connsiteY1" fmla="*/ 31499 h 31878"/>
                  <a:gd name="connsiteX2" fmla="*/ 11312 w 25591"/>
                  <a:gd name="connsiteY2" fmla="*/ 28559 h 31878"/>
                  <a:gd name="connsiteX3" fmla="*/ 393 w 25591"/>
                  <a:gd name="connsiteY3" fmla="*/ 17639 h 31878"/>
                  <a:gd name="connsiteX4" fmla="*/ 2073 w 25591"/>
                  <a:gd name="connsiteY4" fmla="*/ 0 h 31878"/>
                  <a:gd name="connsiteX5" fmla="*/ 18452 w 25591"/>
                  <a:gd name="connsiteY5" fmla="*/ 3360 h 31878"/>
                  <a:gd name="connsiteX6" fmla="*/ 25592 w 25591"/>
                  <a:gd name="connsiteY6" fmla="*/ 20579 h 31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591" h="31878">
                    <a:moveTo>
                      <a:pt x="25592" y="20579"/>
                    </a:moveTo>
                    <a:cubicBezTo>
                      <a:pt x="23072" y="26039"/>
                      <a:pt x="22232" y="30239"/>
                      <a:pt x="20132" y="31499"/>
                    </a:cubicBezTo>
                    <a:cubicBezTo>
                      <a:pt x="18452" y="32759"/>
                      <a:pt x="13832" y="30659"/>
                      <a:pt x="11312" y="28559"/>
                    </a:cubicBezTo>
                    <a:cubicBezTo>
                      <a:pt x="7113" y="25619"/>
                      <a:pt x="1653" y="21839"/>
                      <a:pt x="393" y="17639"/>
                    </a:cubicBezTo>
                    <a:cubicBezTo>
                      <a:pt x="-867" y="12180"/>
                      <a:pt x="1233" y="5880"/>
                      <a:pt x="2073" y="0"/>
                    </a:cubicBezTo>
                    <a:cubicBezTo>
                      <a:pt x="7533" y="840"/>
                      <a:pt x="15092" y="0"/>
                      <a:pt x="18452" y="3360"/>
                    </a:cubicBezTo>
                    <a:cubicBezTo>
                      <a:pt x="22652" y="8400"/>
                      <a:pt x="23912" y="15959"/>
                      <a:pt x="25592" y="2057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1351E510-96DE-9B47-1CB2-A54581FA2CBE}"/>
                  </a:ext>
                </a:extLst>
              </p:cNvPr>
              <p:cNvSpPr/>
              <p:nvPr/>
            </p:nvSpPr>
            <p:spPr>
              <a:xfrm>
                <a:off x="6265667" y="2724842"/>
                <a:ext cx="25924" cy="33441"/>
              </a:xfrm>
              <a:custGeom>
                <a:avLst/>
                <a:gdLst>
                  <a:gd name="connsiteX0" fmla="*/ 11139 w 25924"/>
                  <a:gd name="connsiteY0" fmla="*/ 0 h 33441"/>
                  <a:gd name="connsiteX1" fmla="*/ 25838 w 25924"/>
                  <a:gd name="connsiteY1" fmla="*/ 23519 h 33441"/>
                  <a:gd name="connsiteX2" fmla="*/ 17858 w 25924"/>
                  <a:gd name="connsiteY2" fmla="*/ 33179 h 33441"/>
                  <a:gd name="connsiteX3" fmla="*/ 639 w 25924"/>
                  <a:gd name="connsiteY3" fmla="*/ 15539 h 33441"/>
                  <a:gd name="connsiteX4" fmla="*/ 11139 w 25924"/>
                  <a:gd name="connsiteY4" fmla="*/ 0 h 3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24" h="33441">
                    <a:moveTo>
                      <a:pt x="11139" y="0"/>
                    </a:moveTo>
                    <a:cubicBezTo>
                      <a:pt x="17858" y="10080"/>
                      <a:pt x="22898" y="16379"/>
                      <a:pt x="25838" y="23519"/>
                    </a:cubicBezTo>
                    <a:cubicBezTo>
                      <a:pt x="26678" y="25619"/>
                      <a:pt x="21218" y="32339"/>
                      <a:pt x="17858" y="33179"/>
                    </a:cubicBezTo>
                    <a:cubicBezTo>
                      <a:pt x="7779" y="35279"/>
                      <a:pt x="-2721" y="24359"/>
                      <a:pt x="639" y="15539"/>
                    </a:cubicBezTo>
                    <a:cubicBezTo>
                      <a:pt x="1899" y="10920"/>
                      <a:pt x="6099" y="7140"/>
                      <a:pt x="1113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2DA90E94-B139-9A0E-2BC8-B123CE525AC7}"/>
                  </a:ext>
                </a:extLst>
              </p:cNvPr>
              <p:cNvSpPr/>
              <p:nvPr/>
            </p:nvSpPr>
            <p:spPr>
              <a:xfrm>
                <a:off x="5989092" y="2394737"/>
                <a:ext cx="25645" cy="26631"/>
              </a:xfrm>
              <a:custGeom>
                <a:avLst/>
                <a:gdLst>
                  <a:gd name="connsiteX0" fmla="*/ 25645 w 25645"/>
                  <a:gd name="connsiteY0" fmla="*/ 17219 h 26631"/>
                  <a:gd name="connsiteX1" fmla="*/ 8846 w 25645"/>
                  <a:gd name="connsiteY1" fmla="*/ 26459 h 26631"/>
                  <a:gd name="connsiteX2" fmla="*/ 27 w 25645"/>
                  <a:gd name="connsiteY2" fmla="*/ 11759 h 26631"/>
                  <a:gd name="connsiteX3" fmla="*/ 11366 w 25645"/>
                  <a:gd name="connsiteY3" fmla="*/ 0 h 26631"/>
                  <a:gd name="connsiteX4" fmla="*/ 25645 w 25645"/>
                  <a:gd name="connsiteY4" fmla="*/ 17219 h 26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645" h="26631">
                    <a:moveTo>
                      <a:pt x="25645" y="17219"/>
                    </a:moveTo>
                    <a:cubicBezTo>
                      <a:pt x="18086" y="21839"/>
                      <a:pt x="10946" y="27719"/>
                      <a:pt x="8846" y="26459"/>
                    </a:cubicBezTo>
                    <a:cubicBezTo>
                      <a:pt x="4226" y="23939"/>
                      <a:pt x="-393" y="16799"/>
                      <a:pt x="27" y="11759"/>
                    </a:cubicBezTo>
                    <a:cubicBezTo>
                      <a:pt x="446" y="7560"/>
                      <a:pt x="7166" y="3780"/>
                      <a:pt x="11366" y="0"/>
                    </a:cubicBezTo>
                    <a:cubicBezTo>
                      <a:pt x="15146" y="4620"/>
                      <a:pt x="18926" y="9240"/>
                      <a:pt x="25645" y="172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7E4D5B91-825F-3FCE-AAF9-AC4B88ED3B7F}"/>
                  </a:ext>
                </a:extLst>
              </p:cNvPr>
              <p:cNvSpPr/>
              <p:nvPr/>
            </p:nvSpPr>
            <p:spPr>
              <a:xfrm>
                <a:off x="6072275" y="2436659"/>
                <a:ext cx="27718" cy="27794"/>
              </a:xfrm>
              <a:custGeom>
                <a:avLst/>
                <a:gdLst>
                  <a:gd name="connsiteX0" fmla="*/ 27719 w 27718"/>
                  <a:gd name="connsiteY0" fmla="*/ 10995 h 27794"/>
                  <a:gd name="connsiteX1" fmla="*/ 9240 w 27718"/>
                  <a:gd name="connsiteY1" fmla="*/ 27795 h 27794"/>
                  <a:gd name="connsiteX2" fmla="*/ 0 w 27718"/>
                  <a:gd name="connsiteY2" fmla="*/ 13515 h 27794"/>
                  <a:gd name="connsiteX3" fmla="*/ 10500 w 27718"/>
                  <a:gd name="connsiteY3" fmla="*/ 76 h 27794"/>
                  <a:gd name="connsiteX4" fmla="*/ 27719 w 27718"/>
                  <a:gd name="connsiteY4" fmla="*/ 10995 h 27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18" h="27794">
                    <a:moveTo>
                      <a:pt x="27719" y="10995"/>
                    </a:moveTo>
                    <a:cubicBezTo>
                      <a:pt x="19319" y="18555"/>
                      <a:pt x="14279" y="23175"/>
                      <a:pt x="9240" y="27795"/>
                    </a:cubicBezTo>
                    <a:cubicBezTo>
                      <a:pt x="5880" y="23175"/>
                      <a:pt x="0" y="18135"/>
                      <a:pt x="0" y="13515"/>
                    </a:cubicBezTo>
                    <a:cubicBezTo>
                      <a:pt x="420" y="8475"/>
                      <a:pt x="5880" y="1756"/>
                      <a:pt x="10500" y="76"/>
                    </a:cubicBezTo>
                    <a:cubicBezTo>
                      <a:pt x="13859" y="-764"/>
                      <a:pt x="19739" y="5536"/>
                      <a:pt x="27719" y="1099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1" name="Freihandform: Form 210">
                <a:extLst>
                  <a:ext uri="{FF2B5EF4-FFF2-40B4-BE49-F238E27FC236}">
                    <a16:creationId xmlns:a16="http://schemas.microsoft.com/office/drawing/2014/main" id="{77381497-DAF4-B4B3-2018-D8AC3564F016}"/>
                  </a:ext>
                </a:extLst>
              </p:cNvPr>
              <p:cNvSpPr/>
              <p:nvPr/>
            </p:nvSpPr>
            <p:spPr>
              <a:xfrm>
                <a:off x="5550237" y="2455614"/>
                <a:ext cx="39058" cy="20219"/>
              </a:xfrm>
              <a:custGeom>
                <a:avLst/>
                <a:gdLst>
                  <a:gd name="connsiteX0" fmla="*/ 39058 w 39058"/>
                  <a:gd name="connsiteY0" fmla="*/ 14299 h 20219"/>
                  <a:gd name="connsiteX1" fmla="*/ 9240 w 39058"/>
                  <a:gd name="connsiteY1" fmla="*/ 20179 h 20219"/>
                  <a:gd name="connsiteX2" fmla="*/ 0 w 39058"/>
                  <a:gd name="connsiteY2" fmla="*/ 10939 h 20219"/>
                  <a:gd name="connsiteX3" fmla="*/ 17639 w 39058"/>
                  <a:gd name="connsiteY3" fmla="*/ 20 h 20219"/>
                  <a:gd name="connsiteX4" fmla="*/ 39058 w 39058"/>
                  <a:gd name="connsiteY4" fmla="*/ 14299 h 2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58" h="20219">
                    <a:moveTo>
                      <a:pt x="39058" y="14299"/>
                    </a:moveTo>
                    <a:cubicBezTo>
                      <a:pt x="23099" y="17659"/>
                      <a:pt x="16379" y="20599"/>
                      <a:pt x="9240" y="20179"/>
                    </a:cubicBezTo>
                    <a:cubicBezTo>
                      <a:pt x="5880" y="20179"/>
                      <a:pt x="2940" y="14299"/>
                      <a:pt x="0" y="10939"/>
                    </a:cubicBezTo>
                    <a:cubicBezTo>
                      <a:pt x="5880" y="7160"/>
                      <a:pt x="11340" y="1280"/>
                      <a:pt x="17639" y="20"/>
                    </a:cubicBezTo>
                    <a:cubicBezTo>
                      <a:pt x="21419" y="-400"/>
                      <a:pt x="26879" y="5899"/>
                      <a:pt x="39058" y="142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2" name="Freihandform: Form 211">
                <a:extLst>
                  <a:ext uri="{FF2B5EF4-FFF2-40B4-BE49-F238E27FC236}">
                    <a16:creationId xmlns:a16="http://schemas.microsoft.com/office/drawing/2014/main" id="{9C9FBE5A-E972-C774-9F52-DB756BE7D691}"/>
                  </a:ext>
                </a:extLst>
              </p:cNvPr>
              <p:cNvSpPr/>
              <p:nvPr/>
            </p:nvSpPr>
            <p:spPr>
              <a:xfrm>
                <a:off x="5499420" y="2540139"/>
                <a:ext cx="32338" cy="26923"/>
              </a:xfrm>
              <a:custGeom>
                <a:avLst/>
                <a:gdLst>
                  <a:gd name="connsiteX0" fmla="*/ 32338 w 32338"/>
                  <a:gd name="connsiteY0" fmla="*/ 7891 h 26923"/>
                  <a:gd name="connsiteX1" fmla="*/ 14699 w 32338"/>
                  <a:gd name="connsiteY1" fmla="*/ 26790 h 26923"/>
                  <a:gd name="connsiteX2" fmla="*/ 0 w 32338"/>
                  <a:gd name="connsiteY2" fmla="*/ 16291 h 26923"/>
                  <a:gd name="connsiteX3" fmla="*/ 16799 w 32338"/>
                  <a:gd name="connsiteY3" fmla="*/ 332 h 26923"/>
                  <a:gd name="connsiteX4" fmla="*/ 32338 w 32338"/>
                  <a:gd name="connsiteY4" fmla="*/ 7891 h 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38" h="26923">
                    <a:moveTo>
                      <a:pt x="32338" y="7891"/>
                    </a:moveTo>
                    <a:cubicBezTo>
                      <a:pt x="25199" y="15871"/>
                      <a:pt x="20999" y="23010"/>
                      <a:pt x="14699" y="26790"/>
                    </a:cubicBezTo>
                    <a:cubicBezTo>
                      <a:pt x="12599" y="28050"/>
                      <a:pt x="5040" y="20071"/>
                      <a:pt x="0" y="16291"/>
                    </a:cubicBezTo>
                    <a:cubicBezTo>
                      <a:pt x="5460" y="10831"/>
                      <a:pt x="10500" y="4531"/>
                      <a:pt x="16799" y="332"/>
                    </a:cubicBezTo>
                    <a:cubicBezTo>
                      <a:pt x="18899" y="-1348"/>
                      <a:pt x="24779" y="3691"/>
                      <a:pt x="32338" y="789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3" name="Freihandform: Form 212">
                <a:extLst>
                  <a:ext uri="{FF2B5EF4-FFF2-40B4-BE49-F238E27FC236}">
                    <a16:creationId xmlns:a16="http://schemas.microsoft.com/office/drawing/2014/main" id="{7074D760-12FE-BF18-065D-63E0C97FA6A7}"/>
                  </a:ext>
                </a:extLst>
              </p:cNvPr>
              <p:cNvSpPr/>
              <p:nvPr/>
            </p:nvSpPr>
            <p:spPr>
              <a:xfrm>
                <a:off x="5569540" y="2174666"/>
                <a:ext cx="27314" cy="28155"/>
              </a:xfrm>
              <a:custGeom>
                <a:avLst/>
                <a:gdLst>
                  <a:gd name="connsiteX0" fmla="*/ 27315 w 27314"/>
                  <a:gd name="connsiteY0" fmla="*/ 12180 h 28155"/>
                  <a:gd name="connsiteX1" fmla="*/ 7996 w 27314"/>
                  <a:gd name="connsiteY1" fmla="*/ 28139 h 28155"/>
                  <a:gd name="connsiteX2" fmla="*/ 16 w 27314"/>
                  <a:gd name="connsiteY2" fmla="*/ 18899 h 28155"/>
                  <a:gd name="connsiteX3" fmla="*/ 10516 w 27314"/>
                  <a:gd name="connsiteY3" fmla="*/ 0 h 28155"/>
                  <a:gd name="connsiteX4" fmla="*/ 27315 w 27314"/>
                  <a:gd name="connsiteY4" fmla="*/ 12180 h 2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14" h="28155">
                    <a:moveTo>
                      <a:pt x="27315" y="12180"/>
                    </a:moveTo>
                    <a:cubicBezTo>
                      <a:pt x="18915" y="19319"/>
                      <a:pt x="13876" y="24359"/>
                      <a:pt x="7996" y="28139"/>
                    </a:cubicBezTo>
                    <a:cubicBezTo>
                      <a:pt x="7576" y="28559"/>
                      <a:pt x="-404" y="20999"/>
                      <a:pt x="16" y="18899"/>
                    </a:cubicBezTo>
                    <a:cubicBezTo>
                      <a:pt x="2116" y="12180"/>
                      <a:pt x="6736" y="6300"/>
                      <a:pt x="10516" y="0"/>
                    </a:cubicBezTo>
                    <a:cubicBezTo>
                      <a:pt x="15136" y="2940"/>
                      <a:pt x="19335" y="6300"/>
                      <a:pt x="27315" y="121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4" name="Freihandform: Form 213">
                <a:extLst>
                  <a:ext uri="{FF2B5EF4-FFF2-40B4-BE49-F238E27FC236}">
                    <a16:creationId xmlns:a16="http://schemas.microsoft.com/office/drawing/2014/main" id="{C6308DD1-44B0-9946-4469-28598F6E98E9}"/>
                  </a:ext>
                </a:extLst>
              </p:cNvPr>
              <p:cNvSpPr/>
              <p:nvPr/>
            </p:nvSpPr>
            <p:spPr>
              <a:xfrm>
                <a:off x="6368782" y="2687632"/>
                <a:ext cx="32758" cy="25833"/>
              </a:xfrm>
              <a:custGeom>
                <a:avLst/>
                <a:gdLst>
                  <a:gd name="connsiteX0" fmla="*/ 32759 w 32758"/>
                  <a:gd name="connsiteY0" fmla="*/ 19572 h 25833"/>
                  <a:gd name="connsiteX1" fmla="*/ 9239 w 32758"/>
                  <a:gd name="connsiteY1" fmla="*/ 25451 h 25833"/>
                  <a:gd name="connsiteX2" fmla="*/ 0 w 32758"/>
                  <a:gd name="connsiteY2" fmla="*/ 4452 h 25833"/>
                  <a:gd name="connsiteX3" fmla="*/ 13019 w 32758"/>
                  <a:gd name="connsiteY3" fmla="*/ 252 h 25833"/>
                  <a:gd name="connsiteX4" fmla="*/ 32759 w 32758"/>
                  <a:gd name="connsiteY4" fmla="*/ 19572 h 2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58" h="25833">
                    <a:moveTo>
                      <a:pt x="32759" y="19572"/>
                    </a:moveTo>
                    <a:cubicBezTo>
                      <a:pt x="20159" y="22932"/>
                      <a:pt x="10919" y="27131"/>
                      <a:pt x="9239" y="25451"/>
                    </a:cubicBezTo>
                    <a:cubicBezTo>
                      <a:pt x="4620" y="19992"/>
                      <a:pt x="2940" y="11592"/>
                      <a:pt x="0" y="4452"/>
                    </a:cubicBezTo>
                    <a:cubicBezTo>
                      <a:pt x="4620" y="2772"/>
                      <a:pt x="10500" y="-1007"/>
                      <a:pt x="13019" y="252"/>
                    </a:cubicBezTo>
                    <a:cubicBezTo>
                      <a:pt x="19319" y="4032"/>
                      <a:pt x="23519" y="10332"/>
                      <a:pt x="32759" y="1957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94F4F641-FA86-D224-8EB4-A693F75F6F1D}"/>
                  </a:ext>
                </a:extLst>
              </p:cNvPr>
              <p:cNvSpPr/>
              <p:nvPr/>
            </p:nvSpPr>
            <p:spPr>
              <a:xfrm>
                <a:off x="6334742" y="2823538"/>
                <a:ext cx="26060" cy="28138"/>
              </a:xfrm>
              <a:custGeom>
                <a:avLst/>
                <a:gdLst>
                  <a:gd name="connsiteX0" fmla="*/ 26060 w 26060"/>
                  <a:gd name="connsiteY0" fmla="*/ 16799 h 28138"/>
                  <a:gd name="connsiteX1" fmla="*/ 8841 w 26060"/>
                  <a:gd name="connsiteY1" fmla="*/ 28139 h 28138"/>
                  <a:gd name="connsiteX2" fmla="*/ 21 w 26060"/>
                  <a:gd name="connsiteY2" fmla="*/ 13020 h 28138"/>
                  <a:gd name="connsiteX3" fmla="*/ 11361 w 26060"/>
                  <a:gd name="connsiteY3" fmla="*/ 0 h 28138"/>
                  <a:gd name="connsiteX4" fmla="*/ 26060 w 26060"/>
                  <a:gd name="connsiteY4" fmla="*/ 16799 h 28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60" h="28138">
                    <a:moveTo>
                      <a:pt x="26060" y="16799"/>
                    </a:moveTo>
                    <a:cubicBezTo>
                      <a:pt x="18501" y="21839"/>
                      <a:pt x="13461" y="25199"/>
                      <a:pt x="8841" y="28139"/>
                    </a:cubicBezTo>
                    <a:cubicBezTo>
                      <a:pt x="5481" y="23099"/>
                      <a:pt x="-399" y="17639"/>
                      <a:pt x="21" y="13020"/>
                    </a:cubicBezTo>
                    <a:cubicBezTo>
                      <a:pt x="441" y="8400"/>
                      <a:pt x="7161" y="4200"/>
                      <a:pt x="11361" y="0"/>
                    </a:cubicBezTo>
                    <a:cubicBezTo>
                      <a:pt x="15561" y="4620"/>
                      <a:pt x="19341" y="9240"/>
                      <a:pt x="26060" y="167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86544522-8899-AEA2-7DB1-5279F89398C2}"/>
                  </a:ext>
                </a:extLst>
              </p:cNvPr>
              <p:cNvSpPr/>
              <p:nvPr/>
            </p:nvSpPr>
            <p:spPr>
              <a:xfrm>
                <a:off x="6527115" y="2577849"/>
                <a:ext cx="25684" cy="22694"/>
              </a:xfrm>
              <a:custGeom>
                <a:avLst/>
                <a:gdLst>
                  <a:gd name="connsiteX0" fmla="*/ 13439 w 25684"/>
                  <a:gd name="connsiteY0" fmla="*/ 0 h 22694"/>
                  <a:gd name="connsiteX1" fmla="*/ 25619 w 25684"/>
                  <a:gd name="connsiteY1" fmla="*/ 13020 h 22694"/>
                  <a:gd name="connsiteX2" fmla="*/ 18899 w 25684"/>
                  <a:gd name="connsiteY2" fmla="*/ 22679 h 22694"/>
                  <a:gd name="connsiteX3" fmla="*/ 0 w 25684"/>
                  <a:gd name="connsiteY3" fmla="*/ 9660 h 22694"/>
                  <a:gd name="connsiteX4" fmla="*/ 13439 w 25684"/>
                  <a:gd name="connsiteY4" fmla="*/ 0 h 2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684" h="22694">
                    <a:moveTo>
                      <a:pt x="13439" y="0"/>
                    </a:moveTo>
                    <a:cubicBezTo>
                      <a:pt x="18059" y="4620"/>
                      <a:pt x="23099" y="7980"/>
                      <a:pt x="25619" y="13020"/>
                    </a:cubicBezTo>
                    <a:cubicBezTo>
                      <a:pt x="26459" y="14699"/>
                      <a:pt x="18899" y="23099"/>
                      <a:pt x="18899" y="22679"/>
                    </a:cubicBezTo>
                    <a:cubicBezTo>
                      <a:pt x="12180" y="18899"/>
                      <a:pt x="6300" y="13859"/>
                      <a:pt x="0" y="9660"/>
                    </a:cubicBezTo>
                    <a:cubicBezTo>
                      <a:pt x="3360" y="6720"/>
                      <a:pt x="7140" y="4200"/>
                      <a:pt x="1343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D943C455-00B6-D9F8-42E5-8441398EE47A}"/>
                  </a:ext>
                </a:extLst>
              </p:cNvPr>
              <p:cNvSpPr/>
              <p:nvPr/>
            </p:nvSpPr>
            <p:spPr>
              <a:xfrm>
                <a:off x="5668252" y="3158607"/>
                <a:ext cx="26060" cy="24855"/>
              </a:xfrm>
              <a:custGeom>
                <a:avLst/>
                <a:gdLst>
                  <a:gd name="connsiteX0" fmla="*/ 15539 w 26060"/>
                  <a:gd name="connsiteY0" fmla="*/ 24855 h 24855"/>
                  <a:gd name="connsiteX1" fmla="*/ 0 w 26060"/>
                  <a:gd name="connsiteY1" fmla="*/ 12256 h 24855"/>
                  <a:gd name="connsiteX2" fmla="*/ 13860 w 26060"/>
                  <a:gd name="connsiteY2" fmla="*/ 76 h 24855"/>
                  <a:gd name="connsiteX3" fmla="*/ 26039 w 26060"/>
                  <a:gd name="connsiteY3" fmla="*/ 9316 h 24855"/>
                  <a:gd name="connsiteX4" fmla="*/ 15539 w 26060"/>
                  <a:gd name="connsiteY4" fmla="*/ 24855 h 24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60" h="24855">
                    <a:moveTo>
                      <a:pt x="15539" y="24855"/>
                    </a:moveTo>
                    <a:cubicBezTo>
                      <a:pt x="8400" y="18975"/>
                      <a:pt x="4200" y="15616"/>
                      <a:pt x="0" y="12256"/>
                    </a:cubicBezTo>
                    <a:cubicBezTo>
                      <a:pt x="4620" y="8056"/>
                      <a:pt x="8400" y="1756"/>
                      <a:pt x="13860" y="76"/>
                    </a:cubicBezTo>
                    <a:cubicBezTo>
                      <a:pt x="17219" y="-764"/>
                      <a:pt x="25619" y="5536"/>
                      <a:pt x="26039" y="9316"/>
                    </a:cubicBezTo>
                    <a:cubicBezTo>
                      <a:pt x="26459" y="13096"/>
                      <a:pt x="20579" y="17715"/>
                      <a:pt x="15539" y="248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8" name="Freihandform: Form 217">
                <a:extLst>
                  <a:ext uri="{FF2B5EF4-FFF2-40B4-BE49-F238E27FC236}">
                    <a16:creationId xmlns:a16="http://schemas.microsoft.com/office/drawing/2014/main" id="{3427998D-8BC4-52B1-3D51-AD835E7FA424}"/>
                  </a:ext>
                </a:extLst>
              </p:cNvPr>
              <p:cNvSpPr/>
              <p:nvPr/>
            </p:nvSpPr>
            <p:spPr>
              <a:xfrm>
                <a:off x="6139472" y="2739522"/>
                <a:ext cx="30658" cy="18948"/>
              </a:xfrm>
              <a:custGeom>
                <a:avLst/>
                <a:gdLst>
                  <a:gd name="connsiteX0" fmla="*/ 30659 w 30658"/>
                  <a:gd name="connsiteY0" fmla="*/ 13039 h 18948"/>
                  <a:gd name="connsiteX1" fmla="*/ 5880 w 30658"/>
                  <a:gd name="connsiteY1" fmla="*/ 18919 h 18948"/>
                  <a:gd name="connsiteX2" fmla="*/ 0 w 30658"/>
                  <a:gd name="connsiteY2" fmla="*/ 13039 h 18948"/>
                  <a:gd name="connsiteX3" fmla="*/ 18479 w 30658"/>
                  <a:gd name="connsiteY3" fmla="*/ 20 h 18948"/>
                  <a:gd name="connsiteX4" fmla="*/ 30659 w 30658"/>
                  <a:gd name="connsiteY4" fmla="*/ 13039 h 1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658" h="18948">
                    <a:moveTo>
                      <a:pt x="30659" y="13039"/>
                    </a:moveTo>
                    <a:cubicBezTo>
                      <a:pt x="19319" y="15979"/>
                      <a:pt x="12599" y="18079"/>
                      <a:pt x="5880" y="18919"/>
                    </a:cubicBezTo>
                    <a:cubicBezTo>
                      <a:pt x="4200" y="19339"/>
                      <a:pt x="2100" y="15139"/>
                      <a:pt x="0" y="13039"/>
                    </a:cubicBezTo>
                    <a:cubicBezTo>
                      <a:pt x="6300" y="8419"/>
                      <a:pt x="12180" y="3380"/>
                      <a:pt x="18479" y="20"/>
                    </a:cubicBezTo>
                    <a:cubicBezTo>
                      <a:pt x="19319" y="-400"/>
                      <a:pt x="23939" y="5900"/>
                      <a:pt x="30659" y="1303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588D539E-353A-D0B7-1699-1558C7C973DF}"/>
                  </a:ext>
                </a:extLst>
              </p:cNvPr>
              <p:cNvSpPr/>
              <p:nvPr/>
            </p:nvSpPr>
            <p:spPr>
              <a:xfrm>
                <a:off x="5832465" y="2383397"/>
                <a:ext cx="23099" cy="18500"/>
              </a:xfrm>
              <a:custGeom>
                <a:avLst/>
                <a:gdLst>
                  <a:gd name="connsiteX0" fmla="*/ 23099 w 23099"/>
                  <a:gd name="connsiteY0" fmla="*/ 8400 h 18500"/>
                  <a:gd name="connsiteX1" fmla="*/ 12179 w 23099"/>
                  <a:gd name="connsiteY1" fmla="*/ 18479 h 18500"/>
                  <a:gd name="connsiteX2" fmla="*/ 0 w 23099"/>
                  <a:gd name="connsiteY2" fmla="*/ 7560 h 18500"/>
                  <a:gd name="connsiteX3" fmla="*/ 10500 w 23099"/>
                  <a:gd name="connsiteY3" fmla="*/ 0 h 18500"/>
                  <a:gd name="connsiteX4" fmla="*/ 23099 w 23099"/>
                  <a:gd name="connsiteY4" fmla="*/ 8400 h 18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99" h="18500">
                    <a:moveTo>
                      <a:pt x="23099" y="8400"/>
                    </a:moveTo>
                    <a:cubicBezTo>
                      <a:pt x="18059" y="13019"/>
                      <a:pt x="13439" y="18899"/>
                      <a:pt x="12179" y="18479"/>
                    </a:cubicBezTo>
                    <a:cubicBezTo>
                      <a:pt x="7560" y="15959"/>
                      <a:pt x="4200" y="11340"/>
                      <a:pt x="0" y="7560"/>
                    </a:cubicBezTo>
                    <a:cubicBezTo>
                      <a:pt x="3360" y="5040"/>
                      <a:pt x="7140" y="420"/>
                      <a:pt x="10500" y="0"/>
                    </a:cubicBezTo>
                    <a:cubicBezTo>
                      <a:pt x="13859" y="0"/>
                      <a:pt x="17639" y="4620"/>
                      <a:pt x="23099" y="84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66603131-FC15-07D7-46DC-1C15C7D3BEC9}"/>
                  </a:ext>
                </a:extLst>
              </p:cNvPr>
              <p:cNvSpPr/>
              <p:nvPr/>
            </p:nvSpPr>
            <p:spPr>
              <a:xfrm>
                <a:off x="6313764" y="2613104"/>
                <a:ext cx="22258" cy="18531"/>
              </a:xfrm>
              <a:custGeom>
                <a:avLst/>
                <a:gdLst>
                  <a:gd name="connsiteX0" fmla="*/ 22259 w 22258"/>
                  <a:gd name="connsiteY0" fmla="*/ 8842 h 18531"/>
                  <a:gd name="connsiteX1" fmla="*/ 10920 w 22258"/>
                  <a:gd name="connsiteY1" fmla="*/ 18502 h 18531"/>
                  <a:gd name="connsiteX2" fmla="*/ 0 w 22258"/>
                  <a:gd name="connsiteY2" fmla="*/ 12202 h 18531"/>
                  <a:gd name="connsiteX3" fmla="*/ 10920 w 22258"/>
                  <a:gd name="connsiteY3" fmla="*/ 23 h 18531"/>
                  <a:gd name="connsiteX4" fmla="*/ 22259 w 22258"/>
                  <a:gd name="connsiteY4" fmla="*/ 8842 h 18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58" h="18531">
                    <a:moveTo>
                      <a:pt x="22259" y="8842"/>
                    </a:moveTo>
                    <a:cubicBezTo>
                      <a:pt x="17639" y="13042"/>
                      <a:pt x="14699" y="18082"/>
                      <a:pt x="10920" y="18502"/>
                    </a:cubicBezTo>
                    <a:cubicBezTo>
                      <a:pt x="7560" y="18922"/>
                      <a:pt x="3780" y="14722"/>
                      <a:pt x="0" y="12202"/>
                    </a:cubicBezTo>
                    <a:cubicBezTo>
                      <a:pt x="3360" y="8002"/>
                      <a:pt x="6720" y="3383"/>
                      <a:pt x="10920" y="23"/>
                    </a:cubicBezTo>
                    <a:cubicBezTo>
                      <a:pt x="11759" y="-397"/>
                      <a:pt x="17219" y="5063"/>
                      <a:pt x="22259" y="884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A4AEDAD7-58F5-DA26-4245-E9A39D4CBFA0}"/>
                  </a:ext>
                </a:extLst>
              </p:cNvPr>
              <p:cNvSpPr/>
              <p:nvPr/>
            </p:nvSpPr>
            <p:spPr>
              <a:xfrm>
                <a:off x="5916375" y="2497632"/>
                <a:ext cx="18565" cy="23099"/>
              </a:xfrm>
              <a:custGeom>
                <a:avLst/>
                <a:gdLst>
                  <a:gd name="connsiteX0" fmla="*/ 8906 w 18565"/>
                  <a:gd name="connsiteY0" fmla="*/ 23099 h 23099"/>
                  <a:gd name="connsiteX1" fmla="*/ 86 w 18565"/>
                  <a:gd name="connsiteY1" fmla="*/ 10919 h 23099"/>
                  <a:gd name="connsiteX2" fmla="*/ 12266 w 18565"/>
                  <a:gd name="connsiteY2" fmla="*/ 0 h 23099"/>
                  <a:gd name="connsiteX3" fmla="*/ 18565 w 18565"/>
                  <a:gd name="connsiteY3" fmla="*/ 11340 h 23099"/>
                  <a:gd name="connsiteX4" fmla="*/ 8906 w 18565"/>
                  <a:gd name="connsiteY4" fmla="*/ 23099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65" h="23099">
                    <a:moveTo>
                      <a:pt x="8906" y="23099"/>
                    </a:moveTo>
                    <a:cubicBezTo>
                      <a:pt x="4706" y="17639"/>
                      <a:pt x="-754" y="12179"/>
                      <a:pt x="86" y="10919"/>
                    </a:cubicBezTo>
                    <a:cubicBezTo>
                      <a:pt x="3026" y="6720"/>
                      <a:pt x="8066" y="3780"/>
                      <a:pt x="12266" y="0"/>
                    </a:cubicBezTo>
                    <a:cubicBezTo>
                      <a:pt x="14366" y="3780"/>
                      <a:pt x="18565" y="7980"/>
                      <a:pt x="18565" y="11340"/>
                    </a:cubicBezTo>
                    <a:cubicBezTo>
                      <a:pt x="18565" y="15119"/>
                      <a:pt x="13526" y="18059"/>
                      <a:pt x="8906" y="230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7F3D8521-16F2-7235-2DBE-3E1BBEF07E29}"/>
                  </a:ext>
                </a:extLst>
              </p:cNvPr>
              <p:cNvSpPr/>
              <p:nvPr/>
            </p:nvSpPr>
            <p:spPr>
              <a:xfrm>
                <a:off x="5906770" y="2340458"/>
                <a:ext cx="16411" cy="16900"/>
              </a:xfrm>
              <a:custGeom>
                <a:avLst/>
                <a:gdLst>
                  <a:gd name="connsiteX0" fmla="*/ 6332 w 16411"/>
                  <a:gd name="connsiteY0" fmla="*/ 16900 h 16900"/>
                  <a:gd name="connsiteX1" fmla="*/ 32 w 16411"/>
                  <a:gd name="connsiteY1" fmla="*/ 11021 h 16900"/>
                  <a:gd name="connsiteX2" fmla="*/ 6752 w 16411"/>
                  <a:gd name="connsiteY2" fmla="*/ 101 h 16900"/>
                  <a:gd name="connsiteX3" fmla="*/ 16411 w 16411"/>
                  <a:gd name="connsiteY3" fmla="*/ 5981 h 16900"/>
                  <a:gd name="connsiteX4" fmla="*/ 6332 w 16411"/>
                  <a:gd name="connsiteY4" fmla="*/ 16900 h 16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11" h="16900">
                    <a:moveTo>
                      <a:pt x="6332" y="16900"/>
                    </a:moveTo>
                    <a:cubicBezTo>
                      <a:pt x="3392" y="14380"/>
                      <a:pt x="-388" y="11860"/>
                      <a:pt x="32" y="11021"/>
                    </a:cubicBezTo>
                    <a:cubicBezTo>
                      <a:pt x="1712" y="6821"/>
                      <a:pt x="3392" y="2201"/>
                      <a:pt x="6752" y="101"/>
                    </a:cubicBezTo>
                    <a:cubicBezTo>
                      <a:pt x="8012" y="-739"/>
                      <a:pt x="13052" y="3881"/>
                      <a:pt x="16411" y="5981"/>
                    </a:cubicBezTo>
                    <a:cubicBezTo>
                      <a:pt x="13052" y="9760"/>
                      <a:pt x="9692" y="13121"/>
                      <a:pt x="6332" y="169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B8FB4ED9-7D90-0804-1EBE-125865EC632F}"/>
                  </a:ext>
                </a:extLst>
              </p:cNvPr>
              <p:cNvSpPr/>
              <p:nvPr/>
            </p:nvSpPr>
            <p:spPr>
              <a:xfrm>
                <a:off x="7546361" y="3926446"/>
                <a:ext cx="56328" cy="56903"/>
              </a:xfrm>
              <a:custGeom>
                <a:avLst/>
                <a:gdLst>
                  <a:gd name="connsiteX0" fmla="*/ 45409 w 56328"/>
                  <a:gd name="connsiteY0" fmla="*/ 6264 h 56903"/>
                  <a:gd name="connsiteX1" fmla="*/ 56328 w 56328"/>
                  <a:gd name="connsiteY1" fmla="*/ 38183 h 56903"/>
                  <a:gd name="connsiteX2" fmla="*/ 43729 w 56328"/>
                  <a:gd name="connsiteY2" fmla="*/ 45742 h 56903"/>
                  <a:gd name="connsiteX3" fmla="*/ 2991 w 56328"/>
                  <a:gd name="connsiteY3" fmla="*/ 42802 h 56903"/>
                  <a:gd name="connsiteX4" fmla="*/ 16850 w 56328"/>
                  <a:gd name="connsiteY4" fmla="*/ 804 h 56903"/>
                  <a:gd name="connsiteX5" fmla="*/ 45409 w 56328"/>
                  <a:gd name="connsiteY5" fmla="*/ 6264 h 56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328" h="56903">
                    <a:moveTo>
                      <a:pt x="45409" y="6264"/>
                    </a:moveTo>
                    <a:cubicBezTo>
                      <a:pt x="49189" y="16764"/>
                      <a:pt x="52549" y="27683"/>
                      <a:pt x="56328" y="38183"/>
                    </a:cubicBezTo>
                    <a:cubicBezTo>
                      <a:pt x="52128" y="40702"/>
                      <a:pt x="47508" y="42802"/>
                      <a:pt x="43729" y="45742"/>
                    </a:cubicBezTo>
                    <a:cubicBezTo>
                      <a:pt x="23990" y="61282"/>
                      <a:pt x="17270" y="60862"/>
                      <a:pt x="2991" y="42802"/>
                    </a:cubicBezTo>
                    <a:cubicBezTo>
                      <a:pt x="-4569" y="33143"/>
                      <a:pt x="2991" y="4584"/>
                      <a:pt x="16850" y="804"/>
                    </a:cubicBezTo>
                    <a:cubicBezTo>
                      <a:pt x="25250" y="-2136"/>
                      <a:pt x="35749" y="3744"/>
                      <a:pt x="45409" y="62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4" name="Freihandform: Form 223">
                <a:extLst>
                  <a:ext uri="{FF2B5EF4-FFF2-40B4-BE49-F238E27FC236}">
                    <a16:creationId xmlns:a16="http://schemas.microsoft.com/office/drawing/2014/main" id="{B2DF91A8-5B07-211D-1DC8-3BEC973EA01C}"/>
                  </a:ext>
                </a:extLst>
              </p:cNvPr>
              <p:cNvSpPr/>
              <p:nvPr/>
            </p:nvSpPr>
            <p:spPr>
              <a:xfrm>
                <a:off x="7511553" y="4017857"/>
                <a:ext cx="37798" cy="40576"/>
              </a:xfrm>
              <a:custGeom>
                <a:avLst/>
                <a:gdLst>
                  <a:gd name="connsiteX0" fmla="*/ 37798 w 37798"/>
                  <a:gd name="connsiteY0" fmla="*/ 5569 h 40576"/>
                  <a:gd name="connsiteX1" fmla="*/ 8820 w 37798"/>
                  <a:gd name="connsiteY1" fmla="*/ 40428 h 40576"/>
                  <a:gd name="connsiteX2" fmla="*/ 0 w 37798"/>
                  <a:gd name="connsiteY2" fmla="*/ 37068 h 40576"/>
                  <a:gd name="connsiteX3" fmla="*/ 24359 w 37798"/>
                  <a:gd name="connsiteY3" fmla="*/ 110 h 40576"/>
                  <a:gd name="connsiteX4" fmla="*/ 37798 w 37798"/>
                  <a:gd name="connsiteY4" fmla="*/ 5569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798" h="40576">
                    <a:moveTo>
                      <a:pt x="37798" y="5569"/>
                    </a:moveTo>
                    <a:cubicBezTo>
                      <a:pt x="34438" y="23628"/>
                      <a:pt x="22679" y="32868"/>
                      <a:pt x="8820" y="40428"/>
                    </a:cubicBezTo>
                    <a:cubicBezTo>
                      <a:pt x="7139" y="41268"/>
                      <a:pt x="2940" y="38328"/>
                      <a:pt x="0" y="37068"/>
                    </a:cubicBezTo>
                    <a:cubicBezTo>
                      <a:pt x="7980" y="24468"/>
                      <a:pt x="15960" y="11869"/>
                      <a:pt x="24359" y="110"/>
                    </a:cubicBezTo>
                    <a:cubicBezTo>
                      <a:pt x="25199" y="-730"/>
                      <a:pt x="32759" y="3469"/>
                      <a:pt x="37798" y="556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1E33BFB4-4809-E7CA-1E79-970D0CB2F49A}"/>
                  </a:ext>
                </a:extLst>
              </p:cNvPr>
              <p:cNvSpPr/>
              <p:nvPr/>
            </p:nvSpPr>
            <p:spPr>
              <a:xfrm>
                <a:off x="7724433" y="4655466"/>
                <a:ext cx="139904" cy="143679"/>
              </a:xfrm>
              <a:custGeom>
                <a:avLst/>
                <a:gdLst>
                  <a:gd name="connsiteX0" fmla="*/ 139904 w 139904"/>
                  <a:gd name="connsiteY0" fmla="*/ 44971 h 143679"/>
                  <a:gd name="connsiteX1" fmla="*/ 48348 w 139904"/>
                  <a:gd name="connsiteY1" fmla="*/ 143667 h 143679"/>
                  <a:gd name="connsiteX2" fmla="*/ 1310 w 139904"/>
                  <a:gd name="connsiteY2" fmla="*/ 116368 h 143679"/>
                  <a:gd name="connsiteX3" fmla="*/ 3830 w 139904"/>
                  <a:gd name="connsiteY3" fmla="*/ 93689 h 143679"/>
                  <a:gd name="connsiteX4" fmla="*/ 51288 w 139904"/>
                  <a:gd name="connsiteY4" fmla="*/ 71850 h 143679"/>
                  <a:gd name="connsiteX5" fmla="*/ 76487 w 139904"/>
                  <a:gd name="connsiteY5" fmla="*/ 51691 h 143679"/>
                  <a:gd name="connsiteX6" fmla="*/ 76067 w 139904"/>
                  <a:gd name="connsiteY6" fmla="*/ 41192 h 143679"/>
                  <a:gd name="connsiteX7" fmla="*/ 98326 w 139904"/>
                  <a:gd name="connsiteY7" fmla="*/ 33 h 143679"/>
                  <a:gd name="connsiteX8" fmla="*/ 139904 w 139904"/>
                  <a:gd name="connsiteY8" fmla="*/ 44971 h 143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904" h="143679">
                    <a:moveTo>
                      <a:pt x="139904" y="44971"/>
                    </a:moveTo>
                    <a:cubicBezTo>
                      <a:pt x="139904" y="86549"/>
                      <a:pt x="89087" y="142827"/>
                      <a:pt x="48348" y="143667"/>
                    </a:cubicBezTo>
                    <a:cubicBezTo>
                      <a:pt x="29029" y="144087"/>
                      <a:pt x="10970" y="134008"/>
                      <a:pt x="1310" y="116368"/>
                    </a:cubicBezTo>
                    <a:cubicBezTo>
                      <a:pt x="-1629" y="110909"/>
                      <a:pt x="890" y="100409"/>
                      <a:pt x="3830" y="93689"/>
                    </a:cubicBezTo>
                    <a:cubicBezTo>
                      <a:pt x="16849" y="62611"/>
                      <a:pt x="17270" y="62611"/>
                      <a:pt x="51288" y="71850"/>
                    </a:cubicBezTo>
                    <a:cubicBezTo>
                      <a:pt x="69347" y="76470"/>
                      <a:pt x="75227" y="71850"/>
                      <a:pt x="76487" y="51691"/>
                    </a:cubicBezTo>
                    <a:cubicBezTo>
                      <a:pt x="76487" y="48331"/>
                      <a:pt x="76067" y="44551"/>
                      <a:pt x="76067" y="41192"/>
                    </a:cubicBezTo>
                    <a:cubicBezTo>
                      <a:pt x="77747" y="14313"/>
                      <a:pt x="86147" y="-807"/>
                      <a:pt x="98326" y="33"/>
                    </a:cubicBezTo>
                    <a:cubicBezTo>
                      <a:pt x="120165" y="2133"/>
                      <a:pt x="139904" y="23552"/>
                      <a:pt x="139904" y="4497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C1E3690B-84B2-BD34-02F9-8F57BDE03F85}"/>
                  </a:ext>
                </a:extLst>
              </p:cNvPr>
              <p:cNvSpPr/>
              <p:nvPr/>
            </p:nvSpPr>
            <p:spPr>
              <a:xfrm>
                <a:off x="7843284" y="5139160"/>
                <a:ext cx="139068" cy="133292"/>
              </a:xfrm>
              <a:custGeom>
                <a:avLst/>
                <a:gdLst>
                  <a:gd name="connsiteX0" fmla="*/ 139069 w 139068"/>
                  <a:gd name="connsiteY0" fmla="*/ 84155 h 133292"/>
                  <a:gd name="connsiteX1" fmla="*/ 128149 w 139068"/>
                  <a:gd name="connsiteY1" fmla="*/ 108094 h 133292"/>
                  <a:gd name="connsiteX2" fmla="*/ 105470 w 139068"/>
                  <a:gd name="connsiteY2" fmla="*/ 133293 h 133292"/>
                  <a:gd name="connsiteX3" fmla="*/ 82791 w 139068"/>
                  <a:gd name="connsiteY3" fmla="*/ 108514 h 133292"/>
                  <a:gd name="connsiteX4" fmla="*/ 67252 w 139068"/>
                  <a:gd name="connsiteY4" fmla="*/ 81635 h 133292"/>
                  <a:gd name="connsiteX5" fmla="*/ 24834 w 139068"/>
                  <a:gd name="connsiteY5" fmla="*/ 69876 h 133292"/>
                  <a:gd name="connsiteX6" fmla="*/ 2575 w 139068"/>
                  <a:gd name="connsiteY6" fmla="*/ 64416 h 133292"/>
                  <a:gd name="connsiteX7" fmla="*/ 2155 w 139068"/>
                  <a:gd name="connsiteY7" fmla="*/ 45516 h 133292"/>
                  <a:gd name="connsiteX8" fmla="*/ 33654 w 139068"/>
                  <a:gd name="connsiteY8" fmla="*/ 6458 h 133292"/>
                  <a:gd name="connsiteX9" fmla="*/ 81112 w 139068"/>
                  <a:gd name="connsiteY9" fmla="*/ 8978 h 133292"/>
                  <a:gd name="connsiteX10" fmla="*/ 128569 w 139068"/>
                  <a:gd name="connsiteY10" fmla="*/ 55176 h 133292"/>
                  <a:gd name="connsiteX11" fmla="*/ 139069 w 139068"/>
                  <a:gd name="connsiteY11" fmla="*/ 84155 h 13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9068" h="133292">
                    <a:moveTo>
                      <a:pt x="139069" y="84155"/>
                    </a:moveTo>
                    <a:cubicBezTo>
                      <a:pt x="135289" y="92975"/>
                      <a:pt x="132769" y="101374"/>
                      <a:pt x="128149" y="108094"/>
                    </a:cubicBezTo>
                    <a:cubicBezTo>
                      <a:pt x="121430" y="117333"/>
                      <a:pt x="113030" y="124893"/>
                      <a:pt x="105470" y="133293"/>
                    </a:cubicBezTo>
                    <a:cubicBezTo>
                      <a:pt x="97911" y="125313"/>
                      <a:pt x="89511" y="117753"/>
                      <a:pt x="82791" y="108514"/>
                    </a:cubicBezTo>
                    <a:cubicBezTo>
                      <a:pt x="76491" y="100114"/>
                      <a:pt x="73552" y="89614"/>
                      <a:pt x="67252" y="81635"/>
                    </a:cubicBezTo>
                    <a:cubicBezTo>
                      <a:pt x="56333" y="68196"/>
                      <a:pt x="45413" y="53496"/>
                      <a:pt x="24834" y="69876"/>
                    </a:cubicBezTo>
                    <a:cubicBezTo>
                      <a:pt x="20634" y="72815"/>
                      <a:pt x="8035" y="69035"/>
                      <a:pt x="2575" y="64416"/>
                    </a:cubicBezTo>
                    <a:cubicBezTo>
                      <a:pt x="-785" y="61896"/>
                      <a:pt x="-785" y="50136"/>
                      <a:pt x="2155" y="45516"/>
                    </a:cubicBezTo>
                    <a:cubicBezTo>
                      <a:pt x="10974" y="31657"/>
                      <a:pt x="14334" y="14438"/>
                      <a:pt x="33654" y="6458"/>
                    </a:cubicBezTo>
                    <a:cubicBezTo>
                      <a:pt x="51713" y="-1102"/>
                      <a:pt x="64732" y="-4042"/>
                      <a:pt x="81112" y="8978"/>
                    </a:cubicBezTo>
                    <a:cubicBezTo>
                      <a:pt x="98331" y="23257"/>
                      <a:pt x="120170" y="32077"/>
                      <a:pt x="128569" y="55176"/>
                    </a:cubicBezTo>
                    <a:cubicBezTo>
                      <a:pt x="131510" y="65255"/>
                      <a:pt x="135289" y="74495"/>
                      <a:pt x="139069" y="841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3E252C71-7559-9EE1-E989-4906D95E060E}"/>
                  </a:ext>
                </a:extLst>
              </p:cNvPr>
              <p:cNvSpPr/>
              <p:nvPr/>
            </p:nvSpPr>
            <p:spPr>
              <a:xfrm>
                <a:off x="7895296" y="4931294"/>
                <a:ext cx="148324" cy="133034"/>
              </a:xfrm>
              <a:custGeom>
                <a:avLst/>
                <a:gdLst>
                  <a:gd name="connsiteX0" fmla="*/ 37079 w 148324"/>
                  <a:gd name="connsiteY0" fmla="*/ 132848 h 133034"/>
                  <a:gd name="connsiteX1" fmla="*/ 16080 w 148324"/>
                  <a:gd name="connsiteY1" fmla="*/ 132848 h 133034"/>
                  <a:gd name="connsiteX2" fmla="*/ 541 w 148324"/>
                  <a:gd name="connsiteY2" fmla="*/ 111008 h 133034"/>
                  <a:gd name="connsiteX3" fmla="*/ 11880 w 148324"/>
                  <a:gd name="connsiteY3" fmla="*/ 76990 h 133034"/>
                  <a:gd name="connsiteX4" fmla="*/ 40439 w 148324"/>
                  <a:gd name="connsiteY4" fmla="*/ 68590 h 133034"/>
                  <a:gd name="connsiteX5" fmla="*/ 94197 w 148324"/>
                  <a:gd name="connsiteY5" fmla="*/ 45911 h 133034"/>
                  <a:gd name="connsiteX6" fmla="*/ 106796 w 148324"/>
                  <a:gd name="connsiteY6" fmla="*/ 12312 h 133034"/>
                  <a:gd name="connsiteX7" fmla="*/ 121496 w 148324"/>
                  <a:gd name="connsiteY7" fmla="*/ 133 h 133034"/>
                  <a:gd name="connsiteX8" fmla="*/ 145434 w 148324"/>
                  <a:gd name="connsiteY8" fmla="*/ 17352 h 133034"/>
                  <a:gd name="connsiteX9" fmla="*/ 147114 w 148324"/>
                  <a:gd name="connsiteY9" fmla="*/ 42551 h 133034"/>
                  <a:gd name="connsiteX10" fmla="*/ 37079 w 148324"/>
                  <a:gd name="connsiteY10" fmla="*/ 132848 h 133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8324" h="133034">
                    <a:moveTo>
                      <a:pt x="37079" y="132848"/>
                    </a:moveTo>
                    <a:cubicBezTo>
                      <a:pt x="29939" y="132848"/>
                      <a:pt x="23220" y="133267"/>
                      <a:pt x="16080" y="132848"/>
                    </a:cubicBezTo>
                    <a:cubicBezTo>
                      <a:pt x="2221" y="132007"/>
                      <a:pt x="-1559" y="121928"/>
                      <a:pt x="541" y="111008"/>
                    </a:cubicBezTo>
                    <a:cubicBezTo>
                      <a:pt x="2640" y="99249"/>
                      <a:pt x="6840" y="87909"/>
                      <a:pt x="11880" y="76990"/>
                    </a:cubicBezTo>
                    <a:cubicBezTo>
                      <a:pt x="17760" y="63970"/>
                      <a:pt x="26579" y="62290"/>
                      <a:pt x="40439" y="68590"/>
                    </a:cubicBezTo>
                    <a:cubicBezTo>
                      <a:pt x="69838" y="82450"/>
                      <a:pt x="82437" y="76150"/>
                      <a:pt x="94197" y="45911"/>
                    </a:cubicBezTo>
                    <a:cubicBezTo>
                      <a:pt x="98397" y="34572"/>
                      <a:pt x="101336" y="22812"/>
                      <a:pt x="106796" y="12312"/>
                    </a:cubicBezTo>
                    <a:cubicBezTo>
                      <a:pt x="109736" y="6853"/>
                      <a:pt x="118555" y="-1127"/>
                      <a:pt x="121496" y="133"/>
                    </a:cubicBezTo>
                    <a:cubicBezTo>
                      <a:pt x="130735" y="3493"/>
                      <a:pt x="140395" y="9373"/>
                      <a:pt x="145434" y="17352"/>
                    </a:cubicBezTo>
                    <a:cubicBezTo>
                      <a:pt x="149634" y="23652"/>
                      <a:pt x="148374" y="34572"/>
                      <a:pt x="147114" y="42551"/>
                    </a:cubicBezTo>
                    <a:cubicBezTo>
                      <a:pt x="137874" y="95889"/>
                      <a:pt x="90837" y="133687"/>
                      <a:pt x="37079" y="13284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58814093-F519-E98F-28F0-FF195915532B}"/>
                  </a:ext>
                </a:extLst>
              </p:cNvPr>
              <p:cNvSpPr/>
              <p:nvPr/>
            </p:nvSpPr>
            <p:spPr>
              <a:xfrm>
                <a:off x="8191780" y="4488671"/>
                <a:ext cx="153875" cy="114330"/>
              </a:xfrm>
              <a:custGeom>
                <a:avLst/>
                <a:gdLst>
                  <a:gd name="connsiteX0" fmla="*/ 43822 w 153875"/>
                  <a:gd name="connsiteY0" fmla="*/ 114330 h 114330"/>
                  <a:gd name="connsiteX1" fmla="*/ 21143 w 153875"/>
                  <a:gd name="connsiteY1" fmla="*/ 108870 h 114330"/>
                  <a:gd name="connsiteX2" fmla="*/ 144 w 153875"/>
                  <a:gd name="connsiteY2" fmla="*/ 82832 h 114330"/>
                  <a:gd name="connsiteX3" fmla="*/ 23662 w 153875"/>
                  <a:gd name="connsiteY3" fmla="*/ 45033 h 114330"/>
                  <a:gd name="connsiteX4" fmla="*/ 46342 w 153875"/>
                  <a:gd name="connsiteY4" fmla="*/ 50073 h 114330"/>
                  <a:gd name="connsiteX5" fmla="*/ 100519 w 153875"/>
                  <a:gd name="connsiteY5" fmla="*/ 31594 h 114330"/>
                  <a:gd name="connsiteX6" fmla="*/ 110599 w 153875"/>
                  <a:gd name="connsiteY6" fmla="*/ 8915 h 114330"/>
                  <a:gd name="connsiteX7" fmla="*/ 137477 w 153875"/>
                  <a:gd name="connsiteY7" fmla="*/ 515 h 114330"/>
                  <a:gd name="connsiteX8" fmla="*/ 153437 w 153875"/>
                  <a:gd name="connsiteY8" fmla="*/ 29494 h 114330"/>
                  <a:gd name="connsiteX9" fmla="*/ 43822 w 153875"/>
                  <a:gd name="connsiteY9" fmla="*/ 114330 h 1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3875" h="114330">
                    <a:moveTo>
                      <a:pt x="43822" y="114330"/>
                    </a:moveTo>
                    <a:cubicBezTo>
                      <a:pt x="40462" y="113491"/>
                      <a:pt x="28702" y="114330"/>
                      <a:pt x="21143" y="108870"/>
                    </a:cubicBezTo>
                    <a:cubicBezTo>
                      <a:pt x="11903" y="102571"/>
                      <a:pt x="-1537" y="89971"/>
                      <a:pt x="144" y="82832"/>
                    </a:cubicBezTo>
                    <a:cubicBezTo>
                      <a:pt x="3083" y="68972"/>
                      <a:pt x="13583" y="55953"/>
                      <a:pt x="23662" y="45033"/>
                    </a:cubicBezTo>
                    <a:cubicBezTo>
                      <a:pt x="26182" y="42094"/>
                      <a:pt x="38782" y="47133"/>
                      <a:pt x="46342" y="50073"/>
                    </a:cubicBezTo>
                    <a:cubicBezTo>
                      <a:pt x="71960" y="59313"/>
                      <a:pt x="88340" y="54693"/>
                      <a:pt x="100519" y="31594"/>
                    </a:cubicBezTo>
                    <a:cubicBezTo>
                      <a:pt x="104719" y="24034"/>
                      <a:pt x="104719" y="13535"/>
                      <a:pt x="110599" y="8915"/>
                    </a:cubicBezTo>
                    <a:cubicBezTo>
                      <a:pt x="117738" y="3035"/>
                      <a:pt x="129498" y="-1585"/>
                      <a:pt x="137477" y="515"/>
                    </a:cubicBezTo>
                    <a:cubicBezTo>
                      <a:pt x="150077" y="3455"/>
                      <a:pt x="155537" y="15635"/>
                      <a:pt x="153437" y="29494"/>
                    </a:cubicBezTo>
                    <a:cubicBezTo>
                      <a:pt x="145457" y="74852"/>
                      <a:pt x="98839" y="113491"/>
                      <a:pt x="43822" y="1143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9FB0FD37-80CD-1E4A-D918-99C2A24E7804}"/>
                  </a:ext>
                </a:extLst>
              </p:cNvPr>
              <p:cNvSpPr/>
              <p:nvPr/>
            </p:nvSpPr>
            <p:spPr>
              <a:xfrm>
                <a:off x="7748750" y="4977625"/>
                <a:ext cx="73163" cy="155923"/>
              </a:xfrm>
              <a:custGeom>
                <a:avLst/>
                <a:gdLst>
                  <a:gd name="connsiteX0" fmla="*/ 35791 w 73163"/>
                  <a:gd name="connsiteY0" fmla="*/ 0 h 155923"/>
                  <a:gd name="connsiteX1" fmla="*/ 54271 w 73163"/>
                  <a:gd name="connsiteY1" fmla="*/ 12180 h 155923"/>
                  <a:gd name="connsiteX2" fmla="*/ 72750 w 73163"/>
                  <a:gd name="connsiteY2" fmla="*/ 69297 h 155923"/>
                  <a:gd name="connsiteX3" fmla="*/ 34111 w 73163"/>
                  <a:gd name="connsiteY3" fmla="*/ 151194 h 155923"/>
                  <a:gd name="connsiteX4" fmla="*/ 11853 w 73163"/>
                  <a:gd name="connsiteY4" fmla="*/ 154554 h 155923"/>
                  <a:gd name="connsiteX5" fmla="*/ 93 w 73163"/>
                  <a:gd name="connsiteY5" fmla="*/ 133554 h 155923"/>
                  <a:gd name="connsiteX6" fmla="*/ 7653 w 73163"/>
                  <a:gd name="connsiteY6" fmla="*/ 115075 h 155923"/>
                  <a:gd name="connsiteX7" fmla="*/ 12692 w 73163"/>
                  <a:gd name="connsiteY7" fmla="*/ 57538 h 155923"/>
                  <a:gd name="connsiteX8" fmla="*/ 21512 w 73163"/>
                  <a:gd name="connsiteY8" fmla="*/ 14279 h 155923"/>
                  <a:gd name="connsiteX9" fmla="*/ 35791 w 73163"/>
                  <a:gd name="connsiteY9" fmla="*/ 0 h 155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163" h="155923">
                    <a:moveTo>
                      <a:pt x="35791" y="0"/>
                    </a:moveTo>
                    <a:cubicBezTo>
                      <a:pt x="43351" y="5040"/>
                      <a:pt x="52171" y="7140"/>
                      <a:pt x="54271" y="12180"/>
                    </a:cubicBezTo>
                    <a:cubicBezTo>
                      <a:pt x="62250" y="30659"/>
                      <a:pt x="75690" y="51658"/>
                      <a:pt x="72750" y="69297"/>
                    </a:cubicBezTo>
                    <a:cubicBezTo>
                      <a:pt x="68130" y="98696"/>
                      <a:pt x="59730" y="130194"/>
                      <a:pt x="34111" y="151194"/>
                    </a:cubicBezTo>
                    <a:cubicBezTo>
                      <a:pt x="29072" y="155393"/>
                      <a:pt x="17312" y="157493"/>
                      <a:pt x="11853" y="154554"/>
                    </a:cubicBezTo>
                    <a:cubicBezTo>
                      <a:pt x="5553" y="151194"/>
                      <a:pt x="1353" y="141114"/>
                      <a:pt x="93" y="133554"/>
                    </a:cubicBezTo>
                    <a:cubicBezTo>
                      <a:pt x="-747" y="127675"/>
                      <a:pt x="4293" y="120955"/>
                      <a:pt x="7653" y="115075"/>
                    </a:cubicBezTo>
                    <a:cubicBezTo>
                      <a:pt x="16472" y="96596"/>
                      <a:pt x="26552" y="79797"/>
                      <a:pt x="12692" y="57538"/>
                    </a:cubicBezTo>
                    <a:cubicBezTo>
                      <a:pt x="4293" y="44518"/>
                      <a:pt x="11012" y="26879"/>
                      <a:pt x="21512" y="14279"/>
                    </a:cubicBezTo>
                    <a:cubicBezTo>
                      <a:pt x="24872" y="8820"/>
                      <a:pt x="30331" y="5040"/>
                      <a:pt x="3579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EBB93EC8-7E44-0F2E-7E67-0C3697ED8470}"/>
                  </a:ext>
                </a:extLst>
              </p:cNvPr>
              <p:cNvSpPr/>
              <p:nvPr/>
            </p:nvSpPr>
            <p:spPr>
              <a:xfrm>
                <a:off x="7814165" y="4521083"/>
                <a:ext cx="134169" cy="121138"/>
              </a:xfrm>
              <a:custGeom>
                <a:avLst/>
                <a:gdLst>
                  <a:gd name="connsiteX0" fmla="*/ 134169 w 134169"/>
                  <a:gd name="connsiteY0" fmla="*/ 15981 h 121138"/>
                  <a:gd name="connsiteX1" fmla="*/ 119050 w 134169"/>
                  <a:gd name="connsiteY1" fmla="*/ 56300 h 121138"/>
                  <a:gd name="connsiteX2" fmla="*/ 54793 w 134169"/>
                  <a:gd name="connsiteY2" fmla="*/ 114677 h 121138"/>
                  <a:gd name="connsiteX3" fmla="*/ 40934 w 134169"/>
                  <a:gd name="connsiteY3" fmla="*/ 120977 h 121138"/>
                  <a:gd name="connsiteX4" fmla="*/ 195 w 134169"/>
                  <a:gd name="connsiteY4" fmla="*/ 95778 h 121138"/>
                  <a:gd name="connsiteX5" fmla="*/ 22034 w 134169"/>
                  <a:gd name="connsiteY5" fmla="*/ 64279 h 121138"/>
                  <a:gd name="connsiteX6" fmla="*/ 99311 w 134169"/>
                  <a:gd name="connsiteY6" fmla="*/ 6322 h 121138"/>
                  <a:gd name="connsiteX7" fmla="*/ 116530 w 134169"/>
                  <a:gd name="connsiteY7" fmla="*/ 442 h 121138"/>
                  <a:gd name="connsiteX8" fmla="*/ 134169 w 134169"/>
                  <a:gd name="connsiteY8" fmla="*/ 15981 h 121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4169" h="121138">
                    <a:moveTo>
                      <a:pt x="134169" y="15981"/>
                    </a:moveTo>
                    <a:cubicBezTo>
                      <a:pt x="128709" y="31521"/>
                      <a:pt x="127450" y="47480"/>
                      <a:pt x="119050" y="56300"/>
                    </a:cubicBezTo>
                    <a:cubicBezTo>
                      <a:pt x="99731" y="77299"/>
                      <a:pt x="76632" y="95778"/>
                      <a:pt x="54793" y="114677"/>
                    </a:cubicBezTo>
                    <a:cubicBezTo>
                      <a:pt x="51013" y="118037"/>
                      <a:pt x="45973" y="120557"/>
                      <a:pt x="40934" y="120977"/>
                    </a:cubicBezTo>
                    <a:cubicBezTo>
                      <a:pt x="28334" y="123077"/>
                      <a:pt x="-2745" y="104178"/>
                      <a:pt x="195" y="95778"/>
                    </a:cubicBezTo>
                    <a:cubicBezTo>
                      <a:pt x="4395" y="83598"/>
                      <a:pt x="14055" y="64699"/>
                      <a:pt x="22034" y="64279"/>
                    </a:cubicBezTo>
                    <a:cubicBezTo>
                      <a:pt x="62353" y="62179"/>
                      <a:pt x="82511" y="37820"/>
                      <a:pt x="99311" y="6322"/>
                    </a:cubicBezTo>
                    <a:cubicBezTo>
                      <a:pt x="101411" y="2122"/>
                      <a:pt x="112330" y="-1238"/>
                      <a:pt x="116530" y="442"/>
                    </a:cubicBezTo>
                    <a:cubicBezTo>
                      <a:pt x="123670" y="3802"/>
                      <a:pt x="129130" y="11361"/>
                      <a:pt x="134169" y="1598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A18EA700-C506-6E53-7238-76167FF69D43}"/>
                  </a:ext>
                </a:extLst>
              </p:cNvPr>
              <p:cNvSpPr/>
              <p:nvPr/>
            </p:nvSpPr>
            <p:spPr>
              <a:xfrm>
                <a:off x="8017757" y="4529578"/>
                <a:ext cx="116371" cy="82242"/>
              </a:xfrm>
              <a:custGeom>
                <a:avLst/>
                <a:gdLst>
                  <a:gd name="connsiteX0" fmla="*/ 56151 w 116371"/>
                  <a:gd name="connsiteY0" fmla="*/ 82243 h 82242"/>
                  <a:gd name="connsiteX1" fmla="*/ 12893 w 116371"/>
                  <a:gd name="connsiteY1" fmla="*/ 66704 h 82242"/>
                  <a:gd name="connsiteX2" fmla="*/ 16253 w 116371"/>
                  <a:gd name="connsiteY2" fmla="*/ 5386 h 82242"/>
                  <a:gd name="connsiteX3" fmla="*/ 38932 w 116371"/>
                  <a:gd name="connsiteY3" fmla="*/ 7906 h 82242"/>
                  <a:gd name="connsiteX4" fmla="*/ 79250 w 116371"/>
                  <a:gd name="connsiteY4" fmla="*/ 5806 h 82242"/>
                  <a:gd name="connsiteX5" fmla="*/ 111589 w 116371"/>
                  <a:gd name="connsiteY5" fmla="*/ 9586 h 82242"/>
                  <a:gd name="connsiteX6" fmla="*/ 109489 w 116371"/>
                  <a:gd name="connsiteY6" fmla="*/ 37305 h 82242"/>
                  <a:gd name="connsiteX7" fmla="*/ 56151 w 116371"/>
                  <a:gd name="connsiteY7" fmla="*/ 82243 h 82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371" h="82242">
                    <a:moveTo>
                      <a:pt x="56151" y="82243"/>
                    </a:moveTo>
                    <a:cubicBezTo>
                      <a:pt x="41452" y="77203"/>
                      <a:pt x="25493" y="74683"/>
                      <a:pt x="12893" y="66704"/>
                    </a:cubicBezTo>
                    <a:cubicBezTo>
                      <a:pt x="-6006" y="54524"/>
                      <a:pt x="-3486" y="17986"/>
                      <a:pt x="16253" y="5386"/>
                    </a:cubicBezTo>
                    <a:cubicBezTo>
                      <a:pt x="21293" y="2026"/>
                      <a:pt x="32633" y="4546"/>
                      <a:pt x="38932" y="7906"/>
                    </a:cubicBezTo>
                    <a:cubicBezTo>
                      <a:pt x="53211" y="15046"/>
                      <a:pt x="64971" y="21345"/>
                      <a:pt x="79250" y="5806"/>
                    </a:cubicBezTo>
                    <a:cubicBezTo>
                      <a:pt x="88490" y="-4273"/>
                      <a:pt x="101930" y="-74"/>
                      <a:pt x="111589" y="9586"/>
                    </a:cubicBezTo>
                    <a:cubicBezTo>
                      <a:pt x="121669" y="19665"/>
                      <a:pt x="113269" y="28065"/>
                      <a:pt x="109489" y="37305"/>
                    </a:cubicBezTo>
                    <a:cubicBezTo>
                      <a:pt x="99830" y="62504"/>
                      <a:pt x="80931" y="75523"/>
                      <a:pt x="56151" y="8224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9DF69E17-D5BD-7F81-3BD1-424E5F18F26D}"/>
                  </a:ext>
                </a:extLst>
              </p:cNvPr>
              <p:cNvSpPr/>
              <p:nvPr/>
            </p:nvSpPr>
            <p:spPr>
              <a:xfrm>
                <a:off x="8470732" y="4656339"/>
                <a:ext cx="83213" cy="94253"/>
              </a:xfrm>
              <a:custGeom>
                <a:avLst/>
                <a:gdLst>
                  <a:gd name="connsiteX0" fmla="*/ 34078 w 83213"/>
                  <a:gd name="connsiteY0" fmla="*/ 0 h 94253"/>
                  <a:gd name="connsiteX1" fmla="*/ 43318 w 83213"/>
                  <a:gd name="connsiteY1" fmla="*/ 9660 h 94253"/>
                  <a:gd name="connsiteX2" fmla="*/ 65157 w 83213"/>
                  <a:gd name="connsiteY2" fmla="*/ 30239 h 94253"/>
                  <a:gd name="connsiteX3" fmla="*/ 70617 w 83213"/>
                  <a:gd name="connsiteY3" fmla="*/ 73497 h 94253"/>
                  <a:gd name="connsiteX4" fmla="*/ 39118 w 83213"/>
                  <a:gd name="connsiteY4" fmla="*/ 94076 h 94253"/>
                  <a:gd name="connsiteX5" fmla="*/ 3840 w 83213"/>
                  <a:gd name="connsiteY5" fmla="*/ 67197 h 94253"/>
                  <a:gd name="connsiteX6" fmla="*/ 23159 w 83213"/>
                  <a:gd name="connsiteY6" fmla="*/ 2940 h 94253"/>
                  <a:gd name="connsiteX7" fmla="*/ 34078 w 83213"/>
                  <a:gd name="connsiteY7" fmla="*/ 0 h 9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213" h="94253">
                    <a:moveTo>
                      <a:pt x="34078" y="0"/>
                    </a:moveTo>
                    <a:cubicBezTo>
                      <a:pt x="36598" y="2940"/>
                      <a:pt x="39958" y="6720"/>
                      <a:pt x="43318" y="9660"/>
                    </a:cubicBezTo>
                    <a:cubicBezTo>
                      <a:pt x="50458" y="16799"/>
                      <a:pt x="57177" y="23939"/>
                      <a:pt x="65157" y="30239"/>
                    </a:cubicBezTo>
                    <a:cubicBezTo>
                      <a:pt x="88676" y="47878"/>
                      <a:pt x="87836" y="47458"/>
                      <a:pt x="70617" y="73497"/>
                    </a:cubicBezTo>
                    <a:cubicBezTo>
                      <a:pt x="62637" y="85257"/>
                      <a:pt x="55917" y="95756"/>
                      <a:pt x="39118" y="94076"/>
                    </a:cubicBezTo>
                    <a:cubicBezTo>
                      <a:pt x="21059" y="92396"/>
                      <a:pt x="10979" y="80217"/>
                      <a:pt x="3840" y="67197"/>
                    </a:cubicBezTo>
                    <a:cubicBezTo>
                      <a:pt x="-6240" y="48718"/>
                      <a:pt x="4680" y="16379"/>
                      <a:pt x="23159" y="2940"/>
                    </a:cubicBezTo>
                    <a:cubicBezTo>
                      <a:pt x="25259" y="1260"/>
                      <a:pt x="29039" y="1260"/>
                      <a:pt x="34078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69BA9804-C7B1-63DE-8EDC-FFDE633DA356}"/>
                  </a:ext>
                </a:extLst>
              </p:cNvPr>
              <p:cNvSpPr/>
              <p:nvPr/>
            </p:nvSpPr>
            <p:spPr>
              <a:xfrm>
                <a:off x="7686664" y="4856203"/>
                <a:ext cx="52684" cy="107853"/>
              </a:xfrm>
              <a:custGeom>
                <a:avLst/>
                <a:gdLst>
                  <a:gd name="connsiteX0" fmla="*/ 51679 w 52684"/>
                  <a:gd name="connsiteY0" fmla="*/ 45405 h 107853"/>
                  <a:gd name="connsiteX1" fmla="*/ 28160 w 52684"/>
                  <a:gd name="connsiteY1" fmla="*/ 103363 h 107853"/>
                  <a:gd name="connsiteX2" fmla="*/ 10521 w 52684"/>
                  <a:gd name="connsiteY2" fmla="*/ 107143 h 107853"/>
                  <a:gd name="connsiteX3" fmla="*/ 21 w 52684"/>
                  <a:gd name="connsiteY3" fmla="*/ 91603 h 107853"/>
                  <a:gd name="connsiteX4" fmla="*/ 11361 w 52684"/>
                  <a:gd name="connsiteY4" fmla="*/ 17267 h 107853"/>
                  <a:gd name="connsiteX5" fmla="*/ 32360 w 52684"/>
                  <a:gd name="connsiteY5" fmla="*/ 47 h 107853"/>
                  <a:gd name="connsiteX6" fmla="*/ 51259 w 52684"/>
                  <a:gd name="connsiteY6" fmla="*/ 20206 h 107853"/>
                  <a:gd name="connsiteX7" fmla="*/ 51679 w 52684"/>
                  <a:gd name="connsiteY7" fmla="*/ 45405 h 107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684" h="107853">
                    <a:moveTo>
                      <a:pt x="51679" y="45405"/>
                    </a:moveTo>
                    <a:cubicBezTo>
                      <a:pt x="53359" y="68504"/>
                      <a:pt x="49579" y="89923"/>
                      <a:pt x="28160" y="103363"/>
                    </a:cubicBezTo>
                    <a:cubicBezTo>
                      <a:pt x="23120" y="106303"/>
                      <a:pt x="14721" y="109243"/>
                      <a:pt x="10521" y="107143"/>
                    </a:cubicBezTo>
                    <a:cubicBezTo>
                      <a:pt x="5481" y="104623"/>
                      <a:pt x="-399" y="96643"/>
                      <a:pt x="21" y="91603"/>
                    </a:cubicBezTo>
                    <a:cubicBezTo>
                      <a:pt x="2542" y="66404"/>
                      <a:pt x="5481" y="41625"/>
                      <a:pt x="11361" y="17267"/>
                    </a:cubicBezTo>
                    <a:cubicBezTo>
                      <a:pt x="13041" y="9707"/>
                      <a:pt x="25641" y="-793"/>
                      <a:pt x="32360" y="47"/>
                    </a:cubicBezTo>
                    <a:cubicBezTo>
                      <a:pt x="39500" y="887"/>
                      <a:pt x="47479" y="11807"/>
                      <a:pt x="51259" y="20206"/>
                    </a:cubicBezTo>
                    <a:cubicBezTo>
                      <a:pt x="54199" y="27346"/>
                      <a:pt x="51679" y="37006"/>
                      <a:pt x="51679" y="4540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04CE91DD-8175-CB00-11A5-13416CB059A7}"/>
                  </a:ext>
                </a:extLst>
              </p:cNvPr>
              <p:cNvSpPr/>
              <p:nvPr/>
            </p:nvSpPr>
            <p:spPr>
              <a:xfrm>
                <a:off x="8136650" y="4645130"/>
                <a:ext cx="81801" cy="74206"/>
              </a:xfrm>
              <a:custGeom>
                <a:avLst/>
                <a:gdLst>
                  <a:gd name="connsiteX0" fmla="*/ 17056 w 81801"/>
                  <a:gd name="connsiteY0" fmla="*/ 74207 h 74206"/>
                  <a:gd name="connsiteX1" fmla="*/ 1516 w 81801"/>
                  <a:gd name="connsiteY1" fmla="*/ 64547 h 74206"/>
                  <a:gd name="connsiteX2" fmla="*/ 3616 w 81801"/>
                  <a:gd name="connsiteY2" fmla="*/ 45648 h 74206"/>
                  <a:gd name="connsiteX3" fmla="*/ 58634 w 81801"/>
                  <a:gd name="connsiteY3" fmla="*/ 1130 h 74206"/>
                  <a:gd name="connsiteX4" fmla="*/ 81733 w 81801"/>
                  <a:gd name="connsiteY4" fmla="*/ 21709 h 74206"/>
                  <a:gd name="connsiteX5" fmla="*/ 17056 w 81801"/>
                  <a:gd name="connsiteY5" fmla="*/ 74207 h 74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801" h="74206">
                    <a:moveTo>
                      <a:pt x="17056" y="74207"/>
                    </a:moveTo>
                    <a:cubicBezTo>
                      <a:pt x="14115" y="72527"/>
                      <a:pt x="5296" y="70427"/>
                      <a:pt x="1516" y="64547"/>
                    </a:cubicBezTo>
                    <a:cubicBezTo>
                      <a:pt x="-1424" y="60348"/>
                      <a:pt x="256" y="49008"/>
                      <a:pt x="3616" y="45648"/>
                    </a:cubicBezTo>
                    <a:cubicBezTo>
                      <a:pt x="20835" y="29689"/>
                      <a:pt x="39314" y="14569"/>
                      <a:pt x="58634" y="1130"/>
                    </a:cubicBezTo>
                    <a:cubicBezTo>
                      <a:pt x="66613" y="-4330"/>
                      <a:pt x="82992" y="11209"/>
                      <a:pt x="81733" y="21709"/>
                    </a:cubicBezTo>
                    <a:cubicBezTo>
                      <a:pt x="78373" y="50688"/>
                      <a:pt x="51074" y="74207"/>
                      <a:pt x="17056" y="7420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2C5EB5E1-8BAE-5325-741F-93A9A6BCD463}"/>
                  </a:ext>
                </a:extLst>
              </p:cNvPr>
              <p:cNvSpPr/>
              <p:nvPr/>
            </p:nvSpPr>
            <p:spPr>
              <a:xfrm>
                <a:off x="7943697" y="4788081"/>
                <a:ext cx="76410" cy="66069"/>
              </a:xfrm>
              <a:custGeom>
                <a:avLst/>
                <a:gdLst>
                  <a:gd name="connsiteX0" fmla="*/ 21016 w 76410"/>
                  <a:gd name="connsiteY0" fmla="*/ 65649 h 66069"/>
                  <a:gd name="connsiteX1" fmla="*/ 9257 w 76410"/>
                  <a:gd name="connsiteY1" fmla="*/ 63970 h 66069"/>
                  <a:gd name="connsiteX2" fmla="*/ 437 w 76410"/>
                  <a:gd name="connsiteY2" fmla="*/ 45490 h 66069"/>
                  <a:gd name="connsiteX3" fmla="*/ 22276 w 76410"/>
                  <a:gd name="connsiteY3" fmla="*/ 11472 h 66069"/>
                  <a:gd name="connsiteX4" fmla="*/ 72674 w 76410"/>
                  <a:gd name="connsiteY4" fmla="*/ 14832 h 66069"/>
                  <a:gd name="connsiteX5" fmla="*/ 76034 w 76410"/>
                  <a:gd name="connsiteY5" fmla="*/ 28691 h 66069"/>
                  <a:gd name="connsiteX6" fmla="*/ 21016 w 76410"/>
                  <a:gd name="connsiteY6" fmla="*/ 65649 h 66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410" h="66069">
                    <a:moveTo>
                      <a:pt x="21016" y="65649"/>
                    </a:moveTo>
                    <a:cubicBezTo>
                      <a:pt x="22276" y="65649"/>
                      <a:pt x="13876" y="67329"/>
                      <a:pt x="9257" y="63970"/>
                    </a:cubicBezTo>
                    <a:cubicBezTo>
                      <a:pt x="4217" y="60190"/>
                      <a:pt x="-1663" y="49690"/>
                      <a:pt x="437" y="45490"/>
                    </a:cubicBezTo>
                    <a:cubicBezTo>
                      <a:pt x="5477" y="33311"/>
                      <a:pt x="13876" y="21972"/>
                      <a:pt x="22276" y="11472"/>
                    </a:cubicBezTo>
                    <a:cubicBezTo>
                      <a:pt x="36555" y="-5327"/>
                      <a:pt x="58815" y="-3227"/>
                      <a:pt x="72674" y="14832"/>
                    </a:cubicBezTo>
                    <a:cubicBezTo>
                      <a:pt x="75194" y="18612"/>
                      <a:pt x="77294" y="24491"/>
                      <a:pt x="76034" y="28691"/>
                    </a:cubicBezTo>
                    <a:cubicBezTo>
                      <a:pt x="70994" y="51370"/>
                      <a:pt x="52515" y="65229"/>
                      <a:pt x="21016" y="6564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069810F3-44A0-4DAF-3DF4-E5FB8EA687AA}"/>
                  </a:ext>
                </a:extLst>
              </p:cNvPr>
              <p:cNvSpPr/>
              <p:nvPr/>
            </p:nvSpPr>
            <p:spPr>
              <a:xfrm>
                <a:off x="7822861" y="4855411"/>
                <a:ext cx="51556" cy="78407"/>
              </a:xfrm>
              <a:custGeom>
                <a:avLst/>
                <a:gdLst>
                  <a:gd name="connsiteX0" fmla="*/ 51556 w 51556"/>
                  <a:gd name="connsiteY0" fmla="*/ 26459 h 78407"/>
                  <a:gd name="connsiteX1" fmla="*/ 41057 w 51556"/>
                  <a:gd name="connsiteY1" fmla="*/ 52498 h 78407"/>
                  <a:gd name="connsiteX2" fmla="*/ 12918 w 51556"/>
                  <a:gd name="connsiteY2" fmla="*/ 78117 h 78407"/>
                  <a:gd name="connsiteX3" fmla="*/ 3678 w 51556"/>
                  <a:gd name="connsiteY3" fmla="*/ 33599 h 78407"/>
                  <a:gd name="connsiteX4" fmla="*/ 10398 w 51556"/>
                  <a:gd name="connsiteY4" fmla="*/ 19739 h 78407"/>
                  <a:gd name="connsiteX5" fmla="*/ 31397 w 51556"/>
                  <a:gd name="connsiteY5" fmla="*/ 0 h 78407"/>
                  <a:gd name="connsiteX6" fmla="*/ 51556 w 51556"/>
                  <a:gd name="connsiteY6" fmla="*/ 26459 h 7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556" h="78407">
                    <a:moveTo>
                      <a:pt x="51556" y="26459"/>
                    </a:moveTo>
                    <a:cubicBezTo>
                      <a:pt x="47356" y="36959"/>
                      <a:pt x="46096" y="46198"/>
                      <a:pt x="41057" y="52498"/>
                    </a:cubicBezTo>
                    <a:cubicBezTo>
                      <a:pt x="33077" y="62577"/>
                      <a:pt x="23838" y="74757"/>
                      <a:pt x="12918" y="78117"/>
                    </a:cubicBezTo>
                    <a:cubicBezTo>
                      <a:pt x="1578" y="81477"/>
                      <a:pt x="-4302" y="55018"/>
                      <a:pt x="3678" y="33599"/>
                    </a:cubicBezTo>
                    <a:cubicBezTo>
                      <a:pt x="5358" y="28979"/>
                      <a:pt x="7038" y="23519"/>
                      <a:pt x="10398" y="19739"/>
                    </a:cubicBezTo>
                    <a:cubicBezTo>
                      <a:pt x="16698" y="12599"/>
                      <a:pt x="24257" y="6720"/>
                      <a:pt x="31397" y="0"/>
                    </a:cubicBezTo>
                    <a:cubicBezTo>
                      <a:pt x="38117" y="8820"/>
                      <a:pt x="44837" y="17640"/>
                      <a:pt x="51556" y="264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D439B95C-A9D8-BABA-F27D-5C1671DCB1B8}"/>
                  </a:ext>
                </a:extLst>
              </p:cNvPr>
              <p:cNvSpPr/>
              <p:nvPr/>
            </p:nvSpPr>
            <p:spPr>
              <a:xfrm>
                <a:off x="8338679" y="4615378"/>
                <a:ext cx="51896" cy="57714"/>
              </a:xfrm>
              <a:custGeom>
                <a:avLst/>
                <a:gdLst>
                  <a:gd name="connsiteX0" fmla="*/ 51896 w 51896"/>
                  <a:gd name="connsiteY0" fmla="*/ 18283 h 57714"/>
                  <a:gd name="connsiteX1" fmla="*/ 29217 w 51896"/>
                  <a:gd name="connsiteY1" fmla="*/ 53981 h 57714"/>
                  <a:gd name="connsiteX2" fmla="*/ 11998 w 51896"/>
                  <a:gd name="connsiteY2" fmla="*/ 56501 h 57714"/>
                  <a:gd name="connsiteX3" fmla="*/ 238 w 51896"/>
                  <a:gd name="connsiteY3" fmla="*/ 36762 h 57714"/>
                  <a:gd name="connsiteX4" fmla="*/ 17037 w 51896"/>
                  <a:gd name="connsiteY4" fmla="*/ 6103 h 57714"/>
                  <a:gd name="connsiteX5" fmla="*/ 34256 w 51896"/>
                  <a:gd name="connsiteY5" fmla="*/ 643 h 57714"/>
                  <a:gd name="connsiteX6" fmla="*/ 51896 w 51896"/>
                  <a:gd name="connsiteY6" fmla="*/ 18283 h 5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896" h="57714">
                    <a:moveTo>
                      <a:pt x="51896" y="18283"/>
                    </a:moveTo>
                    <a:cubicBezTo>
                      <a:pt x="43496" y="32142"/>
                      <a:pt x="37617" y="43902"/>
                      <a:pt x="29217" y="53981"/>
                    </a:cubicBezTo>
                    <a:cubicBezTo>
                      <a:pt x="26277" y="57341"/>
                      <a:pt x="15357" y="59021"/>
                      <a:pt x="11998" y="56501"/>
                    </a:cubicBezTo>
                    <a:cubicBezTo>
                      <a:pt x="6118" y="51882"/>
                      <a:pt x="-1442" y="42642"/>
                      <a:pt x="238" y="36762"/>
                    </a:cubicBezTo>
                    <a:cubicBezTo>
                      <a:pt x="2758" y="25842"/>
                      <a:pt x="9898" y="15343"/>
                      <a:pt x="17037" y="6103"/>
                    </a:cubicBezTo>
                    <a:cubicBezTo>
                      <a:pt x="20397" y="1904"/>
                      <a:pt x="30057" y="-1457"/>
                      <a:pt x="34256" y="643"/>
                    </a:cubicBezTo>
                    <a:cubicBezTo>
                      <a:pt x="40976" y="3584"/>
                      <a:pt x="45596" y="11563"/>
                      <a:pt x="51896" y="182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DD9CC18C-F0CB-5B2C-221B-DEAD567D2CF8}"/>
                  </a:ext>
                </a:extLst>
              </p:cNvPr>
              <p:cNvSpPr/>
              <p:nvPr/>
            </p:nvSpPr>
            <p:spPr>
              <a:xfrm>
                <a:off x="8523696" y="4833572"/>
                <a:ext cx="42607" cy="52562"/>
              </a:xfrm>
              <a:custGeom>
                <a:avLst/>
                <a:gdLst>
                  <a:gd name="connsiteX0" fmla="*/ 42432 w 42607"/>
                  <a:gd name="connsiteY0" fmla="*/ 9659 h 52562"/>
                  <a:gd name="connsiteX1" fmla="*/ 17653 w 42607"/>
                  <a:gd name="connsiteY1" fmla="*/ 52498 h 52562"/>
                  <a:gd name="connsiteX2" fmla="*/ 853 w 42607"/>
                  <a:gd name="connsiteY2" fmla="*/ 37378 h 52562"/>
                  <a:gd name="connsiteX3" fmla="*/ 26052 w 42607"/>
                  <a:gd name="connsiteY3" fmla="*/ 0 h 52562"/>
                  <a:gd name="connsiteX4" fmla="*/ 42432 w 42607"/>
                  <a:gd name="connsiteY4" fmla="*/ 9659 h 5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7" h="52562">
                    <a:moveTo>
                      <a:pt x="42432" y="9659"/>
                    </a:moveTo>
                    <a:cubicBezTo>
                      <a:pt x="44112" y="36538"/>
                      <a:pt x="33612" y="53757"/>
                      <a:pt x="17653" y="52498"/>
                    </a:cubicBezTo>
                    <a:cubicBezTo>
                      <a:pt x="11353" y="52078"/>
                      <a:pt x="2114" y="43678"/>
                      <a:pt x="853" y="37378"/>
                    </a:cubicBezTo>
                    <a:cubicBezTo>
                      <a:pt x="-3346" y="17219"/>
                      <a:pt x="8413" y="420"/>
                      <a:pt x="26052" y="0"/>
                    </a:cubicBezTo>
                    <a:cubicBezTo>
                      <a:pt x="32352" y="0"/>
                      <a:pt x="38652" y="7139"/>
                      <a:pt x="42432" y="96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AB8B65A6-80D6-560F-9451-C5FE53108DD5}"/>
                  </a:ext>
                </a:extLst>
              </p:cNvPr>
              <p:cNvSpPr/>
              <p:nvPr/>
            </p:nvSpPr>
            <p:spPr>
              <a:xfrm>
                <a:off x="8400919" y="4552604"/>
                <a:ext cx="39297" cy="50397"/>
              </a:xfrm>
              <a:custGeom>
                <a:avLst/>
                <a:gdLst>
                  <a:gd name="connsiteX0" fmla="*/ 8135 w 39297"/>
                  <a:gd name="connsiteY0" fmla="*/ 50398 h 50397"/>
                  <a:gd name="connsiteX1" fmla="*/ 156 w 39297"/>
                  <a:gd name="connsiteY1" fmla="*/ 37378 h 50397"/>
                  <a:gd name="connsiteX2" fmla="*/ 16955 w 39297"/>
                  <a:gd name="connsiteY2" fmla="*/ 6720 h 50397"/>
                  <a:gd name="connsiteX3" fmla="*/ 34174 w 39297"/>
                  <a:gd name="connsiteY3" fmla="*/ 0 h 50397"/>
                  <a:gd name="connsiteX4" fmla="*/ 38794 w 39297"/>
                  <a:gd name="connsiteY4" fmla="*/ 18059 h 50397"/>
                  <a:gd name="connsiteX5" fmla="*/ 8135 w 39297"/>
                  <a:gd name="connsiteY5" fmla="*/ 50398 h 5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97" h="50397">
                    <a:moveTo>
                      <a:pt x="8135" y="50398"/>
                    </a:moveTo>
                    <a:cubicBezTo>
                      <a:pt x="5615" y="47038"/>
                      <a:pt x="-1104" y="40738"/>
                      <a:pt x="156" y="37378"/>
                    </a:cubicBezTo>
                    <a:cubicBezTo>
                      <a:pt x="3935" y="26459"/>
                      <a:pt x="9815" y="15960"/>
                      <a:pt x="16955" y="6720"/>
                    </a:cubicBezTo>
                    <a:cubicBezTo>
                      <a:pt x="20315" y="2520"/>
                      <a:pt x="28294" y="2100"/>
                      <a:pt x="34174" y="0"/>
                    </a:cubicBezTo>
                    <a:cubicBezTo>
                      <a:pt x="35854" y="6300"/>
                      <a:pt x="40894" y="14279"/>
                      <a:pt x="38794" y="18059"/>
                    </a:cubicBezTo>
                    <a:cubicBezTo>
                      <a:pt x="31655" y="29819"/>
                      <a:pt x="32914" y="49558"/>
                      <a:pt x="8135" y="5039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ECD79B1A-5435-7370-2BA3-0A383B4183C4}"/>
                  </a:ext>
                </a:extLst>
              </p:cNvPr>
              <p:cNvSpPr/>
              <p:nvPr/>
            </p:nvSpPr>
            <p:spPr>
              <a:xfrm>
                <a:off x="7961334" y="4669475"/>
                <a:ext cx="40687" cy="56581"/>
              </a:xfrm>
              <a:custGeom>
                <a:avLst/>
                <a:gdLst>
                  <a:gd name="connsiteX0" fmla="*/ 13039 w 40687"/>
                  <a:gd name="connsiteY0" fmla="*/ 56581 h 56581"/>
                  <a:gd name="connsiteX1" fmla="*/ 20 w 40687"/>
                  <a:gd name="connsiteY1" fmla="*/ 37262 h 56581"/>
                  <a:gd name="connsiteX2" fmla="*/ 9260 w 40687"/>
                  <a:gd name="connsiteY2" fmla="*/ 14163 h 56581"/>
                  <a:gd name="connsiteX3" fmla="*/ 32359 w 40687"/>
                  <a:gd name="connsiteY3" fmla="*/ 304 h 56581"/>
                  <a:gd name="connsiteX4" fmla="*/ 35718 w 40687"/>
                  <a:gd name="connsiteY4" fmla="*/ 26342 h 56581"/>
                  <a:gd name="connsiteX5" fmla="*/ 13039 w 40687"/>
                  <a:gd name="connsiteY5" fmla="*/ 56581 h 56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87" h="56581">
                    <a:moveTo>
                      <a:pt x="13039" y="56581"/>
                    </a:moveTo>
                    <a:cubicBezTo>
                      <a:pt x="5900" y="46922"/>
                      <a:pt x="-400" y="41882"/>
                      <a:pt x="20" y="37262"/>
                    </a:cubicBezTo>
                    <a:cubicBezTo>
                      <a:pt x="860" y="29283"/>
                      <a:pt x="3800" y="20043"/>
                      <a:pt x="9260" y="14163"/>
                    </a:cubicBezTo>
                    <a:cubicBezTo>
                      <a:pt x="15139" y="7443"/>
                      <a:pt x="27319" y="-1796"/>
                      <a:pt x="32359" y="304"/>
                    </a:cubicBezTo>
                    <a:cubicBezTo>
                      <a:pt x="43278" y="4504"/>
                      <a:pt x="42438" y="16683"/>
                      <a:pt x="35718" y="26342"/>
                    </a:cubicBezTo>
                    <a:cubicBezTo>
                      <a:pt x="29419" y="35582"/>
                      <a:pt x="22699" y="43982"/>
                      <a:pt x="13039" y="5658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B13D698D-C2E6-D642-570B-A68C2B5A65A3}"/>
                  </a:ext>
                </a:extLst>
              </p:cNvPr>
              <p:cNvSpPr/>
              <p:nvPr/>
            </p:nvSpPr>
            <p:spPr>
              <a:xfrm>
                <a:off x="7016673" y="2317460"/>
                <a:ext cx="38796" cy="52142"/>
              </a:xfrm>
              <a:custGeom>
                <a:avLst/>
                <a:gdLst>
                  <a:gd name="connsiteX0" fmla="*/ 29120 w 38796"/>
                  <a:gd name="connsiteY0" fmla="*/ 0 h 52142"/>
                  <a:gd name="connsiteX1" fmla="*/ 38780 w 38796"/>
                  <a:gd name="connsiteY1" fmla="*/ 11759 h 52142"/>
                  <a:gd name="connsiteX2" fmla="*/ 29120 w 38796"/>
                  <a:gd name="connsiteY2" fmla="*/ 40318 h 52142"/>
                  <a:gd name="connsiteX3" fmla="*/ 15681 w 38796"/>
                  <a:gd name="connsiteY3" fmla="*/ 52078 h 52142"/>
                  <a:gd name="connsiteX4" fmla="*/ 982 w 38796"/>
                  <a:gd name="connsiteY4" fmla="*/ 39058 h 52142"/>
                  <a:gd name="connsiteX5" fmla="*/ 29120 w 38796"/>
                  <a:gd name="connsiteY5" fmla="*/ 0 h 52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796" h="52142">
                    <a:moveTo>
                      <a:pt x="29120" y="0"/>
                    </a:moveTo>
                    <a:cubicBezTo>
                      <a:pt x="31640" y="2940"/>
                      <a:pt x="39200" y="7980"/>
                      <a:pt x="38780" y="11759"/>
                    </a:cubicBezTo>
                    <a:cubicBezTo>
                      <a:pt x="37520" y="21419"/>
                      <a:pt x="33740" y="31499"/>
                      <a:pt x="29120" y="40318"/>
                    </a:cubicBezTo>
                    <a:cubicBezTo>
                      <a:pt x="26600" y="45358"/>
                      <a:pt x="19461" y="52918"/>
                      <a:pt x="15681" y="52078"/>
                    </a:cubicBezTo>
                    <a:cubicBezTo>
                      <a:pt x="9801" y="50818"/>
                      <a:pt x="3082" y="44518"/>
                      <a:pt x="982" y="39058"/>
                    </a:cubicBezTo>
                    <a:cubicBezTo>
                      <a:pt x="-4058" y="26039"/>
                      <a:pt x="11061" y="3360"/>
                      <a:pt x="29120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</p:grpSp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A1832C-98F3-4E72-9D72-322478B42B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457973D-A73A-42C2-A3AD-25AC166B0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2" y="497218"/>
            <a:ext cx="1054800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A3B92C6-4835-1FBF-7088-609D9BCAFCB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E34FD63E-C387-536D-2DAA-C7A375C483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C9A5B0-0182-2A2B-6926-4683FA83ABA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>
                <a:solidFill>
                  <a:schemeClr val="bg1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bg1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42" name="Gerader Verbinder 241">
            <a:extLst>
              <a:ext uri="{FF2B5EF4-FFF2-40B4-BE49-F238E27FC236}">
                <a16:creationId xmlns:a16="http://schemas.microsoft.com/office/drawing/2014/main" id="{95FA4628-0F6C-B327-FB5D-9CFE20B5F4A5}"/>
              </a:ext>
            </a:extLst>
          </p:cNvPr>
          <p:cNvCxnSpPr>
            <a:cxnSpLocks/>
          </p:cNvCxnSpPr>
          <p:nvPr userDrawn="1"/>
        </p:nvCxnSpPr>
        <p:spPr>
          <a:xfrm>
            <a:off x="1085057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Textplatzhalter 8">
            <a:extLst>
              <a:ext uri="{FF2B5EF4-FFF2-40B4-BE49-F238E27FC236}">
                <a16:creationId xmlns:a16="http://schemas.microsoft.com/office/drawing/2014/main" id="{B0BEFE84-4727-808A-6F2E-A8ED739526E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  <p:sp>
        <p:nvSpPr>
          <p:cNvPr id="246" name="Textplatzhalter 4">
            <a:extLst>
              <a:ext uri="{FF2B5EF4-FFF2-40B4-BE49-F238E27FC236}">
                <a16:creationId xmlns:a16="http://schemas.microsoft.com/office/drawing/2014/main" id="{62B69BFA-4261-0285-B8D4-F8CB672D7F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76856" y="2023377"/>
            <a:ext cx="6920640" cy="3347070"/>
          </a:xfrm>
          <a:prstGeom prst="rect">
            <a:avLst/>
          </a:prstGeom>
        </p:spPr>
        <p:txBody>
          <a:bodyPr/>
          <a:lstStyle>
            <a:lvl1pPr marL="323850" indent="-323850" rtl="0">
              <a:lnSpc>
                <a:spcPct val="100000"/>
              </a:lnSpc>
              <a:spcBef>
                <a:spcPts val="900"/>
              </a:spcBef>
              <a:buSzPct val="65000"/>
              <a:buFont typeface="+mj-lt"/>
              <a:buAutoNum type="arabicPeriod"/>
              <a:tabLst/>
              <a:defRPr sz="3000">
                <a:solidFill>
                  <a:schemeClr val="bg1"/>
                </a:solidFill>
                <a:latin typeface="+mn-lt"/>
              </a:defRPr>
            </a:lvl1pPr>
            <a:lvl2pPr marL="504000" indent="-180000">
              <a:lnSpc>
                <a:spcPct val="100000"/>
              </a:lnSpc>
              <a:spcBef>
                <a:spcPts val="900"/>
              </a:spcBef>
              <a:buSzPct val="100000"/>
              <a:buFont typeface="Arial" panose="020B0604020202020204" pitchFamily="34" charset="0"/>
              <a:buChar char="•"/>
              <a:defRPr sz="1800" i="1">
                <a:solidFill>
                  <a:schemeClr val="bg1"/>
                </a:solidFill>
                <a:latin typeface="+mn-lt"/>
              </a:defRPr>
            </a:lvl2pPr>
            <a:lvl3pPr marL="504825" indent="-179388">
              <a:spcBef>
                <a:spcPts val="900"/>
              </a:spcBef>
              <a:defRPr i="1">
                <a:solidFill>
                  <a:schemeClr val="accent4"/>
                </a:solidFill>
              </a:defRPr>
            </a:lvl3pPr>
            <a:lvl4pPr marL="504000" indent="-180000">
              <a:spcBef>
                <a:spcPts val="900"/>
              </a:spcBef>
              <a:buFont typeface="Arial" panose="020B0604020202020204" pitchFamily="34" charset="0"/>
              <a:buChar char="•"/>
              <a:defRPr sz="1800" i="1"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dirty="0"/>
              <a:t>Agenda 1</a:t>
            </a:r>
          </a:p>
          <a:p>
            <a:pPr lvl="0"/>
            <a:r>
              <a:rPr lang="en-US" dirty="0"/>
              <a:t>Agenda 2</a:t>
            </a:r>
          </a:p>
          <a:p>
            <a:pPr lvl="0"/>
            <a:r>
              <a:rPr lang="en-US" dirty="0"/>
              <a:t>Agenda 3</a:t>
            </a:r>
          </a:p>
          <a:p>
            <a:pPr lvl="0"/>
            <a:r>
              <a:rPr lang="en-US" dirty="0"/>
              <a:t>Agenda 4</a:t>
            </a:r>
          </a:p>
          <a:p>
            <a:pPr lvl="0"/>
            <a:r>
              <a:rPr lang="en-US" dirty="0"/>
              <a:t>Agenda 5</a:t>
            </a:r>
          </a:p>
          <a:p>
            <a:pPr lvl="0"/>
            <a:r>
              <a:rPr lang="en-US" dirty="0"/>
              <a:t>Agenda 6</a:t>
            </a:r>
          </a:p>
        </p:txBody>
      </p:sp>
    </p:spTree>
    <p:extLst>
      <p:ext uri="{BB962C8B-B14F-4D97-AF65-F5344CB8AC3E}">
        <p14:creationId xmlns:p14="http://schemas.microsoft.com/office/powerpoint/2010/main" val="1219102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_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2D304F-3F8D-4272-ADFB-A9C379E43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137066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2D304F-3F8D-4272-ADFB-A9C379E43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5FE68BB3-259A-4C6D-9F57-D9AF30B5F0AB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A1832C-98F3-4E72-9D72-322478B42B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457973D-A73A-42C2-A3AD-25AC166B0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2" y="497218"/>
            <a:ext cx="1054800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A3B92C6-4835-1FBF-7088-609D9BCAFCB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E34FD63E-C387-536D-2DAA-C7A375C483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C9A5B0-0182-2A2B-6926-4683FA83ABA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>
                <a:solidFill>
                  <a:schemeClr val="bg1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bg1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283FAABD-62C2-231A-9DF5-218509F7547C}"/>
              </a:ext>
            </a:extLst>
          </p:cNvPr>
          <p:cNvCxnSpPr>
            <a:cxnSpLocks/>
          </p:cNvCxnSpPr>
          <p:nvPr userDrawn="1"/>
        </p:nvCxnSpPr>
        <p:spPr>
          <a:xfrm>
            <a:off x="1085057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FD9DA31-0F86-2FEC-FDEF-3C98B3B10C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289D6783-F846-2B19-DB0D-0FCC6055DE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145728" y="2048019"/>
            <a:ext cx="8986596" cy="4424288"/>
          </a:xfrm>
          <a:prstGeom prst="rect">
            <a:avLst/>
          </a:prstGeom>
        </p:spPr>
        <p:txBody>
          <a:bodyPr/>
          <a:lstStyle>
            <a:lvl1pPr marL="357188" indent="-357188" rtl="0">
              <a:lnSpc>
                <a:spcPct val="100000"/>
              </a:lnSpc>
              <a:spcBef>
                <a:spcPts val="900"/>
              </a:spcBef>
              <a:buSzPct val="65000"/>
              <a:buFont typeface="+mj-lt"/>
              <a:buAutoNum type="arabicPeriod"/>
              <a:tabLst/>
              <a:defRPr sz="2200">
                <a:solidFill>
                  <a:schemeClr val="bg1"/>
                </a:solidFill>
                <a:latin typeface="+mn-lt"/>
              </a:defRPr>
            </a:lvl1pPr>
            <a:lvl2pPr marL="540000" indent="-180000">
              <a:lnSpc>
                <a:spcPct val="100000"/>
              </a:lnSpc>
              <a:spcBef>
                <a:spcPts val="900"/>
              </a:spcBef>
              <a:buSzPct val="100000"/>
              <a:buFont typeface="Arial" panose="020B0604020202020204" pitchFamily="34" charset="0"/>
              <a:buChar char="•"/>
              <a:defRPr sz="1400" i="1">
                <a:solidFill>
                  <a:schemeClr val="bg1"/>
                </a:solidFill>
                <a:latin typeface="+mn-lt"/>
              </a:defRPr>
            </a:lvl2pPr>
            <a:lvl3pPr marL="540000" indent="-180000">
              <a:spcBef>
                <a:spcPts val="900"/>
              </a:spcBef>
              <a:defRPr sz="1400" i="1">
                <a:solidFill>
                  <a:schemeClr val="accent4"/>
                </a:solidFill>
              </a:defRPr>
            </a:lvl3pPr>
            <a:lvl4pPr marL="504000" indent="-180000">
              <a:spcBef>
                <a:spcPts val="900"/>
              </a:spcBef>
              <a:buFont typeface="Arial" panose="020B0604020202020204" pitchFamily="34" charset="0"/>
              <a:buChar char="•"/>
              <a:defRPr sz="1800" i="1"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dirty="0"/>
              <a:t>Agenda 1</a:t>
            </a:r>
          </a:p>
          <a:p>
            <a:pPr lvl="0"/>
            <a:r>
              <a:rPr lang="en-US" dirty="0"/>
              <a:t>Agenda 2</a:t>
            </a:r>
          </a:p>
          <a:p>
            <a:pPr lvl="0"/>
            <a:r>
              <a:rPr lang="en-US" dirty="0"/>
              <a:t>Agenda 3</a:t>
            </a:r>
          </a:p>
          <a:p>
            <a:pPr lvl="0"/>
            <a:r>
              <a:rPr lang="en-US" dirty="0"/>
              <a:t>Agenda 4</a:t>
            </a:r>
          </a:p>
          <a:p>
            <a:pPr lvl="0"/>
            <a:r>
              <a:rPr lang="en-US" dirty="0"/>
              <a:t>Agenda 5</a:t>
            </a:r>
          </a:p>
          <a:p>
            <a:pPr lvl="0"/>
            <a:r>
              <a:rPr lang="en-US" dirty="0"/>
              <a:t>Agenda 6</a:t>
            </a:r>
          </a:p>
          <a:p>
            <a:pPr lvl="0"/>
            <a:r>
              <a:rPr lang="en-US" dirty="0"/>
              <a:t>Agenda 7</a:t>
            </a:r>
          </a:p>
          <a:p>
            <a:pPr lvl="0"/>
            <a:r>
              <a:rPr lang="en-US" dirty="0"/>
              <a:t>Agenda 8</a:t>
            </a:r>
          </a:p>
          <a:p>
            <a:pPr lvl="0"/>
            <a:r>
              <a:rPr lang="en-US" dirty="0"/>
              <a:t>Agenda 9</a:t>
            </a:r>
          </a:p>
          <a:p>
            <a:pPr lvl="0"/>
            <a:r>
              <a:rPr lang="en-US" dirty="0"/>
              <a:t>Agenda 10</a:t>
            </a:r>
          </a:p>
        </p:txBody>
      </p:sp>
    </p:spTree>
    <p:extLst>
      <p:ext uri="{BB962C8B-B14F-4D97-AF65-F5344CB8AC3E}">
        <p14:creationId xmlns:p14="http://schemas.microsoft.com/office/powerpoint/2010/main" val="3059794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2D304F-3F8D-4272-ADFB-A9C379E43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308843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2D304F-3F8D-4272-ADFB-A9C379E43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5FE68BB3-259A-4C6D-9F57-D9AF30B5F0AB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A1832C-98F3-4E72-9D72-322478B42B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9DC9EBB9-1DD3-4658-B122-D4995A90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6663" y="2124075"/>
            <a:ext cx="8426450" cy="2262158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Bef>
                <a:spcPts val="1800"/>
              </a:spcBef>
              <a:buNone/>
              <a:tabLst/>
              <a:defRPr sz="4400" b="1" i="1">
                <a:solidFill>
                  <a:schemeClr val="tx1"/>
                </a:solidFill>
                <a:latin typeface="+mn-lt"/>
              </a:defRPr>
            </a:lvl1pPr>
            <a:lvl2pPr marL="0" indent="0" rtl="0">
              <a:lnSpc>
                <a:spcPct val="100000"/>
              </a:lnSpc>
              <a:spcBef>
                <a:spcPts val="1800"/>
              </a:spcBef>
              <a:buFont typeface="Symbol" panose="05050102010706020507" pitchFamily="18" charset="2"/>
              <a:buNone/>
              <a:defRPr sz="4400" b="0" i="1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 noProof="0" dirty="0"/>
              <a:t>Separation slide for one Agenda topic</a:t>
            </a:r>
          </a:p>
          <a:p>
            <a:pPr lvl="1"/>
            <a:r>
              <a:rPr lang="en-US" noProof="0" dirty="0"/>
              <a:t>Subtex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556CA88-AEAA-6897-4043-48ADFAD6A2AF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7596949A-9763-2D12-4FF8-14AA454164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66CAE5-F576-052B-028E-CD26AE30972B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5CD4AEB2-3E31-4091-B55E-35332FCB9980}"/>
              </a:ext>
            </a:extLst>
          </p:cNvPr>
          <p:cNvCxnSpPr>
            <a:cxnSpLocks/>
          </p:cNvCxnSpPr>
          <p:nvPr userDrawn="1"/>
        </p:nvCxnSpPr>
        <p:spPr>
          <a:xfrm>
            <a:off x="1085057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6799DB4-56DF-3D69-A531-8A467CD874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3538319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688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Action Title and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23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315D36E-D06C-F27A-6A7E-31368C290CDF}"/>
              </a:ext>
            </a:extLst>
          </p:cNvPr>
          <p:cNvCxnSpPr/>
          <p:nvPr userDrawn="1"/>
        </p:nvCxnSpPr>
        <p:spPr>
          <a:xfrm>
            <a:off x="388327" y="1273625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enplatzhalter 10">
            <a:extLst>
              <a:ext uri="{FF2B5EF4-FFF2-40B4-BE49-F238E27FC236}">
                <a16:creationId xmlns:a16="http://schemas.microsoft.com/office/drawing/2014/main" id="{3C95E273-D268-D48F-6E9A-CED1E07BE5FB}"/>
              </a:ext>
            </a:extLst>
          </p:cNvPr>
          <p:cNvSpPr>
            <a:spLocks noGrp="1"/>
          </p:cNvSpPr>
          <p:nvPr>
            <p:ph type="media" sz="quarter" idx="29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8D08851E-7589-22AD-16C6-60B1CCACF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8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159086FB-468E-8340-E916-E1AB267438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5F7E4168-6DB3-2408-7F69-A24E1EDA568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06663" y="7083494"/>
            <a:ext cx="10548000" cy="215444"/>
          </a:xfrm>
        </p:spPr>
        <p:txBody>
          <a:bodyPr/>
          <a:lstStyle>
            <a:lvl1pPr marL="0" indent="0" rtl="0">
              <a:spcBef>
                <a:spcPts val="0"/>
              </a:spcBef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1pPr>
            <a:lvl2pPr marL="0" indent="0" rtl="0">
              <a:spcBef>
                <a:spcPts val="0"/>
              </a:spcBef>
              <a:buClrTx/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2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956A36BD-D37F-0EA7-D842-602B688F2D4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6663" y="1602000"/>
            <a:ext cx="10548000" cy="10233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</p:txBody>
      </p:sp>
    </p:spTree>
    <p:extLst>
      <p:ext uri="{BB962C8B-B14F-4D97-AF65-F5344CB8AC3E}">
        <p14:creationId xmlns:p14="http://schemas.microsoft.com/office/powerpoint/2010/main" val="4226913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DB82220-EA77-48B8-B641-AB0217DCF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45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DB82220-EA77-48B8-B641-AB0217DCF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ED5E9CA8-E528-4213-8F6D-F439DEBFBE09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D85403C-2C6C-410A-923C-9D4203DBB9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7B93CCF-F3A5-485C-894E-35EBC5C26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01F440D-9715-490B-9AC2-B913CC685B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6662" y="1601999"/>
            <a:ext cx="8426452" cy="219291"/>
          </a:xfrm>
        </p:spPr>
        <p:txBody>
          <a:bodyPr/>
          <a:lstStyle>
            <a:lvl1pPr marL="0" indent="0" rtl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US"/>
              <a:t>Mastertextformat bearbeiten</a:t>
            </a:r>
            <a:endParaRPr lang="en-US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7128DF5F-2781-4C54-B6AF-C99A46433E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9"/>
            <a:ext cx="842645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Disclaimer</a:t>
            </a:r>
            <a:endParaRPr lang="en-US" dirty="0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0F46E96-6691-099C-A473-D29F04D041FE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3F92516-D281-782A-4050-33C71CBBC70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CC7415-B841-73A8-6773-3DE73023A5C8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71752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 and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7813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315D36E-D06C-F27A-6A7E-31368C290CDF}"/>
              </a:ext>
            </a:extLst>
          </p:cNvPr>
          <p:cNvCxnSpPr/>
          <p:nvPr userDrawn="1"/>
        </p:nvCxnSpPr>
        <p:spPr>
          <a:xfrm>
            <a:off x="388327" y="1273625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enplatzhalter 10">
            <a:extLst>
              <a:ext uri="{FF2B5EF4-FFF2-40B4-BE49-F238E27FC236}">
                <a16:creationId xmlns:a16="http://schemas.microsoft.com/office/drawing/2014/main" id="{C4597A5B-8858-9A75-5615-0B6E6E85C78F}"/>
              </a:ext>
            </a:extLst>
          </p:cNvPr>
          <p:cNvSpPr>
            <a:spLocks noGrp="1"/>
          </p:cNvSpPr>
          <p:nvPr>
            <p:ph type="media" sz="quarter" idx="29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04947102-B05B-A99B-AEBA-91C4C0F997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312552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B8122E2A-D4EB-53B3-F6B1-C0ED4A90B0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06662" y="711120"/>
            <a:ext cx="10548000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179387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39600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, max. one line</a:t>
            </a:r>
            <a:endParaRPr lang="en-US" dirty="0"/>
          </a:p>
        </p:txBody>
      </p:sp>
      <p:sp>
        <p:nvSpPr>
          <p:cNvPr id="15" name="Textplatzhalter 22">
            <a:extLst>
              <a:ext uri="{FF2B5EF4-FFF2-40B4-BE49-F238E27FC236}">
                <a16:creationId xmlns:a16="http://schemas.microsoft.com/office/drawing/2014/main" id="{96E48D9D-E9D8-C7A1-21A0-177F823F40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06663" y="7083494"/>
            <a:ext cx="10548000" cy="2154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E7CE391E-80C7-DC1B-F8D7-99174A045F1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06662" y="1602000"/>
            <a:ext cx="10548000" cy="102335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C32D3A74-FE7B-6608-A5D6-8F833C89F26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  <a:lvl2pPr>
              <a:defRPr sz="700" i="1">
                <a:solidFill>
                  <a:schemeClr val="tx2"/>
                </a:solidFill>
                <a:latin typeface="+mj-lt"/>
              </a:defRPr>
            </a:lvl2pPr>
            <a:lvl3pPr>
              <a:defRPr sz="700" i="1">
                <a:solidFill>
                  <a:schemeClr val="tx2"/>
                </a:solidFill>
                <a:latin typeface="+mj-lt"/>
              </a:defRPr>
            </a:lvl3pPr>
            <a:lvl4pPr>
              <a:defRPr sz="700" i="1">
                <a:solidFill>
                  <a:schemeClr val="tx2"/>
                </a:solidFill>
                <a:latin typeface="+mj-lt"/>
              </a:defRPr>
            </a:lvl4pPr>
            <a:lvl5pPr>
              <a:defRPr sz="700" i="1">
                <a:solidFill>
                  <a:schemeClr val="tx2"/>
                </a:solidFill>
                <a:latin typeface="+mj-lt"/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2136889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Action Title and Text_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51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50D80137-9403-45B6-63B7-3D2644200A10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enplatzhalter 10">
            <a:extLst>
              <a:ext uri="{FF2B5EF4-FFF2-40B4-BE49-F238E27FC236}">
                <a16:creationId xmlns:a16="http://schemas.microsoft.com/office/drawing/2014/main" id="{3C95E273-D268-D48F-6E9A-CED1E07BE5FB}"/>
              </a:ext>
            </a:extLst>
          </p:cNvPr>
          <p:cNvSpPr>
            <a:spLocks noGrp="1"/>
          </p:cNvSpPr>
          <p:nvPr>
            <p:ph type="media" sz="quarter" idx="29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8D08851E-7589-22AD-16C6-60B1CCACF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8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159086FB-468E-8340-E916-E1AB267438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5F7E4168-6DB3-2408-7F69-A24E1EDA568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06663" y="7083494"/>
            <a:ext cx="10548000" cy="215444"/>
          </a:xfrm>
        </p:spPr>
        <p:txBody>
          <a:bodyPr/>
          <a:lstStyle>
            <a:lvl1pPr marL="0" indent="0" rtl="0">
              <a:spcBef>
                <a:spcPts val="0"/>
              </a:spcBef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1pPr>
            <a:lvl2pPr marL="0" indent="0" rtl="0">
              <a:spcBef>
                <a:spcPts val="0"/>
              </a:spcBef>
              <a:buClrTx/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2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956A36BD-D37F-0EA7-D842-602B688F2D4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6663" y="1602000"/>
            <a:ext cx="10548000" cy="10233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D994D41-83EC-7433-158A-DFE9D36B4AD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975326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 and Text_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39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2406906-1836-2BA0-D508-5B18E5FDF001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indent="0" algn="l" rtl="0">
              <a:buFont typeface="Symbol" panose="05050102010706020507" pitchFamily="18" charset="2"/>
              <a:buNone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C43A55-269E-0DB7-0C1B-3970A9FD01E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enplatzhalter 10">
            <a:extLst>
              <a:ext uri="{FF2B5EF4-FFF2-40B4-BE49-F238E27FC236}">
                <a16:creationId xmlns:a16="http://schemas.microsoft.com/office/drawing/2014/main" id="{C4597A5B-8858-9A75-5615-0B6E6E85C78F}"/>
              </a:ext>
            </a:extLst>
          </p:cNvPr>
          <p:cNvSpPr>
            <a:spLocks noGrp="1"/>
          </p:cNvSpPr>
          <p:nvPr>
            <p:ph type="media" sz="quarter" idx="29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04947102-B05B-A99B-AEBA-91C4C0F997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312552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B8122E2A-D4EB-53B3-F6B1-C0ED4A90B0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06662" y="711120"/>
            <a:ext cx="10548000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179387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39600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, max. one line</a:t>
            </a:r>
            <a:endParaRPr lang="en-US" dirty="0"/>
          </a:p>
        </p:txBody>
      </p:sp>
      <p:sp>
        <p:nvSpPr>
          <p:cNvPr id="15" name="Textplatzhalter 22">
            <a:extLst>
              <a:ext uri="{FF2B5EF4-FFF2-40B4-BE49-F238E27FC236}">
                <a16:creationId xmlns:a16="http://schemas.microsoft.com/office/drawing/2014/main" id="{96E48D9D-E9D8-C7A1-21A0-177F823F40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06663" y="7083494"/>
            <a:ext cx="10548000" cy="2154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E7CE391E-80C7-DC1B-F8D7-99174A045F1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06662" y="1602000"/>
            <a:ext cx="10548000" cy="102335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C32D3A74-FE7B-6608-A5D6-8F833C89F26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  <a:lvl2pPr>
              <a:defRPr sz="700" i="1">
                <a:solidFill>
                  <a:schemeClr val="tx2"/>
                </a:solidFill>
                <a:latin typeface="+mj-lt"/>
              </a:defRPr>
            </a:lvl2pPr>
            <a:lvl3pPr>
              <a:defRPr sz="700" i="1">
                <a:solidFill>
                  <a:schemeClr val="tx2"/>
                </a:solidFill>
                <a:latin typeface="+mj-lt"/>
              </a:defRPr>
            </a:lvl3pPr>
            <a:lvl4pPr>
              <a:defRPr sz="700" i="1">
                <a:solidFill>
                  <a:schemeClr val="tx2"/>
                </a:solidFill>
                <a:latin typeface="+mj-lt"/>
              </a:defRPr>
            </a:lvl4pPr>
            <a:lvl5pPr>
              <a:defRPr sz="700" i="1">
                <a:solidFill>
                  <a:schemeClr val="tx2"/>
                </a:solidFill>
                <a:latin typeface="+mj-lt"/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2463306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Action Title and Text_l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51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50D80137-9403-45B6-63B7-3D2644200A10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enplatzhalter 10">
            <a:extLst>
              <a:ext uri="{FF2B5EF4-FFF2-40B4-BE49-F238E27FC236}">
                <a16:creationId xmlns:a16="http://schemas.microsoft.com/office/drawing/2014/main" id="{3C95E273-D268-D48F-6E9A-CED1E07BE5FB}"/>
              </a:ext>
            </a:extLst>
          </p:cNvPr>
          <p:cNvSpPr>
            <a:spLocks noGrp="1"/>
          </p:cNvSpPr>
          <p:nvPr>
            <p:ph type="media" sz="quarter" idx="29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8D08851E-7589-22AD-16C6-60B1CCACF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8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159086FB-468E-8340-E916-E1AB2674386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id="{5F7E4168-6DB3-2408-7F69-A24E1EDA568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506663" y="7083494"/>
            <a:ext cx="10548000" cy="215444"/>
          </a:xfrm>
        </p:spPr>
        <p:txBody>
          <a:bodyPr/>
          <a:lstStyle>
            <a:lvl1pPr marL="0" indent="0" rtl="0">
              <a:spcBef>
                <a:spcPts val="0"/>
              </a:spcBef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1pPr>
            <a:lvl2pPr marL="0" indent="0" rtl="0">
              <a:spcBef>
                <a:spcPts val="0"/>
              </a:spcBef>
              <a:buClrTx/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2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956A36BD-D37F-0EA7-D842-602B688F2D4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2506663" y="1602000"/>
            <a:ext cx="10548000" cy="10233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D994D41-83EC-7433-158A-DFE9D36B4AD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737878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 and Text_l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39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2406906-1836-2BA0-D508-5B18E5FDF001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indent="0" algn="l" rtl="0">
              <a:buFont typeface="Symbol" panose="05050102010706020507" pitchFamily="18" charset="2"/>
              <a:buNone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C43A55-269E-0DB7-0C1B-3970A9FD01E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edienplatzhalter 10">
            <a:extLst>
              <a:ext uri="{FF2B5EF4-FFF2-40B4-BE49-F238E27FC236}">
                <a16:creationId xmlns:a16="http://schemas.microsoft.com/office/drawing/2014/main" id="{C4597A5B-8858-9A75-5615-0B6E6E85C78F}"/>
              </a:ext>
            </a:extLst>
          </p:cNvPr>
          <p:cNvSpPr>
            <a:spLocks noGrp="1"/>
          </p:cNvSpPr>
          <p:nvPr>
            <p:ph type="media" sz="quarter" idx="29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04947102-B05B-A99B-AEBA-91C4C0F997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312552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B8122E2A-D4EB-53B3-F6B1-C0ED4A90B0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06662" y="711120"/>
            <a:ext cx="10548000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179387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39600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, max. one line</a:t>
            </a:r>
            <a:endParaRPr lang="en-US" dirty="0"/>
          </a:p>
        </p:txBody>
      </p:sp>
      <p:sp>
        <p:nvSpPr>
          <p:cNvPr id="15" name="Textplatzhalter 22">
            <a:extLst>
              <a:ext uri="{FF2B5EF4-FFF2-40B4-BE49-F238E27FC236}">
                <a16:creationId xmlns:a16="http://schemas.microsoft.com/office/drawing/2014/main" id="{96E48D9D-E9D8-C7A1-21A0-177F823F40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506663" y="7083494"/>
            <a:ext cx="10548000" cy="2154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E7CE391E-80C7-DC1B-F8D7-99174A045F1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06662" y="1602000"/>
            <a:ext cx="10548000" cy="102335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C32D3A74-FE7B-6608-A5D6-8F833C89F26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10385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  <a:lvl2pPr>
              <a:defRPr sz="700" i="1">
                <a:solidFill>
                  <a:schemeClr val="tx2"/>
                </a:solidFill>
                <a:latin typeface="+mj-lt"/>
              </a:defRPr>
            </a:lvl2pPr>
            <a:lvl3pPr>
              <a:defRPr sz="700" i="1">
                <a:solidFill>
                  <a:schemeClr val="tx2"/>
                </a:solidFill>
                <a:latin typeface="+mj-lt"/>
              </a:defRPr>
            </a:lvl3pPr>
            <a:lvl4pPr>
              <a:defRPr sz="700" i="1">
                <a:solidFill>
                  <a:schemeClr val="tx2"/>
                </a:solidFill>
                <a:latin typeface="+mj-lt"/>
              </a:defRPr>
            </a:lvl4pPr>
            <a:lvl5pPr>
              <a:defRPr sz="700" i="1">
                <a:solidFill>
                  <a:schemeClr val="tx2"/>
                </a:solidFill>
                <a:latin typeface="+mj-lt"/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187249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192FA54-A472-4D13-BDB8-E6C8DFCD1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505174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192FA54-A472-4D13-BDB8-E6C8DFCD1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E631821-7306-448E-8A38-74AD88398099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D3B1EE8-445D-4560-83D9-D22E50213D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4000" b="0" i="1" baseline="0" dirty="0" err="1">
              <a:solidFill>
                <a:schemeClr val="bg2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Grafik 17">
            <a:extLst>
              <a:ext uri="{FF2B5EF4-FFF2-40B4-BE49-F238E27FC236}">
                <a16:creationId xmlns:a16="http://schemas.microsoft.com/office/drawing/2014/main" id="{A459FD5D-9A83-431E-97E6-82FCF63073C2}"/>
              </a:ext>
            </a:extLst>
          </p:cNvPr>
          <p:cNvSpPr>
            <a:spLocks noChangeAspect="1"/>
          </p:cNvSpPr>
          <p:nvPr/>
        </p:nvSpPr>
        <p:spPr>
          <a:xfrm>
            <a:off x="10928350" y="583611"/>
            <a:ext cx="2125663" cy="358539"/>
          </a:xfrm>
          <a:custGeom>
            <a:avLst/>
            <a:gdLst>
              <a:gd name="connsiteX0" fmla="*/ 432263 w 6837827"/>
              <a:gd name="connsiteY0" fmla="*/ 777449 h 1153348"/>
              <a:gd name="connsiteX1" fmla="*/ 411264 w 6837827"/>
              <a:gd name="connsiteY1" fmla="*/ 771569 h 1153348"/>
              <a:gd name="connsiteX2" fmla="*/ 386065 w 6837827"/>
              <a:gd name="connsiteY2" fmla="*/ 771569 h 1153348"/>
              <a:gd name="connsiteX3" fmla="*/ 360026 w 6837827"/>
              <a:gd name="connsiteY3" fmla="*/ 774929 h 1153348"/>
              <a:gd name="connsiteX4" fmla="*/ 336507 w 6837827"/>
              <a:gd name="connsiteY4" fmla="*/ 779129 h 1153348"/>
              <a:gd name="connsiteX5" fmla="*/ 318028 w 6837827"/>
              <a:gd name="connsiteY5" fmla="*/ 782069 h 1153348"/>
              <a:gd name="connsiteX6" fmla="*/ 320548 w 6837827"/>
              <a:gd name="connsiteY6" fmla="*/ 761070 h 1153348"/>
              <a:gd name="connsiteX7" fmla="*/ 327687 w 6837827"/>
              <a:gd name="connsiteY7" fmla="*/ 734611 h 1153348"/>
              <a:gd name="connsiteX8" fmla="*/ 335667 w 6837827"/>
              <a:gd name="connsiteY8" fmla="*/ 706472 h 1153348"/>
              <a:gd name="connsiteX9" fmla="*/ 341127 w 6837827"/>
              <a:gd name="connsiteY9" fmla="*/ 679593 h 1153348"/>
              <a:gd name="connsiteX10" fmla="*/ 341547 w 6837827"/>
              <a:gd name="connsiteY10" fmla="*/ 656494 h 1153348"/>
              <a:gd name="connsiteX11" fmla="*/ 333987 w 6837827"/>
              <a:gd name="connsiteY11" fmla="*/ 640955 h 1153348"/>
              <a:gd name="connsiteX12" fmla="*/ 312988 w 6837827"/>
              <a:gd name="connsiteY12" fmla="*/ 632555 h 1153348"/>
              <a:gd name="connsiteX13" fmla="*/ 290729 w 6837827"/>
              <a:gd name="connsiteY13" fmla="*/ 633395 h 1153348"/>
              <a:gd name="connsiteX14" fmla="*/ 278549 w 6837827"/>
              <a:gd name="connsiteY14" fmla="*/ 643055 h 1153348"/>
              <a:gd name="connsiteX15" fmla="*/ 272250 w 6837827"/>
              <a:gd name="connsiteY15" fmla="*/ 659014 h 1153348"/>
              <a:gd name="connsiteX16" fmla="*/ 268890 w 6837827"/>
              <a:gd name="connsiteY16" fmla="*/ 676653 h 1153348"/>
              <a:gd name="connsiteX17" fmla="*/ 265950 w 6837827"/>
              <a:gd name="connsiteY17" fmla="*/ 691773 h 1153348"/>
              <a:gd name="connsiteX18" fmla="*/ 251251 w 6837827"/>
              <a:gd name="connsiteY18" fmla="*/ 745531 h 1153348"/>
              <a:gd name="connsiteX19" fmla="*/ 244111 w 6837827"/>
              <a:gd name="connsiteY19" fmla="*/ 800128 h 1153348"/>
              <a:gd name="connsiteX20" fmla="*/ 205053 w 6837827"/>
              <a:gd name="connsiteY20" fmla="*/ 808948 h 1153348"/>
              <a:gd name="connsiteX21" fmla="*/ 165994 w 6837827"/>
              <a:gd name="connsiteY21" fmla="*/ 818187 h 1153348"/>
              <a:gd name="connsiteX22" fmla="*/ 168514 w 6837827"/>
              <a:gd name="connsiteY22" fmla="*/ 786269 h 1153348"/>
              <a:gd name="connsiteX23" fmla="*/ 176494 w 6837827"/>
              <a:gd name="connsiteY23" fmla="*/ 756030 h 1153348"/>
              <a:gd name="connsiteX24" fmla="*/ 184053 w 6837827"/>
              <a:gd name="connsiteY24" fmla="*/ 725371 h 1153348"/>
              <a:gd name="connsiteX25" fmla="*/ 185313 w 6837827"/>
              <a:gd name="connsiteY25" fmla="*/ 691773 h 1153348"/>
              <a:gd name="connsiteX26" fmla="*/ 179014 w 6837827"/>
              <a:gd name="connsiteY26" fmla="*/ 675394 h 1153348"/>
              <a:gd name="connsiteX27" fmla="*/ 166414 w 6837827"/>
              <a:gd name="connsiteY27" fmla="*/ 666154 h 1153348"/>
              <a:gd name="connsiteX28" fmla="*/ 151295 w 6837827"/>
              <a:gd name="connsiteY28" fmla="*/ 664894 h 1153348"/>
              <a:gd name="connsiteX29" fmla="*/ 137016 w 6837827"/>
              <a:gd name="connsiteY29" fmla="*/ 674134 h 1153348"/>
              <a:gd name="connsiteX30" fmla="*/ 129036 w 6837827"/>
              <a:gd name="connsiteY30" fmla="*/ 690933 h 1153348"/>
              <a:gd name="connsiteX31" fmla="*/ 123156 w 6837827"/>
              <a:gd name="connsiteY31" fmla="*/ 708992 h 1153348"/>
              <a:gd name="connsiteX32" fmla="*/ 112237 w 6837827"/>
              <a:gd name="connsiteY32" fmla="*/ 738391 h 1153348"/>
              <a:gd name="connsiteX33" fmla="*/ 107197 w 6837827"/>
              <a:gd name="connsiteY33" fmla="*/ 770729 h 1153348"/>
              <a:gd name="connsiteX34" fmla="*/ 103417 w 6837827"/>
              <a:gd name="connsiteY34" fmla="*/ 803068 h 1153348"/>
              <a:gd name="connsiteX35" fmla="*/ 95437 w 6837827"/>
              <a:gd name="connsiteY35" fmla="*/ 832467 h 1153348"/>
              <a:gd name="connsiteX36" fmla="*/ 74858 w 6837827"/>
              <a:gd name="connsiteY36" fmla="*/ 835407 h 1153348"/>
              <a:gd name="connsiteX37" fmla="*/ 53859 w 6837827"/>
              <a:gd name="connsiteY37" fmla="*/ 838767 h 1153348"/>
              <a:gd name="connsiteX38" fmla="*/ 32020 w 6837827"/>
              <a:gd name="connsiteY38" fmla="*/ 845906 h 1153348"/>
              <a:gd name="connsiteX39" fmla="*/ 21100 w 6837827"/>
              <a:gd name="connsiteY39" fmla="*/ 858506 h 1153348"/>
              <a:gd name="connsiteX40" fmla="*/ 19841 w 6837827"/>
              <a:gd name="connsiteY40" fmla="*/ 874465 h 1153348"/>
              <a:gd name="connsiteX41" fmla="*/ 26980 w 6837827"/>
              <a:gd name="connsiteY41" fmla="*/ 891684 h 1153348"/>
              <a:gd name="connsiteX42" fmla="*/ 38320 w 6837827"/>
              <a:gd name="connsiteY42" fmla="*/ 901764 h 1153348"/>
              <a:gd name="connsiteX43" fmla="*/ 54279 w 6837827"/>
              <a:gd name="connsiteY43" fmla="*/ 905544 h 1153348"/>
              <a:gd name="connsiteX44" fmla="*/ 71078 w 6837827"/>
              <a:gd name="connsiteY44" fmla="*/ 905544 h 1153348"/>
              <a:gd name="connsiteX45" fmla="*/ 85358 w 6837827"/>
              <a:gd name="connsiteY45" fmla="*/ 903864 h 1153348"/>
              <a:gd name="connsiteX46" fmla="*/ 76538 w 6837827"/>
              <a:gd name="connsiteY46" fmla="*/ 947542 h 1153348"/>
              <a:gd name="connsiteX47" fmla="*/ 69398 w 6837827"/>
              <a:gd name="connsiteY47" fmla="*/ 989960 h 1153348"/>
              <a:gd name="connsiteX48" fmla="*/ 49659 w 6837827"/>
              <a:gd name="connsiteY48" fmla="*/ 995420 h 1153348"/>
              <a:gd name="connsiteX49" fmla="*/ 29920 w 6837827"/>
              <a:gd name="connsiteY49" fmla="*/ 1000880 h 1153348"/>
              <a:gd name="connsiteX50" fmla="*/ 16061 w 6837827"/>
              <a:gd name="connsiteY50" fmla="*/ 1007179 h 1153348"/>
              <a:gd name="connsiteX51" fmla="*/ 5141 w 6837827"/>
              <a:gd name="connsiteY51" fmla="*/ 1016419 h 1153348"/>
              <a:gd name="connsiteX52" fmla="*/ 101 w 6837827"/>
              <a:gd name="connsiteY52" fmla="*/ 1028598 h 1153348"/>
              <a:gd name="connsiteX53" fmla="*/ 3461 w 6837827"/>
              <a:gd name="connsiteY53" fmla="*/ 1043718 h 1153348"/>
              <a:gd name="connsiteX54" fmla="*/ 27820 w 6837827"/>
              <a:gd name="connsiteY54" fmla="*/ 1064717 h 1153348"/>
              <a:gd name="connsiteX55" fmla="*/ 60999 w 6837827"/>
              <a:gd name="connsiteY55" fmla="*/ 1066397 h 1153348"/>
              <a:gd name="connsiteX56" fmla="*/ 56379 w 6837827"/>
              <a:gd name="connsiteY56" fmla="*/ 1099155 h 1153348"/>
              <a:gd name="connsiteX57" fmla="*/ 58479 w 6837827"/>
              <a:gd name="connsiteY57" fmla="*/ 1131074 h 1153348"/>
              <a:gd name="connsiteX58" fmla="*/ 79898 w 6837827"/>
              <a:gd name="connsiteY58" fmla="*/ 1151653 h 1153348"/>
              <a:gd name="connsiteX59" fmla="*/ 107617 w 6837827"/>
              <a:gd name="connsiteY59" fmla="*/ 1147033 h 1153348"/>
              <a:gd name="connsiteX60" fmla="*/ 119796 w 6837827"/>
              <a:gd name="connsiteY60" fmla="*/ 1130234 h 1153348"/>
              <a:gd name="connsiteX61" fmla="*/ 124836 w 6837827"/>
              <a:gd name="connsiteY61" fmla="*/ 1106715 h 1153348"/>
              <a:gd name="connsiteX62" fmla="*/ 126096 w 6837827"/>
              <a:gd name="connsiteY62" fmla="*/ 1081516 h 1153348"/>
              <a:gd name="connsiteX63" fmla="*/ 126096 w 6837827"/>
              <a:gd name="connsiteY63" fmla="*/ 1060097 h 1153348"/>
              <a:gd name="connsiteX64" fmla="*/ 166414 w 6837827"/>
              <a:gd name="connsiteY64" fmla="*/ 1049598 h 1153348"/>
              <a:gd name="connsiteX65" fmla="*/ 207152 w 6837827"/>
              <a:gd name="connsiteY65" fmla="*/ 1041198 h 1153348"/>
              <a:gd name="connsiteX66" fmla="*/ 205473 w 6837827"/>
              <a:gd name="connsiteY66" fmla="*/ 1057157 h 1153348"/>
              <a:gd name="connsiteX67" fmla="*/ 206733 w 6837827"/>
              <a:gd name="connsiteY67" fmla="*/ 1076056 h 1153348"/>
              <a:gd name="connsiteX68" fmla="*/ 209672 w 6837827"/>
              <a:gd name="connsiteY68" fmla="*/ 1095375 h 1153348"/>
              <a:gd name="connsiteX69" fmla="*/ 212612 w 6837827"/>
              <a:gd name="connsiteY69" fmla="*/ 1111755 h 1153348"/>
              <a:gd name="connsiteX70" fmla="*/ 224792 w 6837827"/>
              <a:gd name="connsiteY70" fmla="*/ 1132754 h 1153348"/>
              <a:gd name="connsiteX71" fmla="*/ 246211 w 6837827"/>
              <a:gd name="connsiteY71" fmla="*/ 1136954 h 1153348"/>
              <a:gd name="connsiteX72" fmla="*/ 268050 w 6837827"/>
              <a:gd name="connsiteY72" fmla="*/ 1129814 h 1153348"/>
              <a:gd name="connsiteX73" fmla="*/ 281489 w 6837827"/>
              <a:gd name="connsiteY73" fmla="*/ 1116375 h 1153348"/>
              <a:gd name="connsiteX74" fmla="*/ 284429 w 6837827"/>
              <a:gd name="connsiteY74" fmla="*/ 1094116 h 1153348"/>
              <a:gd name="connsiteX75" fmla="*/ 281069 w 6837827"/>
              <a:gd name="connsiteY75" fmla="*/ 1069757 h 1153348"/>
              <a:gd name="connsiteX76" fmla="*/ 276450 w 6837827"/>
              <a:gd name="connsiteY76" fmla="*/ 1045398 h 1153348"/>
              <a:gd name="connsiteX77" fmla="*/ 274770 w 6837827"/>
              <a:gd name="connsiteY77" fmla="*/ 1023979 h 1153348"/>
              <a:gd name="connsiteX78" fmla="*/ 297029 w 6837827"/>
              <a:gd name="connsiteY78" fmla="*/ 1015999 h 1153348"/>
              <a:gd name="connsiteX79" fmla="*/ 323068 w 6837827"/>
              <a:gd name="connsiteY79" fmla="*/ 1010539 h 1153348"/>
              <a:gd name="connsiteX80" fmla="*/ 348266 w 6837827"/>
              <a:gd name="connsiteY80" fmla="*/ 1004659 h 1153348"/>
              <a:gd name="connsiteX81" fmla="*/ 367586 w 6837827"/>
              <a:gd name="connsiteY81" fmla="*/ 994580 h 1153348"/>
              <a:gd name="connsiteX82" fmla="*/ 375145 w 6837827"/>
              <a:gd name="connsiteY82" fmla="*/ 984080 h 1153348"/>
              <a:gd name="connsiteX83" fmla="*/ 378085 w 6837827"/>
              <a:gd name="connsiteY83" fmla="*/ 969801 h 1153348"/>
              <a:gd name="connsiteX84" fmla="*/ 376405 w 6837827"/>
              <a:gd name="connsiteY84" fmla="*/ 955522 h 1153348"/>
              <a:gd name="connsiteX85" fmla="*/ 369266 w 6837827"/>
              <a:gd name="connsiteY85" fmla="*/ 944182 h 1153348"/>
              <a:gd name="connsiteX86" fmla="*/ 350786 w 6837827"/>
              <a:gd name="connsiteY86" fmla="*/ 935362 h 1153348"/>
              <a:gd name="connsiteX87" fmla="*/ 327687 w 6837827"/>
              <a:gd name="connsiteY87" fmla="*/ 932842 h 1153348"/>
              <a:gd name="connsiteX88" fmla="*/ 304168 w 6837827"/>
              <a:gd name="connsiteY88" fmla="*/ 934522 h 1153348"/>
              <a:gd name="connsiteX89" fmla="*/ 285269 w 6837827"/>
              <a:gd name="connsiteY89" fmla="*/ 937462 h 1153348"/>
              <a:gd name="connsiteX90" fmla="*/ 290309 w 6837827"/>
              <a:gd name="connsiteY90" fmla="*/ 895464 h 1153348"/>
              <a:gd name="connsiteX91" fmla="*/ 298289 w 6837827"/>
              <a:gd name="connsiteY91" fmla="*/ 860186 h 1153348"/>
              <a:gd name="connsiteX92" fmla="*/ 357506 w 6837827"/>
              <a:gd name="connsiteY92" fmla="*/ 845906 h 1153348"/>
              <a:gd name="connsiteX93" fmla="*/ 417143 w 6837827"/>
              <a:gd name="connsiteY93" fmla="*/ 835827 h 1153348"/>
              <a:gd name="connsiteX94" fmla="*/ 430583 w 6837827"/>
              <a:gd name="connsiteY94" fmla="*/ 829947 h 1153348"/>
              <a:gd name="connsiteX95" fmla="*/ 441082 w 6837827"/>
              <a:gd name="connsiteY95" fmla="*/ 818187 h 1153348"/>
              <a:gd name="connsiteX96" fmla="*/ 446962 w 6837827"/>
              <a:gd name="connsiteY96" fmla="*/ 804328 h 1153348"/>
              <a:gd name="connsiteX97" fmla="*/ 445702 w 6837827"/>
              <a:gd name="connsiteY97" fmla="*/ 791309 h 1153348"/>
              <a:gd name="connsiteX98" fmla="*/ 432263 w 6837827"/>
              <a:gd name="connsiteY98" fmla="*/ 777449 h 1153348"/>
              <a:gd name="connsiteX99" fmla="*/ 142055 w 6837827"/>
              <a:gd name="connsiteY99" fmla="*/ 963081 h 1153348"/>
              <a:gd name="connsiteX100" fmla="*/ 146675 w 6837827"/>
              <a:gd name="connsiteY100" fmla="*/ 926963 h 1153348"/>
              <a:gd name="connsiteX101" fmla="*/ 151295 w 6837827"/>
              <a:gd name="connsiteY101" fmla="*/ 893364 h 1153348"/>
              <a:gd name="connsiteX102" fmla="*/ 189093 w 6837827"/>
              <a:gd name="connsiteY102" fmla="*/ 887905 h 1153348"/>
              <a:gd name="connsiteX103" fmla="*/ 226052 w 6837827"/>
              <a:gd name="connsiteY103" fmla="*/ 879505 h 1153348"/>
              <a:gd name="connsiteX104" fmla="*/ 218912 w 6837827"/>
              <a:gd name="connsiteY104" fmla="*/ 900504 h 1153348"/>
              <a:gd name="connsiteX105" fmla="*/ 215552 w 6837827"/>
              <a:gd name="connsiteY105" fmla="*/ 916043 h 1153348"/>
              <a:gd name="connsiteX106" fmla="*/ 213872 w 6837827"/>
              <a:gd name="connsiteY106" fmla="*/ 931163 h 1153348"/>
              <a:gd name="connsiteX107" fmla="*/ 212192 w 6837827"/>
              <a:gd name="connsiteY107" fmla="*/ 949222 h 1153348"/>
              <a:gd name="connsiteX108" fmla="*/ 175654 w 6837827"/>
              <a:gd name="connsiteY108" fmla="*/ 957202 h 1153348"/>
              <a:gd name="connsiteX109" fmla="*/ 141635 w 6837827"/>
              <a:gd name="connsiteY109" fmla="*/ 965181 h 1153348"/>
              <a:gd name="connsiteX110" fmla="*/ 142055 w 6837827"/>
              <a:gd name="connsiteY110" fmla="*/ 963081 h 1153348"/>
              <a:gd name="connsiteX111" fmla="*/ 674172 w 6837827"/>
              <a:gd name="connsiteY111" fmla="*/ 656914 h 1153348"/>
              <a:gd name="connsiteX112" fmla="*/ 667873 w 6837827"/>
              <a:gd name="connsiteY112" fmla="*/ 634235 h 1153348"/>
              <a:gd name="connsiteX113" fmla="*/ 653173 w 6837827"/>
              <a:gd name="connsiteY113" fmla="*/ 617016 h 1153348"/>
              <a:gd name="connsiteX114" fmla="*/ 630914 w 6837827"/>
              <a:gd name="connsiteY114" fmla="*/ 612396 h 1153348"/>
              <a:gd name="connsiteX115" fmla="*/ 604455 w 6837827"/>
              <a:gd name="connsiteY115" fmla="*/ 626676 h 1153348"/>
              <a:gd name="connsiteX116" fmla="*/ 591856 w 6837827"/>
              <a:gd name="connsiteY116" fmla="*/ 658594 h 1153348"/>
              <a:gd name="connsiteX117" fmla="*/ 586396 w 6837827"/>
              <a:gd name="connsiteY117" fmla="*/ 696813 h 1153348"/>
              <a:gd name="connsiteX118" fmla="*/ 580936 w 6837827"/>
              <a:gd name="connsiteY118" fmla="*/ 730831 h 1153348"/>
              <a:gd name="connsiteX119" fmla="*/ 572537 w 6837827"/>
              <a:gd name="connsiteY119" fmla="*/ 774509 h 1153348"/>
              <a:gd name="connsiteX120" fmla="*/ 567077 w 6837827"/>
              <a:gd name="connsiteY120" fmla="*/ 824907 h 1153348"/>
              <a:gd name="connsiteX121" fmla="*/ 559937 w 6837827"/>
              <a:gd name="connsiteY121" fmla="*/ 874465 h 1153348"/>
              <a:gd name="connsiteX122" fmla="*/ 546498 w 6837827"/>
              <a:gd name="connsiteY122" fmla="*/ 915623 h 1153348"/>
              <a:gd name="connsiteX123" fmla="*/ 542298 w 6837827"/>
              <a:gd name="connsiteY123" fmla="*/ 929903 h 1153348"/>
              <a:gd name="connsiteX124" fmla="*/ 538098 w 6837827"/>
              <a:gd name="connsiteY124" fmla="*/ 953422 h 1153348"/>
              <a:gd name="connsiteX125" fmla="*/ 534318 w 6837827"/>
              <a:gd name="connsiteY125" fmla="*/ 980720 h 1153348"/>
              <a:gd name="connsiteX126" fmla="*/ 531379 w 6837827"/>
              <a:gd name="connsiteY126" fmla="*/ 1007179 h 1153348"/>
              <a:gd name="connsiteX127" fmla="*/ 529279 w 6837827"/>
              <a:gd name="connsiteY127" fmla="*/ 1028178 h 1153348"/>
              <a:gd name="connsiteX128" fmla="*/ 528439 w 6837827"/>
              <a:gd name="connsiteY128" fmla="*/ 1039098 h 1153348"/>
              <a:gd name="connsiteX129" fmla="*/ 530959 w 6837827"/>
              <a:gd name="connsiteY129" fmla="*/ 1064297 h 1153348"/>
              <a:gd name="connsiteX130" fmla="*/ 540198 w 6837827"/>
              <a:gd name="connsiteY130" fmla="*/ 1094116 h 1153348"/>
              <a:gd name="connsiteX131" fmla="*/ 556577 w 6837827"/>
              <a:gd name="connsiteY131" fmla="*/ 1118054 h 1153348"/>
              <a:gd name="connsiteX132" fmla="*/ 578837 w 6837827"/>
              <a:gd name="connsiteY132" fmla="*/ 1126454 h 1153348"/>
              <a:gd name="connsiteX133" fmla="*/ 600256 w 6837827"/>
              <a:gd name="connsiteY133" fmla="*/ 1116375 h 1153348"/>
              <a:gd name="connsiteX134" fmla="*/ 612015 w 6837827"/>
              <a:gd name="connsiteY134" fmla="*/ 1094956 h 1153348"/>
              <a:gd name="connsiteX135" fmla="*/ 616635 w 6837827"/>
              <a:gd name="connsiteY135" fmla="*/ 1066817 h 1153348"/>
              <a:gd name="connsiteX136" fmla="*/ 617895 w 6837827"/>
              <a:gd name="connsiteY136" fmla="*/ 1036578 h 1153348"/>
              <a:gd name="connsiteX137" fmla="*/ 618315 w 6837827"/>
              <a:gd name="connsiteY137" fmla="*/ 1008859 h 1153348"/>
              <a:gd name="connsiteX138" fmla="*/ 620835 w 6837827"/>
              <a:gd name="connsiteY138" fmla="*/ 987440 h 1153348"/>
              <a:gd name="connsiteX139" fmla="*/ 630494 w 6837827"/>
              <a:gd name="connsiteY139" fmla="*/ 932423 h 1153348"/>
              <a:gd name="connsiteX140" fmla="*/ 639734 w 6837827"/>
              <a:gd name="connsiteY140" fmla="*/ 875725 h 1153348"/>
              <a:gd name="connsiteX141" fmla="*/ 646034 w 6837827"/>
              <a:gd name="connsiteY141" fmla="*/ 845906 h 1153348"/>
              <a:gd name="connsiteX142" fmla="*/ 652753 w 6837827"/>
              <a:gd name="connsiteY142" fmla="*/ 813148 h 1153348"/>
              <a:gd name="connsiteX143" fmla="*/ 663253 w 6837827"/>
              <a:gd name="connsiteY143" fmla="*/ 782489 h 1153348"/>
              <a:gd name="connsiteX144" fmla="*/ 679632 w 6837827"/>
              <a:gd name="connsiteY144" fmla="*/ 759390 h 1153348"/>
              <a:gd name="connsiteX145" fmla="*/ 696012 w 6837827"/>
              <a:gd name="connsiteY145" fmla="*/ 745111 h 1153348"/>
              <a:gd name="connsiteX146" fmla="*/ 718271 w 6837827"/>
              <a:gd name="connsiteY146" fmla="*/ 727051 h 1153348"/>
              <a:gd name="connsiteX147" fmla="*/ 742210 w 6837827"/>
              <a:gd name="connsiteY147" fmla="*/ 712352 h 1153348"/>
              <a:gd name="connsiteX148" fmla="*/ 762369 w 6837827"/>
              <a:gd name="connsiteY148" fmla="*/ 708152 h 1153348"/>
              <a:gd name="connsiteX149" fmla="*/ 771608 w 6837827"/>
              <a:gd name="connsiteY149" fmla="*/ 718232 h 1153348"/>
              <a:gd name="connsiteX150" fmla="*/ 766988 w 6837827"/>
              <a:gd name="connsiteY150" fmla="*/ 737551 h 1153348"/>
              <a:gd name="connsiteX151" fmla="*/ 753129 w 6837827"/>
              <a:gd name="connsiteY151" fmla="*/ 761490 h 1153348"/>
              <a:gd name="connsiteX152" fmla="*/ 735910 w 6837827"/>
              <a:gd name="connsiteY152" fmla="*/ 785429 h 1153348"/>
              <a:gd name="connsiteX153" fmla="*/ 720370 w 6837827"/>
              <a:gd name="connsiteY153" fmla="*/ 805168 h 1153348"/>
              <a:gd name="connsiteX154" fmla="*/ 710711 w 6837827"/>
              <a:gd name="connsiteY154" fmla="*/ 815247 h 1153348"/>
              <a:gd name="connsiteX155" fmla="*/ 690552 w 6837827"/>
              <a:gd name="connsiteY155" fmla="*/ 834987 h 1153348"/>
              <a:gd name="connsiteX156" fmla="*/ 675852 w 6837827"/>
              <a:gd name="connsiteY156" fmla="*/ 857246 h 1153348"/>
              <a:gd name="connsiteX157" fmla="*/ 673752 w 6837827"/>
              <a:gd name="connsiteY157" fmla="*/ 882025 h 1153348"/>
              <a:gd name="connsiteX158" fmla="*/ 690972 w 6837827"/>
              <a:gd name="connsiteY158" fmla="*/ 910164 h 1153348"/>
              <a:gd name="connsiteX159" fmla="*/ 722050 w 6837827"/>
              <a:gd name="connsiteY159" fmla="*/ 930742 h 1153348"/>
              <a:gd name="connsiteX160" fmla="*/ 763209 w 6837827"/>
              <a:gd name="connsiteY160" fmla="*/ 954681 h 1153348"/>
              <a:gd name="connsiteX161" fmla="*/ 803527 w 6837827"/>
              <a:gd name="connsiteY161" fmla="*/ 974001 h 1153348"/>
              <a:gd name="connsiteX162" fmla="*/ 831246 w 6837827"/>
              <a:gd name="connsiteY162" fmla="*/ 979880 h 1153348"/>
              <a:gd name="connsiteX163" fmla="*/ 882483 w 6837827"/>
              <a:gd name="connsiteY163" fmla="*/ 995000 h 1153348"/>
              <a:gd name="connsiteX164" fmla="*/ 936661 w 6837827"/>
              <a:gd name="connsiteY164" fmla="*/ 979880 h 1153348"/>
              <a:gd name="connsiteX165" fmla="*/ 945901 w 6837827"/>
              <a:gd name="connsiteY165" fmla="*/ 960141 h 1153348"/>
              <a:gd name="connsiteX166" fmla="*/ 940441 w 6837827"/>
              <a:gd name="connsiteY166" fmla="*/ 944182 h 1153348"/>
              <a:gd name="connsiteX167" fmla="*/ 924902 w 6837827"/>
              <a:gd name="connsiteY167" fmla="*/ 932003 h 1153348"/>
              <a:gd name="connsiteX168" fmla="*/ 904323 w 6837827"/>
              <a:gd name="connsiteY168" fmla="*/ 924863 h 1153348"/>
              <a:gd name="connsiteX169" fmla="*/ 887103 w 6837827"/>
              <a:gd name="connsiteY169" fmla="*/ 920663 h 1153348"/>
              <a:gd name="connsiteX170" fmla="*/ 861064 w 6837827"/>
              <a:gd name="connsiteY170" fmla="*/ 913523 h 1153348"/>
              <a:gd name="connsiteX171" fmla="*/ 831246 w 6837827"/>
              <a:gd name="connsiteY171" fmla="*/ 903864 h 1153348"/>
              <a:gd name="connsiteX172" fmla="*/ 803527 w 6837827"/>
              <a:gd name="connsiteY172" fmla="*/ 892944 h 1153348"/>
              <a:gd name="connsiteX173" fmla="*/ 782108 w 6837827"/>
              <a:gd name="connsiteY173" fmla="*/ 880345 h 1153348"/>
              <a:gd name="connsiteX174" fmla="*/ 772868 w 6837827"/>
              <a:gd name="connsiteY174" fmla="*/ 866485 h 1153348"/>
              <a:gd name="connsiteX175" fmla="*/ 783368 w 6837827"/>
              <a:gd name="connsiteY175" fmla="*/ 833307 h 1153348"/>
              <a:gd name="connsiteX176" fmla="*/ 810667 w 6837827"/>
              <a:gd name="connsiteY176" fmla="*/ 799708 h 1153348"/>
              <a:gd name="connsiteX177" fmla="*/ 837545 w 6837827"/>
              <a:gd name="connsiteY177" fmla="*/ 762750 h 1153348"/>
              <a:gd name="connsiteX178" fmla="*/ 847205 w 6837827"/>
              <a:gd name="connsiteY178" fmla="*/ 720332 h 1153348"/>
              <a:gd name="connsiteX179" fmla="*/ 838385 w 6837827"/>
              <a:gd name="connsiteY179" fmla="*/ 686313 h 1153348"/>
              <a:gd name="connsiteX180" fmla="*/ 820746 w 6837827"/>
              <a:gd name="connsiteY180" fmla="*/ 655234 h 1153348"/>
              <a:gd name="connsiteX181" fmla="*/ 796807 w 6837827"/>
              <a:gd name="connsiteY181" fmla="*/ 632975 h 1153348"/>
              <a:gd name="connsiteX182" fmla="*/ 769508 w 6837827"/>
              <a:gd name="connsiteY182" fmla="*/ 625416 h 1153348"/>
              <a:gd name="connsiteX183" fmla="*/ 731290 w 6837827"/>
              <a:gd name="connsiteY183" fmla="*/ 634655 h 1153348"/>
              <a:gd name="connsiteX184" fmla="*/ 708191 w 6837827"/>
              <a:gd name="connsiteY184" fmla="*/ 650615 h 1153348"/>
              <a:gd name="connsiteX185" fmla="*/ 691392 w 6837827"/>
              <a:gd name="connsiteY185" fmla="*/ 667414 h 1153348"/>
              <a:gd name="connsiteX186" fmla="*/ 672493 w 6837827"/>
              <a:gd name="connsiteY186" fmla="*/ 678333 h 1153348"/>
              <a:gd name="connsiteX187" fmla="*/ 674172 w 6837827"/>
              <a:gd name="connsiteY187" fmla="*/ 656914 h 1153348"/>
              <a:gd name="connsiteX188" fmla="*/ 1219729 w 6837827"/>
              <a:gd name="connsiteY188" fmla="*/ 678753 h 1153348"/>
              <a:gd name="connsiteX189" fmla="*/ 1233168 w 6837827"/>
              <a:gd name="connsiteY189" fmla="*/ 669934 h 1153348"/>
              <a:gd name="connsiteX190" fmla="*/ 1242408 w 6837827"/>
              <a:gd name="connsiteY190" fmla="*/ 657334 h 1153348"/>
              <a:gd name="connsiteX191" fmla="*/ 1244928 w 6837827"/>
              <a:gd name="connsiteY191" fmla="*/ 641375 h 1153348"/>
              <a:gd name="connsiteX192" fmla="*/ 1238628 w 6837827"/>
              <a:gd name="connsiteY192" fmla="*/ 622896 h 1153348"/>
              <a:gd name="connsiteX193" fmla="*/ 1226449 w 6837827"/>
              <a:gd name="connsiteY193" fmla="*/ 616176 h 1153348"/>
              <a:gd name="connsiteX194" fmla="*/ 1210489 w 6837827"/>
              <a:gd name="connsiteY194" fmla="*/ 617016 h 1153348"/>
              <a:gd name="connsiteX195" fmla="*/ 1192430 w 6837827"/>
              <a:gd name="connsiteY195" fmla="*/ 621216 h 1153348"/>
              <a:gd name="connsiteX196" fmla="*/ 1147912 w 6837827"/>
              <a:gd name="connsiteY196" fmla="*/ 630876 h 1153348"/>
              <a:gd name="connsiteX197" fmla="*/ 1101714 w 6837827"/>
              <a:gd name="connsiteY197" fmla="*/ 640535 h 1153348"/>
              <a:gd name="connsiteX198" fmla="*/ 1083655 w 6837827"/>
              <a:gd name="connsiteY198" fmla="*/ 642635 h 1153348"/>
              <a:gd name="connsiteX199" fmla="*/ 1068116 w 6837827"/>
              <a:gd name="connsiteY199" fmla="*/ 639695 h 1153348"/>
              <a:gd name="connsiteX200" fmla="*/ 1052996 w 6837827"/>
              <a:gd name="connsiteY200" fmla="*/ 638015 h 1153348"/>
              <a:gd name="connsiteX201" fmla="*/ 1036617 w 6837827"/>
              <a:gd name="connsiteY201" fmla="*/ 642635 h 1153348"/>
              <a:gd name="connsiteX202" fmla="*/ 1024857 w 6837827"/>
              <a:gd name="connsiteY202" fmla="*/ 663214 h 1153348"/>
              <a:gd name="connsiteX203" fmla="*/ 1019818 w 6837827"/>
              <a:gd name="connsiteY203" fmla="*/ 687153 h 1153348"/>
              <a:gd name="connsiteX204" fmla="*/ 1016458 w 6837827"/>
              <a:gd name="connsiteY204" fmla="*/ 711932 h 1153348"/>
              <a:gd name="connsiteX205" fmla="*/ 1010158 w 6837827"/>
              <a:gd name="connsiteY205" fmla="*/ 736291 h 1153348"/>
              <a:gd name="connsiteX206" fmla="*/ 1004278 w 6837827"/>
              <a:gd name="connsiteY206" fmla="*/ 761910 h 1153348"/>
              <a:gd name="connsiteX207" fmla="*/ 1000078 w 6837827"/>
              <a:gd name="connsiteY207" fmla="*/ 800968 h 1153348"/>
              <a:gd name="connsiteX208" fmla="*/ 997979 w 6837827"/>
              <a:gd name="connsiteY208" fmla="*/ 845906 h 1153348"/>
              <a:gd name="connsiteX209" fmla="*/ 997559 w 6837827"/>
              <a:gd name="connsiteY209" fmla="*/ 890004 h 1153348"/>
              <a:gd name="connsiteX210" fmla="*/ 998399 w 6837827"/>
              <a:gd name="connsiteY210" fmla="*/ 926123 h 1153348"/>
              <a:gd name="connsiteX211" fmla="*/ 1000918 w 6837827"/>
              <a:gd name="connsiteY211" fmla="*/ 946282 h 1153348"/>
              <a:gd name="connsiteX212" fmla="*/ 1024857 w 6837827"/>
              <a:gd name="connsiteY212" fmla="*/ 987020 h 1153348"/>
              <a:gd name="connsiteX213" fmla="*/ 1062656 w 6837827"/>
              <a:gd name="connsiteY213" fmla="*/ 1002560 h 1153348"/>
              <a:gd name="connsiteX214" fmla="*/ 1107594 w 6837827"/>
              <a:gd name="connsiteY214" fmla="*/ 998780 h 1153348"/>
              <a:gd name="connsiteX215" fmla="*/ 1152952 w 6837827"/>
              <a:gd name="connsiteY215" fmla="*/ 981140 h 1153348"/>
              <a:gd name="connsiteX216" fmla="*/ 1192430 w 6837827"/>
              <a:gd name="connsiteY216" fmla="*/ 955941 h 1153348"/>
              <a:gd name="connsiteX217" fmla="*/ 1219729 w 6837827"/>
              <a:gd name="connsiteY217" fmla="*/ 929063 h 1153348"/>
              <a:gd name="connsiteX218" fmla="*/ 1228969 w 6837827"/>
              <a:gd name="connsiteY218" fmla="*/ 918983 h 1153348"/>
              <a:gd name="connsiteX219" fmla="*/ 1236948 w 6837827"/>
              <a:gd name="connsiteY219" fmla="*/ 909324 h 1153348"/>
              <a:gd name="connsiteX220" fmla="*/ 1240728 w 6837827"/>
              <a:gd name="connsiteY220" fmla="*/ 897144 h 1153348"/>
              <a:gd name="connsiteX221" fmla="*/ 1238208 w 6837827"/>
              <a:gd name="connsiteY221" fmla="*/ 879505 h 1153348"/>
              <a:gd name="connsiteX222" fmla="*/ 1206710 w 6837827"/>
              <a:gd name="connsiteY222" fmla="*/ 859766 h 1153348"/>
              <a:gd name="connsiteX223" fmla="*/ 1179831 w 6837827"/>
              <a:gd name="connsiteY223" fmla="*/ 883285 h 1153348"/>
              <a:gd name="connsiteX224" fmla="*/ 1149172 w 6837827"/>
              <a:gd name="connsiteY224" fmla="*/ 909743 h 1153348"/>
              <a:gd name="connsiteX225" fmla="*/ 1115153 w 6837827"/>
              <a:gd name="connsiteY225" fmla="*/ 927383 h 1153348"/>
              <a:gd name="connsiteX226" fmla="*/ 1077775 w 6837827"/>
              <a:gd name="connsiteY226" fmla="*/ 924023 h 1153348"/>
              <a:gd name="connsiteX227" fmla="*/ 1068535 w 6837827"/>
              <a:gd name="connsiteY227" fmla="*/ 912263 h 1153348"/>
              <a:gd name="connsiteX228" fmla="*/ 1064756 w 6837827"/>
              <a:gd name="connsiteY228" fmla="*/ 891684 h 1153348"/>
              <a:gd name="connsiteX229" fmla="*/ 1064756 w 6837827"/>
              <a:gd name="connsiteY229" fmla="*/ 869845 h 1153348"/>
              <a:gd name="connsiteX230" fmla="*/ 1068116 w 6837827"/>
              <a:gd name="connsiteY230" fmla="*/ 853886 h 1153348"/>
              <a:gd name="connsiteX231" fmla="*/ 1080295 w 6837827"/>
              <a:gd name="connsiteY231" fmla="*/ 844646 h 1153348"/>
              <a:gd name="connsiteX232" fmla="*/ 1101294 w 6837827"/>
              <a:gd name="connsiteY232" fmla="*/ 839186 h 1153348"/>
              <a:gd name="connsiteX233" fmla="*/ 1123973 w 6837827"/>
              <a:gd name="connsiteY233" fmla="*/ 835827 h 1153348"/>
              <a:gd name="connsiteX234" fmla="*/ 1141612 w 6837827"/>
              <a:gd name="connsiteY234" fmla="*/ 833307 h 1153348"/>
              <a:gd name="connsiteX235" fmla="*/ 1157152 w 6837827"/>
              <a:gd name="connsiteY235" fmla="*/ 829947 h 1153348"/>
              <a:gd name="connsiteX236" fmla="*/ 1169751 w 6837827"/>
              <a:gd name="connsiteY236" fmla="*/ 823647 h 1153348"/>
              <a:gd name="connsiteX237" fmla="*/ 1177731 w 6837827"/>
              <a:gd name="connsiteY237" fmla="*/ 812728 h 1153348"/>
              <a:gd name="connsiteX238" fmla="*/ 1178991 w 6837827"/>
              <a:gd name="connsiteY238" fmla="*/ 795088 h 1153348"/>
              <a:gd name="connsiteX239" fmla="*/ 1174791 w 6837827"/>
              <a:gd name="connsiteY239" fmla="*/ 779969 h 1153348"/>
              <a:gd name="connsiteX240" fmla="*/ 1165131 w 6837827"/>
              <a:gd name="connsiteY240" fmla="*/ 769889 h 1153348"/>
              <a:gd name="connsiteX241" fmla="*/ 1139513 w 6837827"/>
              <a:gd name="connsiteY241" fmla="*/ 766530 h 1153348"/>
              <a:gd name="connsiteX242" fmla="*/ 1111374 w 6837827"/>
              <a:gd name="connsiteY242" fmla="*/ 770729 h 1153348"/>
              <a:gd name="connsiteX243" fmla="*/ 1099194 w 6837827"/>
              <a:gd name="connsiteY243" fmla="*/ 772829 h 1153348"/>
              <a:gd name="connsiteX244" fmla="*/ 1085335 w 6837827"/>
              <a:gd name="connsiteY244" fmla="*/ 771989 h 1153348"/>
              <a:gd name="connsiteX245" fmla="*/ 1077775 w 6837827"/>
              <a:gd name="connsiteY245" fmla="*/ 761490 h 1153348"/>
              <a:gd name="connsiteX246" fmla="*/ 1083655 w 6837827"/>
              <a:gd name="connsiteY246" fmla="*/ 733351 h 1153348"/>
              <a:gd name="connsiteX247" fmla="*/ 1106334 w 6837827"/>
              <a:gd name="connsiteY247" fmla="*/ 706892 h 1153348"/>
              <a:gd name="connsiteX248" fmla="*/ 1137832 w 6837827"/>
              <a:gd name="connsiteY248" fmla="*/ 700173 h 1153348"/>
              <a:gd name="connsiteX249" fmla="*/ 1172691 w 6837827"/>
              <a:gd name="connsiteY249" fmla="*/ 697652 h 1153348"/>
              <a:gd name="connsiteX250" fmla="*/ 1205030 w 6837827"/>
              <a:gd name="connsiteY250" fmla="*/ 685053 h 1153348"/>
              <a:gd name="connsiteX251" fmla="*/ 1219729 w 6837827"/>
              <a:gd name="connsiteY251" fmla="*/ 678753 h 1153348"/>
              <a:gd name="connsiteX252" fmla="*/ 1370083 w 6837827"/>
              <a:gd name="connsiteY252" fmla="*/ 654394 h 1153348"/>
              <a:gd name="connsiteX253" fmla="*/ 1367563 w 6837827"/>
              <a:gd name="connsiteY253" fmla="*/ 702272 h 1153348"/>
              <a:gd name="connsiteX254" fmla="*/ 1383522 w 6837827"/>
              <a:gd name="connsiteY254" fmla="*/ 753090 h 1153348"/>
              <a:gd name="connsiteX255" fmla="*/ 1403681 w 6837827"/>
              <a:gd name="connsiteY255" fmla="*/ 812308 h 1153348"/>
              <a:gd name="connsiteX256" fmla="*/ 1407881 w 6837827"/>
              <a:gd name="connsiteY256" fmla="*/ 825327 h 1153348"/>
              <a:gd name="connsiteX257" fmla="*/ 1414181 w 6837827"/>
              <a:gd name="connsiteY257" fmla="*/ 845066 h 1153348"/>
              <a:gd name="connsiteX258" fmla="*/ 1420060 w 6837827"/>
              <a:gd name="connsiteY258" fmla="*/ 868585 h 1153348"/>
              <a:gd name="connsiteX259" fmla="*/ 1423000 w 6837827"/>
              <a:gd name="connsiteY259" fmla="*/ 891264 h 1153348"/>
              <a:gd name="connsiteX260" fmla="*/ 1420480 w 6837827"/>
              <a:gd name="connsiteY260" fmla="*/ 909743 h 1153348"/>
              <a:gd name="connsiteX261" fmla="*/ 1409981 w 6837827"/>
              <a:gd name="connsiteY261" fmla="*/ 920243 h 1153348"/>
              <a:gd name="connsiteX262" fmla="*/ 1400321 w 6837827"/>
              <a:gd name="connsiteY262" fmla="*/ 920243 h 1153348"/>
              <a:gd name="connsiteX263" fmla="*/ 1391922 w 6837827"/>
              <a:gd name="connsiteY263" fmla="*/ 914783 h 1153348"/>
              <a:gd name="connsiteX264" fmla="*/ 1384362 w 6837827"/>
              <a:gd name="connsiteY264" fmla="*/ 906804 h 1153348"/>
              <a:gd name="connsiteX265" fmla="*/ 1378062 w 6837827"/>
              <a:gd name="connsiteY265" fmla="*/ 899664 h 1153348"/>
              <a:gd name="connsiteX266" fmla="*/ 1360003 w 6837827"/>
              <a:gd name="connsiteY266" fmla="*/ 890004 h 1153348"/>
              <a:gd name="connsiteX267" fmla="*/ 1344044 w 6837827"/>
              <a:gd name="connsiteY267" fmla="*/ 896724 h 1153348"/>
              <a:gd name="connsiteX268" fmla="*/ 1333124 w 6837827"/>
              <a:gd name="connsiteY268" fmla="*/ 913943 h 1153348"/>
              <a:gd name="connsiteX269" fmla="*/ 1330184 w 6837827"/>
              <a:gd name="connsiteY269" fmla="*/ 934522 h 1153348"/>
              <a:gd name="connsiteX270" fmla="*/ 1336484 w 6837827"/>
              <a:gd name="connsiteY270" fmla="*/ 958041 h 1153348"/>
              <a:gd name="connsiteX271" fmla="*/ 1349923 w 6837827"/>
              <a:gd name="connsiteY271" fmla="*/ 980301 h 1153348"/>
              <a:gd name="connsiteX272" fmla="*/ 1369663 w 6837827"/>
              <a:gd name="connsiteY272" fmla="*/ 996680 h 1153348"/>
              <a:gd name="connsiteX273" fmla="*/ 1394441 w 6837827"/>
              <a:gd name="connsiteY273" fmla="*/ 1002560 h 1153348"/>
              <a:gd name="connsiteX274" fmla="*/ 1449879 w 6837827"/>
              <a:gd name="connsiteY274" fmla="*/ 986600 h 1153348"/>
              <a:gd name="connsiteX275" fmla="*/ 1481798 w 6837827"/>
              <a:gd name="connsiteY275" fmla="*/ 949222 h 1153348"/>
              <a:gd name="connsiteX276" fmla="*/ 1493557 w 6837827"/>
              <a:gd name="connsiteY276" fmla="*/ 901344 h 1153348"/>
              <a:gd name="connsiteX277" fmla="*/ 1488517 w 6837827"/>
              <a:gd name="connsiteY277" fmla="*/ 852626 h 1153348"/>
              <a:gd name="connsiteX278" fmla="*/ 1475918 w 6837827"/>
              <a:gd name="connsiteY278" fmla="*/ 817347 h 1153348"/>
              <a:gd name="connsiteX279" fmla="*/ 1459959 w 6837827"/>
              <a:gd name="connsiteY279" fmla="*/ 781649 h 1153348"/>
              <a:gd name="connsiteX280" fmla="*/ 1446099 w 6837827"/>
              <a:gd name="connsiteY280" fmla="*/ 745531 h 1153348"/>
              <a:gd name="connsiteX281" fmla="*/ 1439380 w 6837827"/>
              <a:gd name="connsiteY281" fmla="*/ 709412 h 1153348"/>
              <a:gd name="connsiteX282" fmla="*/ 1443159 w 6837827"/>
              <a:gd name="connsiteY282" fmla="*/ 671194 h 1153348"/>
              <a:gd name="connsiteX283" fmla="*/ 1457859 w 6837827"/>
              <a:gd name="connsiteY283" fmla="*/ 653135 h 1153348"/>
              <a:gd name="connsiteX284" fmla="*/ 1483058 w 6837827"/>
              <a:gd name="connsiteY284" fmla="*/ 644315 h 1153348"/>
              <a:gd name="connsiteX285" fmla="*/ 1518336 w 6837827"/>
              <a:gd name="connsiteY285" fmla="*/ 633815 h 1153348"/>
              <a:gd name="connsiteX286" fmla="*/ 1533876 w 6837827"/>
              <a:gd name="connsiteY286" fmla="*/ 625836 h 1153348"/>
              <a:gd name="connsiteX287" fmla="*/ 1543115 w 6837827"/>
              <a:gd name="connsiteY287" fmla="*/ 610716 h 1153348"/>
              <a:gd name="connsiteX288" fmla="*/ 1538075 w 6837827"/>
              <a:gd name="connsiteY288" fmla="*/ 593497 h 1153348"/>
              <a:gd name="connsiteX289" fmla="*/ 1530096 w 6837827"/>
              <a:gd name="connsiteY289" fmla="*/ 580478 h 1153348"/>
              <a:gd name="connsiteX290" fmla="*/ 1516656 w 6837827"/>
              <a:gd name="connsiteY290" fmla="*/ 572918 h 1153348"/>
              <a:gd name="connsiteX291" fmla="*/ 1496077 w 6837827"/>
              <a:gd name="connsiteY291" fmla="*/ 571658 h 1153348"/>
              <a:gd name="connsiteX292" fmla="*/ 1472558 w 6837827"/>
              <a:gd name="connsiteY292" fmla="*/ 575018 h 1153348"/>
              <a:gd name="connsiteX293" fmla="*/ 1447359 w 6837827"/>
              <a:gd name="connsiteY293" fmla="*/ 581318 h 1153348"/>
              <a:gd name="connsiteX294" fmla="*/ 1423840 w 6837827"/>
              <a:gd name="connsiteY294" fmla="*/ 590977 h 1153348"/>
              <a:gd name="connsiteX295" fmla="*/ 1404941 w 6837827"/>
              <a:gd name="connsiteY295" fmla="*/ 604837 h 1153348"/>
              <a:gd name="connsiteX296" fmla="*/ 1370083 w 6837827"/>
              <a:gd name="connsiteY296" fmla="*/ 654394 h 1153348"/>
              <a:gd name="connsiteX297" fmla="*/ 1784185 w 6837827"/>
              <a:gd name="connsiteY297" fmla="*/ 569138 h 1153348"/>
              <a:gd name="connsiteX298" fmla="*/ 1776205 w 6837827"/>
              <a:gd name="connsiteY298" fmla="*/ 569978 h 1153348"/>
              <a:gd name="connsiteX299" fmla="*/ 1748906 w 6837827"/>
              <a:gd name="connsiteY299" fmla="*/ 575858 h 1153348"/>
              <a:gd name="connsiteX300" fmla="*/ 1727907 w 6837827"/>
              <a:gd name="connsiteY300" fmla="*/ 585097 h 1153348"/>
              <a:gd name="connsiteX301" fmla="*/ 1707328 w 6837827"/>
              <a:gd name="connsiteY301" fmla="*/ 596857 h 1153348"/>
              <a:gd name="connsiteX302" fmla="*/ 1680869 w 6837827"/>
              <a:gd name="connsiteY302" fmla="*/ 609876 h 1153348"/>
              <a:gd name="connsiteX303" fmla="*/ 1672050 w 6837827"/>
              <a:gd name="connsiteY303" fmla="*/ 611976 h 1153348"/>
              <a:gd name="connsiteX304" fmla="*/ 1662390 w 6837827"/>
              <a:gd name="connsiteY304" fmla="*/ 612396 h 1153348"/>
              <a:gd name="connsiteX305" fmla="*/ 1652730 w 6837827"/>
              <a:gd name="connsiteY305" fmla="*/ 614496 h 1153348"/>
              <a:gd name="connsiteX306" fmla="*/ 1644751 w 6837827"/>
              <a:gd name="connsiteY306" fmla="*/ 620796 h 1153348"/>
              <a:gd name="connsiteX307" fmla="*/ 1621652 w 6837827"/>
              <a:gd name="connsiteY307" fmla="*/ 722851 h 1153348"/>
              <a:gd name="connsiteX308" fmla="*/ 1619552 w 6837827"/>
              <a:gd name="connsiteY308" fmla="*/ 825747 h 1153348"/>
              <a:gd name="connsiteX309" fmla="*/ 1623752 w 6837827"/>
              <a:gd name="connsiteY309" fmla="*/ 853886 h 1153348"/>
              <a:gd name="connsiteX310" fmla="*/ 1630051 w 6837827"/>
              <a:gd name="connsiteY310" fmla="*/ 881605 h 1153348"/>
              <a:gd name="connsiteX311" fmla="*/ 1649791 w 6837827"/>
              <a:gd name="connsiteY311" fmla="*/ 922343 h 1153348"/>
              <a:gd name="connsiteX312" fmla="*/ 1684649 w 6837827"/>
              <a:gd name="connsiteY312" fmla="*/ 950482 h 1153348"/>
              <a:gd name="connsiteX313" fmla="*/ 1736307 w 6837827"/>
              <a:gd name="connsiteY313" fmla="*/ 959721 h 1153348"/>
              <a:gd name="connsiteX314" fmla="*/ 1766546 w 6837827"/>
              <a:gd name="connsiteY314" fmla="*/ 951742 h 1153348"/>
              <a:gd name="connsiteX315" fmla="*/ 1793844 w 6837827"/>
              <a:gd name="connsiteY315" fmla="*/ 936622 h 1153348"/>
              <a:gd name="connsiteX316" fmla="*/ 1811484 w 6837827"/>
              <a:gd name="connsiteY316" fmla="*/ 911004 h 1153348"/>
              <a:gd name="connsiteX317" fmla="*/ 1819883 w 6837827"/>
              <a:gd name="connsiteY317" fmla="*/ 892524 h 1153348"/>
              <a:gd name="connsiteX318" fmla="*/ 1823243 w 6837827"/>
              <a:gd name="connsiteY318" fmla="*/ 871525 h 1153348"/>
              <a:gd name="connsiteX319" fmla="*/ 1812324 w 6837827"/>
              <a:gd name="connsiteY319" fmla="*/ 851786 h 1153348"/>
              <a:gd name="connsiteX320" fmla="*/ 1789225 w 6837827"/>
              <a:gd name="connsiteY320" fmla="*/ 843806 h 1153348"/>
              <a:gd name="connsiteX321" fmla="*/ 1778725 w 6837827"/>
              <a:gd name="connsiteY321" fmla="*/ 845066 h 1153348"/>
              <a:gd name="connsiteX322" fmla="*/ 1772425 w 6837827"/>
              <a:gd name="connsiteY322" fmla="*/ 848846 h 1153348"/>
              <a:gd name="connsiteX323" fmla="*/ 1768225 w 6837827"/>
              <a:gd name="connsiteY323" fmla="*/ 855146 h 1153348"/>
              <a:gd name="connsiteX324" fmla="*/ 1763186 w 6837827"/>
              <a:gd name="connsiteY324" fmla="*/ 863545 h 1153348"/>
              <a:gd name="connsiteX325" fmla="*/ 1752266 w 6837827"/>
              <a:gd name="connsiteY325" fmla="*/ 873625 h 1153348"/>
              <a:gd name="connsiteX326" fmla="*/ 1739247 w 6837827"/>
              <a:gd name="connsiteY326" fmla="*/ 877825 h 1153348"/>
              <a:gd name="connsiteX327" fmla="*/ 1710268 w 6837827"/>
              <a:gd name="connsiteY327" fmla="*/ 869425 h 1153348"/>
              <a:gd name="connsiteX328" fmla="*/ 1697668 w 6837827"/>
              <a:gd name="connsiteY328" fmla="*/ 840026 h 1153348"/>
              <a:gd name="connsiteX329" fmla="*/ 1714888 w 6837827"/>
              <a:gd name="connsiteY329" fmla="*/ 827427 h 1153348"/>
              <a:gd name="connsiteX330" fmla="*/ 1735047 w 6837827"/>
              <a:gd name="connsiteY330" fmla="*/ 816508 h 1153348"/>
              <a:gd name="connsiteX331" fmla="*/ 1754786 w 6837827"/>
              <a:gd name="connsiteY331" fmla="*/ 804328 h 1153348"/>
              <a:gd name="connsiteX332" fmla="*/ 1770745 w 6837827"/>
              <a:gd name="connsiteY332" fmla="*/ 788369 h 1153348"/>
              <a:gd name="connsiteX333" fmla="*/ 1779145 w 6837827"/>
              <a:gd name="connsiteY333" fmla="*/ 771989 h 1153348"/>
              <a:gd name="connsiteX334" fmla="*/ 1781245 w 6837827"/>
              <a:gd name="connsiteY334" fmla="*/ 753510 h 1153348"/>
              <a:gd name="connsiteX335" fmla="*/ 1771585 w 6837827"/>
              <a:gd name="connsiteY335" fmla="*/ 735451 h 1153348"/>
              <a:gd name="connsiteX336" fmla="*/ 1751006 w 6837827"/>
              <a:gd name="connsiteY336" fmla="*/ 729571 h 1153348"/>
              <a:gd name="connsiteX337" fmla="*/ 1730007 w 6837827"/>
              <a:gd name="connsiteY337" fmla="*/ 734611 h 1153348"/>
              <a:gd name="connsiteX338" fmla="*/ 1712368 w 6837827"/>
              <a:gd name="connsiteY338" fmla="*/ 742591 h 1153348"/>
              <a:gd name="connsiteX339" fmla="*/ 1702288 w 6837827"/>
              <a:gd name="connsiteY339" fmla="*/ 746790 h 1153348"/>
              <a:gd name="connsiteX340" fmla="*/ 1697248 w 6837827"/>
              <a:gd name="connsiteY340" fmla="*/ 745531 h 1153348"/>
              <a:gd name="connsiteX341" fmla="*/ 1695569 w 6837827"/>
              <a:gd name="connsiteY341" fmla="*/ 740491 h 1153348"/>
              <a:gd name="connsiteX342" fmla="*/ 1694729 w 6837827"/>
              <a:gd name="connsiteY342" fmla="*/ 734191 h 1153348"/>
              <a:gd name="connsiteX343" fmla="*/ 1695569 w 6837827"/>
              <a:gd name="connsiteY343" fmla="*/ 721172 h 1153348"/>
              <a:gd name="connsiteX344" fmla="*/ 1698928 w 6837827"/>
              <a:gd name="connsiteY344" fmla="*/ 706472 h 1153348"/>
              <a:gd name="connsiteX345" fmla="*/ 1702708 w 6837827"/>
              <a:gd name="connsiteY345" fmla="*/ 693453 h 1153348"/>
              <a:gd name="connsiteX346" fmla="*/ 1705228 w 6837827"/>
              <a:gd name="connsiteY346" fmla="*/ 684633 h 1153348"/>
              <a:gd name="connsiteX347" fmla="*/ 1716568 w 6837827"/>
              <a:gd name="connsiteY347" fmla="*/ 671194 h 1153348"/>
              <a:gd name="connsiteX348" fmla="*/ 1737567 w 6837827"/>
              <a:gd name="connsiteY348" fmla="*/ 659014 h 1153348"/>
              <a:gd name="connsiteX349" fmla="*/ 1761086 w 6837827"/>
              <a:gd name="connsiteY349" fmla="*/ 648935 h 1153348"/>
              <a:gd name="connsiteX350" fmla="*/ 1779145 w 6837827"/>
              <a:gd name="connsiteY350" fmla="*/ 642635 h 1153348"/>
              <a:gd name="connsiteX351" fmla="*/ 1811484 w 6837827"/>
              <a:gd name="connsiteY351" fmla="*/ 627516 h 1153348"/>
              <a:gd name="connsiteX352" fmla="*/ 1826603 w 6837827"/>
              <a:gd name="connsiteY352" fmla="*/ 595597 h 1153348"/>
              <a:gd name="connsiteX353" fmla="*/ 1823663 w 6837827"/>
              <a:gd name="connsiteY353" fmla="*/ 585518 h 1153348"/>
              <a:gd name="connsiteX354" fmla="*/ 1815263 w 6837827"/>
              <a:gd name="connsiteY354" fmla="*/ 577538 h 1153348"/>
              <a:gd name="connsiteX355" fmla="*/ 1804344 w 6837827"/>
              <a:gd name="connsiteY355" fmla="*/ 572078 h 1153348"/>
              <a:gd name="connsiteX356" fmla="*/ 1793844 w 6837827"/>
              <a:gd name="connsiteY356" fmla="*/ 569978 h 1153348"/>
              <a:gd name="connsiteX357" fmla="*/ 1784185 w 6837827"/>
              <a:gd name="connsiteY357" fmla="*/ 569138 h 1153348"/>
              <a:gd name="connsiteX358" fmla="*/ 1963097 w 6837827"/>
              <a:gd name="connsiteY358" fmla="*/ 933263 h 1153348"/>
              <a:gd name="connsiteX359" fmla="*/ 1977796 w 6837827"/>
              <a:gd name="connsiteY359" fmla="*/ 923183 h 1153348"/>
              <a:gd name="connsiteX360" fmla="*/ 1987456 w 6837827"/>
              <a:gd name="connsiteY360" fmla="*/ 902604 h 1153348"/>
              <a:gd name="connsiteX361" fmla="*/ 1993756 w 6837827"/>
              <a:gd name="connsiteY361" fmla="*/ 876985 h 1153348"/>
              <a:gd name="connsiteX362" fmla="*/ 1998376 w 6837827"/>
              <a:gd name="connsiteY362" fmla="*/ 851786 h 1153348"/>
              <a:gd name="connsiteX363" fmla="*/ 2003415 w 6837827"/>
              <a:gd name="connsiteY363" fmla="*/ 832047 h 1153348"/>
              <a:gd name="connsiteX364" fmla="*/ 2011815 w 6837827"/>
              <a:gd name="connsiteY364" fmla="*/ 816087 h 1153348"/>
              <a:gd name="connsiteX365" fmla="*/ 2029874 w 6837827"/>
              <a:gd name="connsiteY365" fmla="*/ 813568 h 1153348"/>
              <a:gd name="connsiteX366" fmla="*/ 2057173 w 6837827"/>
              <a:gd name="connsiteY366" fmla="*/ 811888 h 1153348"/>
              <a:gd name="connsiteX367" fmla="*/ 2078172 w 6837827"/>
              <a:gd name="connsiteY367" fmla="*/ 808528 h 1153348"/>
              <a:gd name="connsiteX368" fmla="*/ 2097491 w 6837827"/>
              <a:gd name="connsiteY368" fmla="*/ 801388 h 1153348"/>
              <a:gd name="connsiteX369" fmla="*/ 2119330 w 6837827"/>
              <a:gd name="connsiteY369" fmla="*/ 788789 h 1153348"/>
              <a:gd name="connsiteX370" fmla="*/ 2129830 w 6837827"/>
              <a:gd name="connsiteY370" fmla="*/ 818187 h 1153348"/>
              <a:gd name="connsiteX371" fmla="*/ 2135290 w 6837827"/>
              <a:gd name="connsiteY371" fmla="*/ 854306 h 1153348"/>
              <a:gd name="connsiteX372" fmla="*/ 2146209 w 6837827"/>
              <a:gd name="connsiteY372" fmla="*/ 885384 h 1153348"/>
              <a:gd name="connsiteX373" fmla="*/ 2173088 w 6837827"/>
              <a:gd name="connsiteY373" fmla="*/ 900084 h 1153348"/>
              <a:gd name="connsiteX374" fmla="*/ 2197867 w 6837827"/>
              <a:gd name="connsiteY374" fmla="*/ 895884 h 1153348"/>
              <a:gd name="connsiteX375" fmla="*/ 2215926 w 6837827"/>
              <a:gd name="connsiteY375" fmla="*/ 880765 h 1153348"/>
              <a:gd name="connsiteX376" fmla="*/ 2226006 w 6837827"/>
              <a:gd name="connsiteY376" fmla="*/ 858926 h 1153348"/>
              <a:gd name="connsiteX377" fmla="*/ 2226846 w 6837827"/>
              <a:gd name="connsiteY377" fmla="*/ 833727 h 1153348"/>
              <a:gd name="connsiteX378" fmla="*/ 2221386 w 6837827"/>
              <a:gd name="connsiteY378" fmla="*/ 819867 h 1153348"/>
              <a:gd name="connsiteX379" fmla="*/ 2210886 w 6837827"/>
              <a:gd name="connsiteY379" fmla="*/ 803068 h 1153348"/>
              <a:gd name="connsiteX380" fmla="*/ 2199547 w 6837827"/>
              <a:gd name="connsiteY380" fmla="*/ 783749 h 1153348"/>
              <a:gd name="connsiteX381" fmla="*/ 2191987 w 6837827"/>
              <a:gd name="connsiteY381" fmla="*/ 762330 h 1153348"/>
              <a:gd name="connsiteX382" fmla="*/ 2187787 w 6837827"/>
              <a:gd name="connsiteY382" fmla="*/ 742171 h 1153348"/>
              <a:gd name="connsiteX383" fmla="*/ 2181908 w 6837827"/>
              <a:gd name="connsiteY383" fmla="*/ 718652 h 1153348"/>
              <a:gd name="connsiteX384" fmla="*/ 2175608 w 6837827"/>
              <a:gd name="connsiteY384" fmla="*/ 695133 h 1153348"/>
              <a:gd name="connsiteX385" fmla="*/ 2170568 w 6837827"/>
              <a:gd name="connsiteY385" fmla="*/ 674553 h 1153348"/>
              <a:gd name="connsiteX386" fmla="*/ 2163848 w 6837827"/>
              <a:gd name="connsiteY386" fmla="*/ 643475 h 1153348"/>
              <a:gd name="connsiteX387" fmla="*/ 2156289 w 6837827"/>
              <a:gd name="connsiteY387" fmla="*/ 614916 h 1153348"/>
              <a:gd name="connsiteX388" fmla="*/ 2146209 w 6837827"/>
              <a:gd name="connsiteY388" fmla="*/ 586777 h 1153348"/>
              <a:gd name="connsiteX389" fmla="*/ 2131930 w 6837827"/>
              <a:gd name="connsiteY389" fmla="*/ 556539 h 1153348"/>
              <a:gd name="connsiteX390" fmla="*/ 2120590 w 6837827"/>
              <a:gd name="connsiteY390" fmla="*/ 538479 h 1153348"/>
              <a:gd name="connsiteX391" fmla="*/ 2103791 w 6837827"/>
              <a:gd name="connsiteY391" fmla="*/ 520420 h 1153348"/>
              <a:gd name="connsiteX392" fmla="*/ 2083632 w 6837827"/>
              <a:gd name="connsiteY392" fmla="*/ 509501 h 1153348"/>
              <a:gd name="connsiteX393" fmla="*/ 2062213 w 6837827"/>
              <a:gd name="connsiteY393" fmla="*/ 514540 h 1153348"/>
              <a:gd name="connsiteX394" fmla="*/ 2051713 w 6837827"/>
              <a:gd name="connsiteY394" fmla="*/ 529240 h 1153348"/>
              <a:gd name="connsiteX395" fmla="*/ 2041634 w 6837827"/>
              <a:gd name="connsiteY395" fmla="*/ 553179 h 1153348"/>
              <a:gd name="connsiteX396" fmla="*/ 2032394 w 6837827"/>
              <a:gd name="connsiteY396" fmla="*/ 577958 h 1153348"/>
              <a:gd name="connsiteX397" fmla="*/ 2025674 w 6837827"/>
              <a:gd name="connsiteY397" fmla="*/ 596017 h 1153348"/>
              <a:gd name="connsiteX398" fmla="*/ 2014755 w 6837827"/>
              <a:gd name="connsiteY398" fmla="*/ 619116 h 1153348"/>
              <a:gd name="connsiteX399" fmla="*/ 2001316 w 6837827"/>
              <a:gd name="connsiteY399" fmla="*/ 648515 h 1153348"/>
              <a:gd name="connsiteX400" fmla="*/ 1990396 w 6837827"/>
              <a:gd name="connsiteY400" fmla="*/ 678333 h 1153348"/>
              <a:gd name="connsiteX401" fmla="*/ 1986196 w 6837827"/>
              <a:gd name="connsiteY401" fmla="*/ 701432 h 1153348"/>
              <a:gd name="connsiteX402" fmla="*/ 1966457 w 6837827"/>
              <a:gd name="connsiteY402" fmla="*/ 742171 h 1153348"/>
              <a:gd name="connsiteX403" fmla="*/ 1943778 w 6837827"/>
              <a:gd name="connsiteY403" fmla="*/ 786269 h 1153348"/>
              <a:gd name="connsiteX404" fmla="*/ 1926139 w 6837827"/>
              <a:gd name="connsiteY404" fmla="*/ 832887 h 1153348"/>
              <a:gd name="connsiteX405" fmla="*/ 1921519 w 6837827"/>
              <a:gd name="connsiteY405" fmla="*/ 881605 h 1153348"/>
              <a:gd name="connsiteX406" fmla="*/ 1927819 w 6837827"/>
              <a:gd name="connsiteY406" fmla="*/ 906804 h 1153348"/>
              <a:gd name="connsiteX407" fmla="*/ 1941678 w 6837827"/>
              <a:gd name="connsiteY407" fmla="*/ 927803 h 1153348"/>
              <a:gd name="connsiteX408" fmla="*/ 1963097 w 6837827"/>
              <a:gd name="connsiteY408" fmla="*/ 933263 h 1153348"/>
              <a:gd name="connsiteX409" fmla="*/ 2089512 w 6837827"/>
              <a:gd name="connsiteY409" fmla="*/ 624576 h 1153348"/>
              <a:gd name="connsiteX410" fmla="*/ 2092451 w 6837827"/>
              <a:gd name="connsiteY410" fmla="*/ 648095 h 1153348"/>
              <a:gd name="connsiteX411" fmla="*/ 2100011 w 6837827"/>
              <a:gd name="connsiteY411" fmla="*/ 679173 h 1153348"/>
              <a:gd name="connsiteX412" fmla="*/ 2106311 w 6837827"/>
              <a:gd name="connsiteY412" fmla="*/ 709412 h 1153348"/>
              <a:gd name="connsiteX413" fmla="*/ 2105891 w 6837827"/>
              <a:gd name="connsiteY413" fmla="*/ 730411 h 1153348"/>
              <a:gd name="connsiteX414" fmla="*/ 2091192 w 6837827"/>
              <a:gd name="connsiteY414" fmla="*/ 734191 h 1153348"/>
              <a:gd name="connsiteX415" fmla="*/ 2067673 w 6837827"/>
              <a:gd name="connsiteY415" fmla="*/ 737551 h 1153348"/>
              <a:gd name="connsiteX416" fmla="*/ 2045834 w 6837827"/>
              <a:gd name="connsiteY416" fmla="*/ 738811 h 1153348"/>
              <a:gd name="connsiteX417" fmla="*/ 2037014 w 6837827"/>
              <a:gd name="connsiteY417" fmla="*/ 735871 h 1153348"/>
              <a:gd name="connsiteX418" fmla="*/ 2056333 w 6837827"/>
              <a:gd name="connsiteY418" fmla="*/ 679593 h 1153348"/>
              <a:gd name="connsiteX419" fmla="*/ 2081532 w 6837827"/>
              <a:gd name="connsiteY419" fmla="*/ 624996 h 1153348"/>
              <a:gd name="connsiteX420" fmla="*/ 2089512 w 6837827"/>
              <a:gd name="connsiteY420" fmla="*/ 624576 h 1153348"/>
              <a:gd name="connsiteX421" fmla="*/ 2428437 w 6837827"/>
              <a:gd name="connsiteY421" fmla="*/ 757710 h 1153348"/>
              <a:gd name="connsiteX422" fmla="*/ 2439777 w 6837827"/>
              <a:gd name="connsiteY422" fmla="*/ 760650 h 1153348"/>
              <a:gd name="connsiteX423" fmla="*/ 2470435 w 6837827"/>
              <a:gd name="connsiteY423" fmla="*/ 771989 h 1153348"/>
              <a:gd name="connsiteX424" fmla="*/ 2498574 w 6837827"/>
              <a:gd name="connsiteY424" fmla="*/ 790049 h 1153348"/>
              <a:gd name="connsiteX425" fmla="*/ 2521253 w 6837827"/>
              <a:gd name="connsiteY425" fmla="*/ 809368 h 1153348"/>
              <a:gd name="connsiteX426" fmla="*/ 2548132 w 6837827"/>
              <a:gd name="connsiteY426" fmla="*/ 826167 h 1153348"/>
              <a:gd name="connsiteX427" fmla="*/ 2577531 w 6837827"/>
              <a:gd name="connsiteY427" fmla="*/ 837087 h 1153348"/>
              <a:gd name="connsiteX428" fmla="*/ 2608609 w 6837827"/>
              <a:gd name="connsiteY428" fmla="*/ 839186 h 1153348"/>
              <a:gd name="connsiteX429" fmla="*/ 2634648 w 6837827"/>
              <a:gd name="connsiteY429" fmla="*/ 830787 h 1153348"/>
              <a:gd name="connsiteX430" fmla="*/ 2651027 w 6837827"/>
              <a:gd name="connsiteY430" fmla="*/ 816087 h 1153348"/>
              <a:gd name="connsiteX431" fmla="*/ 2654388 w 6837827"/>
              <a:gd name="connsiteY431" fmla="*/ 798868 h 1153348"/>
              <a:gd name="connsiteX432" fmla="*/ 2645988 w 6837827"/>
              <a:gd name="connsiteY432" fmla="*/ 782489 h 1153348"/>
              <a:gd name="connsiteX433" fmla="*/ 2627509 w 6837827"/>
              <a:gd name="connsiteY433" fmla="*/ 769889 h 1153348"/>
              <a:gd name="connsiteX434" fmla="*/ 2616589 w 6837827"/>
              <a:gd name="connsiteY434" fmla="*/ 769049 h 1153348"/>
              <a:gd name="connsiteX435" fmla="*/ 2606509 w 6837827"/>
              <a:gd name="connsiteY435" fmla="*/ 766110 h 1153348"/>
              <a:gd name="connsiteX436" fmla="*/ 2577951 w 6837827"/>
              <a:gd name="connsiteY436" fmla="*/ 746790 h 1153348"/>
              <a:gd name="connsiteX437" fmla="*/ 2547712 w 6837827"/>
              <a:gd name="connsiteY437" fmla="*/ 729991 h 1153348"/>
              <a:gd name="connsiteX438" fmla="*/ 2516633 w 6837827"/>
              <a:gd name="connsiteY438" fmla="*/ 714032 h 1153348"/>
              <a:gd name="connsiteX439" fmla="*/ 2487234 w 6837827"/>
              <a:gd name="connsiteY439" fmla="*/ 695973 h 1153348"/>
              <a:gd name="connsiteX440" fmla="*/ 2519573 w 6837827"/>
              <a:gd name="connsiteY440" fmla="*/ 682953 h 1153348"/>
              <a:gd name="connsiteX441" fmla="*/ 2543932 w 6837827"/>
              <a:gd name="connsiteY441" fmla="*/ 650615 h 1153348"/>
              <a:gd name="connsiteX442" fmla="*/ 2559471 w 6837827"/>
              <a:gd name="connsiteY442" fmla="*/ 606517 h 1153348"/>
              <a:gd name="connsiteX443" fmla="*/ 2565351 w 6837827"/>
              <a:gd name="connsiteY443" fmla="*/ 558639 h 1153348"/>
              <a:gd name="connsiteX444" fmla="*/ 2560731 w 6837827"/>
              <a:gd name="connsiteY444" fmla="*/ 514121 h 1153348"/>
              <a:gd name="connsiteX445" fmla="*/ 2543932 w 6837827"/>
              <a:gd name="connsiteY445" fmla="*/ 480522 h 1153348"/>
              <a:gd name="connsiteX446" fmla="*/ 2514533 w 6837827"/>
              <a:gd name="connsiteY446" fmla="*/ 465403 h 1153348"/>
              <a:gd name="connsiteX447" fmla="*/ 2471695 w 6837827"/>
              <a:gd name="connsiteY447" fmla="*/ 476742 h 1153348"/>
              <a:gd name="connsiteX448" fmla="*/ 2460776 w 6837827"/>
              <a:gd name="connsiteY448" fmla="*/ 480522 h 1153348"/>
              <a:gd name="connsiteX449" fmla="*/ 2449856 w 6837827"/>
              <a:gd name="connsiteY449" fmla="*/ 491441 h 1153348"/>
              <a:gd name="connsiteX450" fmla="*/ 2439357 w 6837827"/>
              <a:gd name="connsiteY450" fmla="*/ 504881 h 1153348"/>
              <a:gd name="connsiteX451" fmla="*/ 2430117 w 6837827"/>
              <a:gd name="connsiteY451" fmla="*/ 515800 h 1153348"/>
              <a:gd name="connsiteX452" fmla="*/ 2420037 w 6837827"/>
              <a:gd name="connsiteY452" fmla="*/ 522100 h 1153348"/>
              <a:gd name="connsiteX453" fmla="*/ 2409958 w 6837827"/>
              <a:gd name="connsiteY453" fmla="*/ 526720 h 1153348"/>
              <a:gd name="connsiteX454" fmla="*/ 2401558 w 6837827"/>
              <a:gd name="connsiteY454" fmla="*/ 532600 h 1153348"/>
              <a:gd name="connsiteX455" fmla="*/ 2396938 w 6837827"/>
              <a:gd name="connsiteY455" fmla="*/ 543099 h 1153348"/>
              <a:gd name="connsiteX456" fmla="*/ 2388959 w 6837827"/>
              <a:gd name="connsiteY456" fmla="*/ 576698 h 1153348"/>
              <a:gd name="connsiteX457" fmla="*/ 2378459 w 6837827"/>
              <a:gd name="connsiteY457" fmla="*/ 608196 h 1153348"/>
              <a:gd name="connsiteX458" fmla="*/ 2367120 w 6837827"/>
              <a:gd name="connsiteY458" fmla="*/ 639695 h 1153348"/>
              <a:gd name="connsiteX459" fmla="*/ 2356620 w 6837827"/>
              <a:gd name="connsiteY459" fmla="*/ 672454 h 1153348"/>
              <a:gd name="connsiteX460" fmla="*/ 2346961 w 6837827"/>
              <a:gd name="connsiteY460" fmla="*/ 714452 h 1153348"/>
              <a:gd name="connsiteX461" fmla="*/ 2338561 w 6837827"/>
              <a:gd name="connsiteY461" fmla="*/ 755610 h 1153348"/>
              <a:gd name="connsiteX462" fmla="*/ 2332261 w 6837827"/>
              <a:gd name="connsiteY462" fmla="*/ 779129 h 1153348"/>
              <a:gd name="connsiteX463" fmla="*/ 2323022 w 6837827"/>
              <a:gd name="connsiteY463" fmla="*/ 817347 h 1153348"/>
              <a:gd name="connsiteX464" fmla="*/ 2315042 w 6837827"/>
              <a:gd name="connsiteY464" fmla="*/ 861445 h 1153348"/>
              <a:gd name="connsiteX465" fmla="*/ 2313782 w 6837827"/>
              <a:gd name="connsiteY465" fmla="*/ 902604 h 1153348"/>
              <a:gd name="connsiteX466" fmla="*/ 2323022 w 6837827"/>
              <a:gd name="connsiteY466" fmla="*/ 932003 h 1153348"/>
              <a:gd name="connsiteX467" fmla="*/ 2347381 w 6837827"/>
              <a:gd name="connsiteY467" fmla="*/ 941662 h 1153348"/>
              <a:gd name="connsiteX468" fmla="*/ 2367120 w 6837827"/>
              <a:gd name="connsiteY468" fmla="*/ 932842 h 1153348"/>
              <a:gd name="connsiteX469" fmla="*/ 2378459 w 6837827"/>
              <a:gd name="connsiteY469" fmla="*/ 914783 h 1153348"/>
              <a:gd name="connsiteX470" fmla="*/ 2383499 w 6837827"/>
              <a:gd name="connsiteY470" fmla="*/ 891264 h 1153348"/>
              <a:gd name="connsiteX471" fmla="*/ 2384339 w 6837827"/>
              <a:gd name="connsiteY471" fmla="*/ 866485 h 1153348"/>
              <a:gd name="connsiteX472" fmla="*/ 2388119 w 6837827"/>
              <a:gd name="connsiteY472" fmla="*/ 840446 h 1153348"/>
              <a:gd name="connsiteX473" fmla="*/ 2396938 w 6837827"/>
              <a:gd name="connsiteY473" fmla="*/ 808108 h 1153348"/>
              <a:gd name="connsiteX474" fmla="*/ 2408698 w 6837827"/>
              <a:gd name="connsiteY474" fmla="*/ 775349 h 1153348"/>
              <a:gd name="connsiteX475" fmla="*/ 2420458 w 6837827"/>
              <a:gd name="connsiteY475" fmla="*/ 748470 h 1153348"/>
              <a:gd name="connsiteX476" fmla="*/ 2428437 w 6837827"/>
              <a:gd name="connsiteY476" fmla="*/ 757710 h 1153348"/>
              <a:gd name="connsiteX477" fmla="*/ 2460776 w 6837827"/>
              <a:gd name="connsiteY477" fmla="*/ 649355 h 1153348"/>
              <a:gd name="connsiteX478" fmla="*/ 2452376 w 6837827"/>
              <a:gd name="connsiteY478" fmla="*/ 659434 h 1153348"/>
              <a:gd name="connsiteX479" fmla="*/ 2443976 w 6837827"/>
              <a:gd name="connsiteY479" fmla="*/ 664894 h 1153348"/>
              <a:gd name="connsiteX480" fmla="*/ 2437257 w 6837827"/>
              <a:gd name="connsiteY480" fmla="*/ 663214 h 1153348"/>
              <a:gd name="connsiteX481" fmla="*/ 2434317 w 6837827"/>
              <a:gd name="connsiteY481" fmla="*/ 645995 h 1153348"/>
              <a:gd name="connsiteX482" fmla="*/ 2443557 w 6837827"/>
              <a:gd name="connsiteY482" fmla="*/ 622476 h 1153348"/>
              <a:gd name="connsiteX483" fmla="*/ 2458256 w 6837827"/>
              <a:gd name="connsiteY483" fmla="*/ 600217 h 1153348"/>
              <a:gd name="connsiteX484" fmla="*/ 2472115 w 6837827"/>
              <a:gd name="connsiteY484" fmla="*/ 586357 h 1153348"/>
              <a:gd name="connsiteX485" fmla="*/ 2472955 w 6837827"/>
              <a:gd name="connsiteY485" fmla="*/ 612396 h 1153348"/>
              <a:gd name="connsiteX486" fmla="*/ 2467075 w 6837827"/>
              <a:gd name="connsiteY486" fmla="*/ 638015 h 1153348"/>
              <a:gd name="connsiteX487" fmla="*/ 2460776 w 6837827"/>
              <a:gd name="connsiteY487" fmla="*/ 649355 h 1153348"/>
              <a:gd name="connsiteX488" fmla="*/ 2831200 w 6837827"/>
              <a:gd name="connsiteY488" fmla="*/ 496901 h 1153348"/>
              <a:gd name="connsiteX489" fmla="*/ 2790882 w 6837827"/>
              <a:gd name="connsiteY489" fmla="*/ 531340 h 1153348"/>
              <a:gd name="connsiteX490" fmla="*/ 2758543 w 6837827"/>
              <a:gd name="connsiteY490" fmla="*/ 578378 h 1153348"/>
              <a:gd name="connsiteX491" fmla="*/ 2735444 w 6837827"/>
              <a:gd name="connsiteY491" fmla="*/ 631716 h 1153348"/>
              <a:gd name="connsiteX492" fmla="*/ 2723685 w 6837827"/>
              <a:gd name="connsiteY492" fmla="*/ 685893 h 1153348"/>
              <a:gd name="connsiteX493" fmla="*/ 2725364 w 6837827"/>
              <a:gd name="connsiteY493" fmla="*/ 734191 h 1153348"/>
              <a:gd name="connsiteX494" fmla="*/ 2748043 w 6837827"/>
              <a:gd name="connsiteY494" fmla="*/ 784169 h 1153348"/>
              <a:gd name="connsiteX495" fmla="*/ 2790882 w 6837827"/>
              <a:gd name="connsiteY495" fmla="*/ 817767 h 1153348"/>
              <a:gd name="connsiteX496" fmla="*/ 2843799 w 6837827"/>
              <a:gd name="connsiteY496" fmla="*/ 826587 h 1153348"/>
              <a:gd name="connsiteX497" fmla="*/ 2896297 w 6837827"/>
              <a:gd name="connsiteY497" fmla="*/ 802648 h 1153348"/>
              <a:gd name="connsiteX498" fmla="*/ 2915616 w 6837827"/>
              <a:gd name="connsiteY498" fmla="*/ 788789 h 1153348"/>
              <a:gd name="connsiteX499" fmla="*/ 2937455 w 6837827"/>
              <a:gd name="connsiteY499" fmla="*/ 773669 h 1153348"/>
              <a:gd name="connsiteX500" fmla="*/ 2954254 w 6837827"/>
              <a:gd name="connsiteY500" fmla="*/ 755190 h 1153348"/>
              <a:gd name="connsiteX501" fmla="*/ 2959294 w 6837827"/>
              <a:gd name="connsiteY501" fmla="*/ 730831 h 1153348"/>
              <a:gd name="connsiteX502" fmla="*/ 2949635 w 6837827"/>
              <a:gd name="connsiteY502" fmla="*/ 717392 h 1153348"/>
              <a:gd name="connsiteX503" fmla="*/ 2929056 w 6837827"/>
              <a:gd name="connsiteY503" fmla="*/ 715712 h 1153348"/>
              <a:gd name="connsiteX504" fmla="*/ 2903017 w 6837827"/>
              <a:gd name="connsiteY504" fmla="*/ 721592 h 1153348"/>
              <a:gd name="connsiteX505" fmla="*/ 2876138 w 6837827"/>
              <a:gd name="connsiteY505" fmla="*/ 731251 h 1153348"/>
              <a:gd name="connsiteX506" fmla="*/ 2854299 w 6837827"/>
              <a:gd name="connsiteY506" fmla="*/ 740911 h 1153348"/>
              <a:gd name="connsiteX507" fmla="*/ 2842539 w 6837827"/>
              <a:gd name="connsiteY507" fmla="*/ 745531 h 1153348"/>
              <a:gd name="connsiteX508" fmla="*/ 2816081 w 6837827"/>
              <a:gd name="connsiteY508" fmla="*/ 743011 h 1153348"/>
              <a:gd name="connsiteX509" fmla="*/ 2802641 w 6837827"/>
              <a:gd name="connsiteY509" fmla="*/ 726211 h 1153348"/>
              <a:gd name="connsiteX510" fmla="*/ 2798861 w 6837827"/>
              <a:gd name="connsiteY510" fmla="*/ 700173 h 1153348"/>
              <a:gd name="connsiteX511" fmla="*/ 2802641 w 6837827"/>
              <a:gd name="connsiteY511" fmla="*/ 670354 h 1153348"/>
              <a:gd name="connsiteX512" fmla="*/ 2810621 w 6837827"/>
              <a:gd name="connsiteY512" fmla="*/ 642635 h 1153348"/>
              <a:gd name="connsiteX513" fmla="*/ 2819860 w 6837827"/>
              <a:gd name="connsiteY513" fmla="*/ 622056 h 1153348"/>
              <a:gd name="connsiteX514" fmla="*/ 2838759 w 6837827"/>
              <a:gd name="connsiteY514" fmla="*/ 590137 h 1153348"/>
              <a:gd name="connsiteX515" fmla="*/ 2860179 w 6837827"/>
              <a:gd name="connsiteY515" fmla="*/ 566198 h 1153348"/>
              <a:gd name="connsiteX516" fmla="*/ 2889157 w 6837827"/>
              <a:gd name="connsiteY516" fmla="*/ 555279 h 1153348"/>
              <a:gd name="connsiteX517" fmla="*/ 2931576 w 6837827"/>
              <a:gd name="connsiteY517" fmla="*/ 563258 h 1153348"/>
              <a:gd name="connsiteX518" fmla="*/ 2946275 w 6837827"/>
              <a:gd name="connsiteY518" fmla="*/ 554859 h 1153348"/>
              <a:gd name="connsiteX519" fmla="*/ 2951735 w 6837827"/>
              <a:gd name="connsiteY519" fmla="*/ 540579 h 1153348"/>
              <a:gd name="connsiteX520" fmla="*/ 2950475 w 6837827"/>
              <a:gd name="connsiteY520" fmla="*/ 523360 h 1153348"/>
              <a:gd name="connsiteX521" fmla="*/ 2945015 w 6837827"/>
              <a:gd name="connsiteY521" fmla="*/ 506561 h 1153348"/>
              <a:gd name="connsiteX522" fmla="*/ 2933676 w 6837827"/>
              <a:gd name="connsiteY522" fmla="*/ 493121 h 1153348"/>
              <a:gd name="connsiteX523" fmla="*/ 2916456 w 6837827"/>
              <a:gd name="connsiteY523" fmla="*/ 485142 h 1153348"/>
              <a:gd name="connsiteX524" fmla="*/ 2896717 w 6837827"/>
              <a:gd name="connsiteY524" fmla="*/ 481362 h 1153348"/>
              <a:gd name="connsiteX525" fmla="*/ 2878238 w 6837827"/>
              <a:gd name="connsiteY525" fmla="*/ 481362 h 1153348"/>
              <a:gd name="connsiteX526" fmla="*/ 2831200 w 6837827"/>
              <a:gd name="connsiteY526" fmla="*/ 496901 h 1153348"/>
              <a:gd name="connsiteX527" fmla="*/ 3248662 w 6837827"/>
              <a:gd name="connsiteY527" fmla="*/ 421725 h 1153348"/>
              <a:gd name="connsiteX528" fmla="*/ 3229763 w 6837827"/>
              <a:gd name="connsiteY528" fmla="*/ 451543 h 1153348"/>
              <a:gd name="connsiteX529" fmla="*/ 3225983 w 6837827"/>
              <a:gd name="connsiteY529" fmla="*/ 481362 h 1153348"/>
              <a:gd name="connsiteX530" fmla="*/ 3224723 w 6837827"/>
              <a:gd name="connsiteY530" fmla="*/ 510341 h 1153348"/>
              <a:gd name="connsiteX531" fmla="*/ 3223043 w 6837827"/>
              <a:gd name="connsiteY531" fmla="*/ 539739 h 1153348"/>
              <a:gd name="connsiteX532" fmla="*/ 3217163 w 6837827"/>
              <a:gd name="connsiteY532" fmla="*/ 568298 h 1153348"/>
              <a:gd name="connsiteX533" fmla="*/ 3201204 w 6837827"/>
              <a:gd name="connsiteY533" fmla="*/ 571238 h 1153348"/>
              <a:gd name="connsiteX534" fmla="*/ 3180625 w 6837827"/>
              <a:gd name="connsiteY534" fmla="*/ 574178 h 1153348"/>
              <a:gd name="connsiteX535" fmla="*/ 3160466 w 6837827"/>
              <a:gd name="connsiteY535" fmla="*/ 576278 h 1153348"/>
              <a:gd name="connsiteX536" fmla="*/ 3146186 w 6837827"/>
              <a:gd name="connsiteY536" fmla="*/ 576278 h 1153348"/>
              <a:gd name="connsiteX537" fmla="*/ 3141567 w 6837827"/>
              <a:gd name="connsiteY537" fmla="*/ 547719 h 1153348"/>
              <a:gd name="connsiteX538" fmla="*/ 3142406 w 6837827"/>
              <a:gd name="connsiteY538" fmla="*/ 522520 h 1153348"/>
              <a:gd name="connsiteX539" fmla="*/ 3144926 w 6837827"/>
              <a:gd name="connsiteY539" fmla="*/ 497741 h 1153348"/>
              <a:gd name="connsiteX540" fmla="*/ 3145766 w 6837827"/>
              <a:gd name="connsiteY540" fmla="*/ 470442 h 1153348"/>
              <a:gd name="connsiteX541" fmla="*/ 3139887 w 6837827"/>
              <a:gd name="connsiteY541" fmla="*/ 458683 h 1153348"/>
              <a:gd name="connsiteX542" fmla="*/ 3126867 w 6837827"/>
              <a:gd name="connsiteY542" fmla="*/ 449863 h 1153348"/>
              <a:gd name="connsiteX543" fmla="*/ 3111328 w 6837827"/>
              <a:gd name="connsiteY543" fmla="*/ 445663 h 1153348"/>
              <a:gd name="connsiteX544" fmla="*/ 3098728 w 6837827"/>
              <a:gd name="connsiteY544" fmla="*/ 446923 h 1153348"/>
              <a:gd name="connsiteX545" fmla="*/ 3085289 w 6837827"/>
              <a:gd name="connsiteY545" fmla="*/ 462043 h 1153348"/>
              <a:gd name="connsiteX546" fmla="*/ 3078989 w 6837827"/>
              <a:gd name="connsiteY546" fmla="*/ 487242 h 1153348"/>
              <a:gd name="connsiteX547" fmla="*/ 3077729 w 6837827"/>
              <a:gd name="connsiteY547" fmla="*/ 514121 h 1153348"/>
              <a:gd name="connsiteX548" fmla="*/ 3078989 w 6837827"/>
              <a:gd name="connsiteY548" fmla="*/ 534280 h 1153348"/>
              <a:gd name="connsiteX549" fmla="*/ 3079829 w 6837827"/>
              <a:gd name="connsiteY549" fmla="*/ 564098 h 1153348"/>
              <a:gd name="connsiteX550" fmla="*/ 3076049 w 6837827"/>
              <a:gd name="connsiteY550" fmla="*/ 593917 h 1153348"/>
              <a:gd name="connsiteX551" fmla="*/ 3072270 w 6837827"/>
              <a:gd name="connsiteY551" fmla="*/ 624576 h 1153348"/>
              <a:gd name="connsiteX552" fmla="*/ 3071430 w 6837827"/>
              <a:gd name="connsiteY552" fmla="*/ 655234 h 1153348"/>
              <a:gd name="connsiteX553" fmla="*/ 3072689 w 6837827"/>
              <a:gd name="connsiteY553" fmla="*/ 672034 h 1153348"/>
              <a:gd name="connsiteX554" fmla="*/ 3073529 w 6837827"/>
              <a:gd name="connsiteY554" fmla="*/ 691353 h 1153348"/>
              <a:gd name="connsiteX555" fmla="*/ 3073949 w 6837827"/>
              <a:gd name="connsiteY555" fmla="*/ 709412 h 1153348"/>
              <a:gd name="connsiteX556" fmla="*/ 3072689 w 6837827"/>
              <a:gd name="connsiteY556" fmla="*/ 722012 h 1153348"/>
              <a:gd name="connsiteX557" fmla="*/ 3071849 w 6837827"/>
              <a:gd name="connsiteY557" fmla="*/ 734611 h 1153348"/>
              <a:gd name="connsiteX558" fmla="*/ 3073529 w 6837827"/>
              <a:gd name="connsiteY558" fmla="*/ 752250 h 1153348"/>
              <a:gd name="connsiteX559" fmla="*/ 3076469 w 6837827"/>
              <a:gd name="connsiteY559" fmla="*/ 769889 h 1153348"/>
              <a:gd name="connsiteX560" fmla="*/ 3080249 w 6837827"/>
              <a:gd name="connsiteY560" fmla="*/ 781649 h 1153348"/>
              <a:gd name="connsiteX561" fmla="*/ 3100408 w 6837827"/>
              <a:gd name="connsiteY561" fmla="*/ 803908 h 1153348"/>
              <a:gd name="connsiteX562" fmla="*/ 3125187 w 6837827"/>
              <a:gd name="connsiteY562" fmla="*/ 809788 h 1153348"/>
              <a:gd name="connsiteX563" fmla="*/ 3145766 w 6837827"/>
              <a:gd name="connsiteY563" fmla="*/ 798868 h 1153348"/>
              <a:gd name="connsiteX564" fmla="*/ 3153746 w 6837827"/>
              <a:gd name="connsiteY564" fmla="*/ 769470 h 1153348"/>
              <a:gd name="connsiteX565" fmla="*/ 3152486 w 6837827"/>
              <a:gd name="connsiteY565" fmla="*/ 758970 h 1153348"/>
              <a:gd name="connsiteX566" fmla="*/ 3149966 w 6837827"/>
              <a:gd name="connsiteY566" fmla="*/ 753090 h 1153348"/>
              <a:gd name="connsiteX567" fmla="*/ 3147026 w 6837827"/>
              <a:gd name="connsiteY567" fmla="*/ 747630 h 1153348"/>
              <a:gd name="connsiteX568" fmla="*/ 3144926 w 6837827"/>
              <a:gd name="connsiteY568" fmla="*/ 738391 h 1153348"/>
              <a:gd name="connsiteX569" fmla="*/ 3141986 w 6837827"/>
              <a:gd name="connsiteY569" fmla="*/ 657334 h 1153348"/>
              <a:gd name="connsiteX570" fmla="*/ 3181045 w 6837827"/>
              <a:gd name="connsiteY570" fmla="*/ 640955 h 1153348"/>
              <a:gd name="connsiteX571" fmla="*/ 3222623 w 6837827"/>
              <a:gd name="connsiteY571" fmla="*/ 634655 h 1153348"/>
              <a:gd name="connsiteX572" fmla="*/ 3224303 w 6837827"/>
              <a:gd name="connsiteY572" fmla="*/ 646835 h 1153348"/>
              <a:gd name="connsiteX573" fmla="*/ 3224723 w 6837827"/>
              <a:gd name="connsiteY573" fmla="*/ 653554 h 1153348"/>
              <a:gd name="connsiteX574" fmla="*/ 3226823 w 6837827"/>
              <a:gd name="connsiteY574" fmla="*/ 671614 h 1153348"/>
              <a:gd name="connsiteX575" fmla="*/ 3225563 w 6837827"/>
              <a:gd name="connsiteY575" fmla="*/ 689673 h 1153348"/>
              <a:gd name="connsiteX576" fmla="*/ 3224303 w 6837827"/>
              <a:gd name="connsiteY576" fmla="*/ 708152 h 1153348"/>
              <a:gd name="connsiteX577" fmla="*/ 3228503 w 6837827"/>
              <a:gd name="connsiteY577" fmla="*/ 726211 h 1153348"/>
              <a:gd name="connsiteX578" fmla="*/ 3235222 w 6837827"/>
              <a:gd name="connsiteY578" fmla="*/ 742171 h 1153348"/>
              <a:gd name="connsiteX579" fmla="*/ 3245302 w 6837827"/>
              <a:gd name="connsiteY579" fmla="*/ 760650 h 1153348"/>
              <a:gd name="connsiteX580" fmla="*/ 3260001 w 6837827"/>
              <a:gd name="connsiteY580" fmla="*/ 774089 h 1153348"/>
              <a:gd name="connsiteX581" fmla="*/ 3280161 w 6837827"/>
              <a:gd name="connsiteY581" fmla="*/ 774509 h 1153348"/>
              <a:gd name="connsiteX582" fmla="*/ 3287720 w 6837827"/>
              <a:gd name="connsiteY582" fmla="*/ 769889 h 1153348"/>
              <a:gd name="connsiteX583" fmla="*/ 3295700 w 6837827"/>
              <a:gd name="connsiteY583" fmla="*/ 759810 h 1153348"/>
              <a:gd name="connsiteX584" fmla="*/ 3301160 w 6837827"/>
              <a:gd name="connsiteY584" fmla="*/ 744271 h 1153348"/>
              <a:gd name="connsiteX585" fmla="*/ 3301160 w 6837827"/>
              <a:gd name="connsiteY585" fmla="*/ 723691 h 1153348"/>
              <a:gd name="connsiteX586" fmla="*/ 3298220 w 6837827"/>
              <a:gd name="connsiteY586" fmla="*/ 701432 h 1153348"/>
              <a:gd name="connsiteX587" fmla="*/ 3296540 w 6837827"/>
              <a:gd name="connsiteY587" fmla="*/ 685053 h 1153348"/>
              <a:gd name="connsiteX588" fmla="*/ 3295700 w 6837827"/>
              <a:gd name="connsiteY588" fmla="*/ 669514 h 1153348"/>
              <a:gd name="connsiteX589" fmla="*/ 3295700 w 6837827"/>
              <a:gd name="connsiteY589" fmla="*/ 650195 h 1153348"/>
              <a:gd name="connsiteX590" fmla="*/ 3294440 w 6837827"/>
              <a:gd name="connsiteY590" fmla="*/ 622056 h 1153348"/>
              <a:gd name="connsiteX591" fmla="*/ 3291920 w 6837827"/>
              <a:gd name="connsiteY591" fmla="*/ 593917 h 1153348"/>
              <a:gd name="connsiteX592" fmla="*/ 3290240 w 6837827"/>
              <a:gd name="connsiteY592" fmla="*/ 565778 h 1153348"/>
              <a:gd name="connsiteX593" fmla="*/ 3290660 w 6837827"/>
              <a:gd name="connsiteY593" fmla="*/ 537639 h 1153348"/>
              <a:gd name="connsiteX594" fmla="*/ 3290660 w 6837827"/>
              <a:gd name="connsiteY594" fmla="*/ 522940 h 1153348"/>
              <a:gd name="connsiteX595" fmla="*/ 3290240 w 6837827"/>
              <a:gd name="connsiteY595" fmla="*/ 500261 h 1153348"/>
              <a:gd name="connsiteX596" fmla="*/ 3290660 w 6837827"/>
              <a:gd name="connsiteY596" fmla="*/ 478422 h 1153348"/>
              <a:gd name="connsiteX597" fmla="*/ 3293180 w 6837827"/>
              <a:gd name="connsiteY597" fmla="*/ 466662 h 1153348"/>
              <a:gd name="connsiteX598" fmla="*/ 3299900 w 6837827"/>
              <a:gd name="connsiteY598" fmla="*/ 454903 h 1153348"/>
              <a:gd name="connsiteX599" fmla="*/ 3301160 w 6837827"/>
              <a:gd name="connsiteY599" fmla="*/ 441044 h 1153348"/>
              <a:gd name="connsiteX600" fmla="*/ 3296540 w 6837827"/>
              <a:gd name="connsiteY600" fmla="*/ 428864 h 1153348"/>
              <a:gd name="connsiteX601" fmla="*/ 3286040 w 6837827"/>
              <a:gd name="connsiteY601" fmla="*/ 420464 h 1153348"/>
              <a:gd name="connsiteX602" fmla="*/ 3248662 w 6837827"/>
              <a:gd name="connsiteY602" fmla="*/ 421725 h 1153348"/>
              <a:gd name="connsiteX603" fmla="*/ 3685023 w 6837827"/>
              <a:gd name="connsiteY603" fmla="*/ 666994 h 1153348"/>
              <a:gd name="connsiteX604" fmla="*/ 3689643 w 6837827"/>
              <a:gd name="connsiteY604" fmla="*/ 647675 h 1153348"/>
              <a:gd name="connsiteX605" fmla="*/ 3692163 w 6837827"/>
              <a:gd name="connsiteY605" fmla="*/ 626676 h 1153348"/>
              <a:gd name="connsiteX606" fmla="*/ 3693843 w 6837827"/>
              <a:gd name="connsiteY606" fmla="*/ 598957 h 1153348"/>
              <a:gd name="connsiteX607" fmla="*/ 3698463 w 6837827"/>
              <a:gd name="connsiteY607" fmla="*/ 578378 h 1153348"/>
              <a:gd name="connsiteX608" fmla="*/ 3701822 w 6837827"/>
              <a:gd name="connsiteY608" fmla="*/ 557379 h 1153348"/>
              <a:gd name="connsiteX609" fmla="*/ 3703082 w 6837827"/>
              <a:gd name="connsiteY609" fmla="*/ 541419 h 1153348"/>
              <a:gd name="connsiteX610" fmla="*/ 3703502 w 6837827"/>
              <a:gd name="connsiteY610" fmla="*/ 522520 h 1153348"/>
              <a:gd name="connsiteX611" fmla="*/ 3705602 w 6837827"/>
              <a:gd name="connsiteY611" fmla="*/ 504041 h 1153348"/>
              <a:gd name="connsiteX612" fmla="*/ 3710642 w 6837827"/>
              <a:gd name="connsiteY612" fmla="*/ 488922 h 1153348"/>
              <a:gd name="connsiteX613" fmla="*/ 3719042 w 6837827"/>
              <a:gd name="connsiteY613" fmla="*/ 456583 h 1153348"/>
              <a:gd name="connsiteX614" fmla="*/ 3711062 w 6837827"/>
              <a:gd name="connsiteY614" fmla="*/ 429284 h 1153348"/>
              <a:gd name="connsiteX615" fmla="*/ 3692163 w 6837827"/>
              <a:gd name="connsiteY615" fmla="*/ 410385 h 1153348"/>
              <a:gd name="connsiteX616" fmla="*/ 3668644 w 6837827"/>
              <a:gd name="connsiteY616" fmla="*/ 403665 h 1153348"/>
              <a:gd name="connsiteX617" fmla="*/ 3646805 w 6837827"/>
              <a:gd name="connsiteY617" fmla="*/ 412905 h 1153348"/>
              <a:gd name="connsiteX618" fmla="*/ 3632525 w 6837827"/>
              <a:gd name="connsiteY618" fmla="*/ 441044 h 1153348"/>
              <a:gd name="connsiteX619" fmla="*/ 3627485 w 6837827"/>
              <a:gd name="connsiteY619" fmla="*/ 491022 h 1153348"/>
              <a:gd name="connsiteX620" fmla="*/ 3622026 w 6837827"/>
              <a:gd name="connsiteY620" fmla="*/ 540999 h 1153348"/>
              <a:gd name="connsiteX621" fmla="*/ 3621186 w 6837827"/>
              <a:gd name="connsiteY621" fmla="*/ 556539 h 1153348"/>
              <a:gd name="connsiteX622" fmla="*/ 3617826 w 6837827"/>
              <a:gd name="connsiteY622" fmla="*/ 571238 h 1153348"/>
              <a:gd name="connsiteX623" fmla="*/ 3613626 w 6837827"/>
              <a:gd name="connsiteY623" fmla="*/ 579218 h 1153348"/>
              <a:gd name="connsiteX624" fmla="*/ 3611526 w 6837827"/>
              <a:gd name="connsiteY624" fmla="*/ 587617 h 1153348"/>
              <a:gd name="connsiteX625" fmla="*/ 3595147 w 6837827"/>
              <a:gd name="connsiteY625" fmla="*/ 565358 h 1153348"/>
              <a:gd name="connsiteX626" fmla="*/ 3583387 w 6837827"/>
              <a:gd name="connsiteY626" fmla="*/ 548139 h 1153348"/>
              <a:gd name="connsiteX627" fmla="*/ 3574148 w 6837827"/>
              <a:gd name="connsiteY627" fmla="*/ 532180 h 1153348"/>
              <a:gd name="connsiteX628" fmla="*/ 3565748 w 6837827"/>
              <a:gd name="connsiteY628" fmla="*/ 513700 h 1153348"/>
              <a:gd name="connsiteX629" fmla="*/ 3554409 w 6837827"/>
              <a:gd name="connsiteY629" fmla="*/ 485562 h 1153348"/>
              <a:gd name="connsiteX630" fmla="*/ 3539709 w 6837827"/>
              <a:gd name="connsiteY630" fmla="*/ 459103 h 1153348"/>
              <a:gd name="connsiteX631" fmla="*/ 3502331 w 6837827"/>
              <a:gd name="connsiteY631" fmla="*/ 432224 h 1153348"/>
              <a:gd name="connsiteX632" fmla="*/ 3472092 w 6837827"/>
              <a:gd name="connsiteY632" fmla="*/ 445663 h 1153348"/>
              <a:gd name="connsiteX633" fmla="*/ 3452773 w 6837827"/>
              <a:gd name="connsiteY633" fmla="*/ 483462 h 1153348"/>
              <a:gd name="connsiteX634" fmla="*/ 3448573 w 6837827"/>
              <a:gd name="connsiteY634" fmla="*/ 529660 h 1153348"/>
              <a:gd name="connsiteX635" fmla="*/ 3449833 w 6837827"/>
              <a:gd name="connsiteY635" fmla="*/ 539739 h 1153348"/>
              <a:gd name="connsiteX636" fmla="*/ 3451933 w 6837827"/>
              <a:gd name="connsiteY636" fmla="*/ 550239 h 1153348"/>
              <a:gd name="connsiteX637" fmla="*/ 3451513 w 6837827"/>
              <a:gd name="connsiteY637" fmla="*/ 560319 h 1153348"/>
              <a:gd name="connsiteX638" fmla="*/ 3446053 w 6837827"/>
              <a:gd name="connsiteY638" fmla="*/ 569558 h 1153348"/>
              <a:gd name="connsiteX639" fmla="*/ 3441854 w 6837827"/>
              <a:gd name="connsiteY639" fmla="*/ 588037 h 1153348"/>
              <a:gd name="connsiteX640" fmla="*/ 3441854 w 6837827"/>
              <a:gd name="connsiteY640" fmla="*/ 607356 h 1153348"/>
              <a:gd name="connsiteX641" fmla="*/ 3439334 w 6837827"/>
              <a:gd name="connsiteY641" fmla="*/ 626256 h 1153348"/>
              <a:gd name="connsiteX642" fmla="*/ 3435134 w 6837827"/>
              <a:gd name="connsiteY642" fmla="*/ 656494 h 1153348"/>
              <a:gd name="connsiteX643" fmla="*/ 3429674 w 6837827"/>
              <a:gd name="connsiteY643" fmla="*/ 685893 h 1153348"/>
              <a:gd name="connsiteX644" fmla="*/ 3424214 w 6837827"/>
              <a:gd name="connsiteY644" fmla="*/ 702272 h 1153348"/>
              <a:gd name="connsiteX645" fmla="*/ 3419175 w 6837827"/>
              <a:gd name="connsiteY645" fmla="*/ 714872 h 1153348"/>
              <a:gd name="connsiteX646" fmla="*/ 3417494 w 6837827"/>
              <a:gd name="connsiteY646" fmla="*/ 732931 h 1153348"/>
              <a:gd name="connsiteX647" fmla="*/ 3417915 w 6837827"/>
              <a:gd name="connsiteY647" fmla="*/ 751830 h 1153348"/>
              <a:gd name="connsiteX648" fmla="*/ 3418755 w 6837827"/>
              <a:gd name="connsiteY648" fmla="*/ 766530 h 1153348"/>
              <a:gd name="connsiteX649" fmla="*/ 3420855 w 6837827"/>
              <a:gd name="connsiteY649" fmla="*/ 782909 h 1153348"/>
              <a:gd name="connsiteX650" fmla="*/ 3426314 w 6837827"/>
              <a:gd name="connsiteY650" fmla="*/ 798868 h 1153348"/>
              <a:gd name="connsiteX651" fmla="*/ 3436814 w 6837827"/>
              <a:gd name="connsiteY651" fmla="*/ 810208 h 1153348"/>
              <a:gd name="connsiteX652" fmla="*/ 3454033 w 6837827"/>
              <a:gd name="connsiteY652" fmla="*/ 814408 h 1153348"/>
              <a:gd name="connsiteX653" fmla="*/ 3477132 w 6837827"/>
              <a:gd name="connsiteY653" fmla="*/ 805588 h 1153348"/>
              <a:gd name="connsiteX654" fmla="*/ 3486792 w 6837827"/>
              <a:gd name="connsiteY654" fmla="*/ 782909 h 1153348"/>
              <a:gd name="connsiteX655" fmla="*/ 3488891 w 6837827"/>
              <a:gd name="connsiteY655" fmla="*/ 754350 h 1153348"/>
              <a:gd name="connsiteX656" fmla="*/ 3492251 w 6837827"/>
              <a:gd name="connsiteY656" fmla="*/ 725791 h 1153348"/>
              <a:gd name="connsiteX657" fmla="*/ 3501491 w 6837827"/>
              <a:gd name="connsiteY657" fmla="*/ 677074 h 1153348"/>
              <a:gd name="connsiteX658" fmla="*/ 3509471 w 6837827"/>
              <a:gd name="connsiteY658" fmla="*/ 628355 h 1153348"/>
              <a:gd name="connsiteX659" fmla="*/ 3511151 w 6837827"/>
              <a:gd name="connsiteY659" fmla="*/ 608196 h 1153348"/>
              <a:gd name="connsiteX660" fmla="*/ 3514510 w 6837827"/>
              <a:gd name="connsiteY660" fmla="*/ 587617 h 1153348"/>
              <a:gd name="connsiteX661" fmla="*/ 3515770 w 6837827"/>
              <a:gd name="connsiteY661" fmla="*/ 593497 h 1153348"/>
              <a:gd name="connsiteX662" fmla="*/ 3520810 w 6837827"/>
              <a:gd name="connsiteY662" fmla="*/ 600217 h 1153348"/>
              <a:gd name="connsiteX663" fmla="*/ 3527110 w 6837827"/>
              <a:gd name="connsiteY663" fmla="*/ 606517 h 1153348"/>
              <a:gd name="connsiteX664" fmla="*/ 3531730 w 6837827"/>
              <a:gd name="connsiteY664" fmla="*/ 611556 h 1153348"/>
              <a:gd name="connsiteX665" fmla="*/ 3553989 w 6837827"/>
              <a:gd name="connsiteY665" fmla="*/ 647255 h 1153348"/>
              <a:gd name="connsiteX666" fmla="*/ 3578348 w 6837827"/>
              <a:gd name="connsiteY666" fmla="*/ 685893 h 1153348"/>
              <a:gd name="connsiteX667" fmla="*/ 3609006 w 6837827"/>
              <a:gd name="connsiteY667" fmla="*/ 715712 h 1153348"/>
              <a:gd name="connsiteX668" fmla="*/ 3651424 w 6837827"/>
              <a:gd name="connsiteY668" fmla="*/ 724951 h 1153348"/>
              <a:gd name="connsiteX669" fmla="*/ 3662764 w 6837827"/>
              <a:gd name="connsiteY669" fmla="*/ 720332 h 1153348"/>
              <a:gd name="connsiteX670" fmla="*/ 3669904 w 6837827"/>
              <a:gd name="connsiteY670" fmla="*/ 711512 h 1153348"/>
              <a:gd name="connsiteX671" fmla="*/ 3674523 w 6837827"/>
              <a:gd name="connsiteY671" fmla="*/ 700592 h 1153348"/>
              <a:gd name="connsiteX672" fmla="*/ 3678303 w 6837827"/>
              <a:gd name="connsiteY672" fmla="*/ 689673 h 1153348"/>
              <a:gd name="connsiteX673" fmla="*/ 3685023 w 6837827"/>
              <a:gd name="connsiteY673" fmla="*/ 666994 h 1153348"/>
              <a:gd name="connsiteX674" fmla="*/ 3998330 w 6837827"/>
              <a:gd name="connsiteY674" fmla="*/ 336468 h 1153348"/>
              <a:gd name="connsiteX675" fmla="*/ 3990350 w 6837827"/>
              <a:gd name="connsiteY675" fmla="*/ 337308 h 1153348"/>
              <a:gd name="connsiteX676" fmla="*/ 3963051 w 6837827"/>
              <a:gd name="connsiteY676" fmla="*/ 342768 h 1153348"/>
              <a:gd name="connsiteX677" fmla="*/ 3942052 w 6837827"/>
              <a:gd name="connsiteY677" fmla="*/ 352007 h 1153348"/>
              <a:gd name="connsiteX678" fmla="*/ 3921473 w 6837827"/>
              <a:gd name="connsiteY678" fmla="*/ 363767 h 1153348"/>
              <a:gd name="connsiteX679" fmla="*/ 3895014 w 6837827"/>
              <a:gd name="connsiteY679" fmla="*/ 376786 h 1153348"/>
              <a:gd name="connsiteX680" fmla="*/ 3885774 w 6837827"/>
              <a:gd name="connsiteY680" fmla="*/ 378886 h 1153348"/>
              <a:gd name="connsiteX681" fmla="*/ 3875695 w 6837827"/>
              <a:gd name="connsiteY681" fmla="*/ 379306 h 1153348"/>
              <a:gd name="connsiteX682" fmla="*/ 3866035 w 6837827"/>
              <a:gd name="connsiteY682" fmla="*/ 381406 h 1153348"/>
              <a:gd name="connsiteX683" fmla="*/ 3858056 w 6837827"/>
              <a:gd name="connsiteY683" fmla="*/ 387706 h 1153348"/>
              <a:gd name="connsiteX684" fmla="*/ 3834957 w 6837827"/>
              <a:gd name="connsiteY684" fmla="*/ 489342 h 1153348"/>
              <a:gd name="connsiteX685" fmla="*/ 3832437 w 6837827"/>
              <a:gd name="connsiteY685" fmla="*/ 592237 h 1153348"/>
              <a:gd name="connsiteX686" fmla="*/ 3836637 w 6837827"/>
              <a:gd name="connsiteY686" fmla="*/ 619956 h 1153348"/>
              <a:gd name="connsiteX687" fmla="*/ 3842936 w 6837827"/>
              <a:gd name="connsiteY687" fmla="*/ 647675 h 1153348"/>
              <a:gd name="connsiteX688" fmla="*/ 3862675 w 6837827"/>
              <a:gd name="connsiteY688" fmla="*/ 688413 h 1153348"/>
              <a:gd name="connsiteX689" fmla="*/ 3897534 w 6837827"/>
              <a:gd name="connsiteY689" fmla="*/ 716972 h 1153348"/>
              <a:gd name="connsiteX690" fmla="*/ 3949192 w 6837827"/>
              <a:gd name="connsiteY690" fmla="*/ 726211 h 1153348"/>
              <a:gd name="connsiteX691" fmla="*/ 3979431 w 6837827"/>
              <a:gd name="connsiteY691" fmla="*/ 718232 h 1153348"/>
              <a:gd name="connsiteX692" fmla="*/ 4006729 w 6837827"/>
              <a:gd name="connsiteY692" fmla="*/ 703112 h 1153348"/>
              <a:gd name="connsiteX693" fmla="*/ 4024368 w 6837827"/>
              <a:gd name="connsiteY693" fmla="*/ 677493 h 1153348"/>
              <a:gd name="connsiteX694" fmla="*/ 4032348 w 6837827"/>
              <a:gd name="connsiteY694" fmla="*/ 659014 h 1153348"/>
              <a:gd name="connsiteX695" fmla="*/ 4035708 w 6837827"/>
              <a:gd name="connsiteY695" fmla="*/ 638015 h 1153348"/>
              <a:gd name="connsiteX696" fmla="*/ 4024788 w 6837827"/>
              <a:gd name="connsiteY696" fmla="*/ 618276 h 1153348"/>
              <a:gd name="connsiteX697" fmla="*/ 4001689 w 6837827"/>
              <a:gd name="connsiteY697" fmla="*/ 609876 h 1153348"/>
              <a:gd name="connsiteX698" fmla="*/ 3991190 w 6837827"/>
              <a:gd name="connsiteY698" fmla="*/ 611136 h 1153348"/>
              <a:gd name="connsiteX699" fmla="*/ 3984890 w 6837827"/>
              <a:gd name="connsiteY699" fmla="*/ 614916 h 1153348"/>
              <a:gd name="connsiteX700" fmla="*/ 3980690 w 6837827"/>
              <a:gd name="connsiteY700" fmla="*/ 621216 h 1153348"/>
              <a:gd name="connsiteX701" fmla="*/ 3975651 w 6837827"/>
              <a:gd name="connsiteY701" fmla="*/ 629616 h 1153348"/>
              <a:gd name="connsiteX702" fmla="*/ 3964731 w 6837827"/>
              <a:gd name="connsiteY702" fmla="*/ 639695 h 1153348"/>
              <a:gd name="connsiteX703" fmla="*/ 3951291 w 6837827"/>
              <a:gd name="connsiteY703" fmla="*/ 643895 h 1153348"/>
              <a:gd name="connsiteX704" fmla="*/ 3922313 w 6837827"/>
              <a:gd name="connsiteY704" fmla="*/ 635495 h 1153348"/>
              <a:gd name="connsiteX705" fmla="*/ 3909713 w 6837827"/>
              <a:gd name="connsiteY705" fmla="*/ 606096 h 1153348"/>
              <a:gd name="connsiteX706" fmla="*/ 3926933 w 6837827"/>
              <a:gd name="connsiteY706" fmla="*/ 593497 h 1153348"/>
              <a:gd name="connsiteX707" fmla="*/ 3947092 w 6837827"/>
              <a:gd name="connsiteY707" fmla="*/ 582578 h 1153348"/>
              <a:gd name="connsiteX708" fmla="*/ 3966831 w 6837827"/>
              <a:gd name="connsiteY708" fmla="*/ 570398 h 1153348"/>
              <a:gd name="connsiteX709" fmla="*/ 3982790 w 6837827"/>
              <a:gd name="connsiteY709" fmla="*/ 554439 h 1153348"/>
              <a:gd name="connsiteX710" fmla="*/ 3991190 w 6837827"/>
              <a:gd name="connsiteY710" fmla="*/ 538059 h 1153348"/>
              <a:gd name="connsiteX711" fmla="*/ 3993290 w 6837827"/>
              <a:gd name="connsiteY711" fmla="*/ 519580 h 1153348"/>
              <a:gd name="connsiteX712" fmla="*/ 3983630 w 6837827"/>
              <a:gd name="connsiteY712" fmla="*/ 501521 h 1153348"/>
              <a:gd name="connsiteX713" fmla="*/ 3962631 w 6837827"/>
              <a:gd name="connsiteY713" fmla="*/ 495641 h 1153348"/>
              <a:gd name="connsiteX714" fmla="*/ 3942052 w 6837827"/>
              <a:gd name="connsiteY714" fmla="*/ 500681 h 1153348"/>
              <a:gd name="connsiteX715" fmla="*/ 3924413 w 6837827"/>
              <a:gd name="connsiteY715" fmla="*/ 508661 h 1153348"/>
              <a:gd name="connsiteX716" fmla="*/ 3914333 w 6837827"/>
              <a:gd name="connsiteY716" fmla="*/ 512860 h 1153348"/>
              <a:gd name="connsiteX717" fmla="*/ 3909294 w 6837827"/>
              <a:gd name="connsiteY717" fmla="*/ 511601 h 1153348"/>
              <a:gd name="connsiteX718" fmla="*/ 3907613 w 6837827"/>
              <a:gd name="connsiteY718" fmla="*/ 506561 h 1153348"/>
              <a:gd name="connsiteX719" fmla="*/ 3906773 w 6837827"/>
              <a:gd name="connsiteY719" fmla="*/ 500261 h 1153348"/>
              <a:gd name="connsiteX720" fmla="*/ 3907613 w 6837827"/>
              <a:gd name="connsiteY720" fmla="*/ 487242 h 1153348"/>
              <a:gd name="connsiteX721" fmla="*/ 3910973 w 6837827"/>
              <a:gd name="connsiteY721" fmla="*/ 472542 h 1153348"/>
              <a:gd name="connsiteX722" fmla="*/ 3914753 w 6837827"/>
              <a:gd name="connsiteY722" fmla="*/ 459523 h 1153348"/>
              <a:gd name="connsiteX723" fmla="*/ 3917273 w 6837827"/>
              <a:gd name="connsiteY723" fmla="*/ 450703 h 1153348"/>
              <a:gd name="connsiteX724" fmla="*/ 3928613 w 6837827"/>
              <a:gd name="connsiteY724" fmla="*/ 437684 h 1153348"/>
              <a:gd name="connsiteX725" fmla="*/ 3949612 w 6837827"/>
              <a:gd name="connsiteY725" fmla="*/ 425504 h 1153348"/>
              <a:gd name="connsiteX726" fmla="*/ 3973131 w 6837827"/>
              <a:gd name="connsiteY726" fmla="*/ 415425 h 1153348"/>
              <a:gd name="connsiteX727" fmla="*/ 3991190 w 6837827"/>
              <a:gd name="connsiteY727" fmla="*/ 408705 h 1153348"/>
              <a:gd name="connsiteX728" fmla="*/ 4023529 w 6837827"/>
              <a:gd name="connsiteY728" fmla="*/ 393586 h 1153348"/>
              <a:gd name="connsiteX729" fmla="*/ 4038648 w 6837827"/>
              <a:gd name="connsiteY729" fmla="*/ 361667 h 1153348"/>
              <a:gd name="connsiteX730" fmla="*/ 4035708 w 6837827"/>
              <a:gd name="connsiteY730" fmla="*/ 351588 h 1153348"/>
              <a:gd name="connsiteX731" fmla="*/ 4027309 w 6837827"/>
              <a:gd name="connsiteY731" fmla="*/ 343608 h 1153348"/>
              <a:gd name="connsiteX732" fmla="*/ 4016389 w 6837827"/>
              <a:gd name="connsiteY732" fmla="*/ 338148 h 1153348"/>
              <a:gd name="connsiteX733" fmla="*/ 4006309 w 6837827"/>
              <a:gd name="connsiteY733" fmla="*/ 336468 h 1153348"/>
              <a:gd name="connsiteX734" fmla="*/ 3998330 w 6837827"/>
              <a:gd name="connsiteY734" fmla="*/ 336468 h 1153348"/>
              <a:gd name="connsiteX735" fmla="*/ 4295677 w 6837827"/>
              <a:gd name="connsiteY735" fmla="*/ 480522 h 1153348"/>
              <a:gd name="connsiteX736" fmla="*/ 4281818 w 6837827"/>
              <a:gd name="connsiteY736" fmla="*/ 511601 h 1153348"/>
              <a:gd name="connsiteX737" fmla="*/ 4266278 w 6837827"/>
              <a:gd name="connsiteY737" fmla="*/ 540999 h 1153348"/>
              <a:gd name="connsiteX738" fmla="*/ 4252839 w 6837827"/>
              <a:gd name="connsiteY738" fmla="*/ 557379 h 1153348"/>
              <a:gd name="connsiteX739" fmla="*/ 4247799 w 6837827"/>
              <a:gd name="connsiteY739" fmla="*/ 525460 h 1153348"/>
              <a:gd name="connsiteX740" fmla="*/ 4245279 w 6837827"/>
              <a:gd name="connsiteY740" fmla="*/ 494381 h 1153348"/>
              <a:gd name="connsiteX741" fmla="*/ 4242759 w 6837827"/>
              <a:gd name="connsiteY741" fmla="*/ 469182 h 1153348"/>
              <a:gd name="connsiteX742" fmla="*/ 4238559 w 6837827"/>
              <a:gd name="connsiteY742" fmla="*/ 443144 h 1153348"/>
              <a:gd name="connsiteX743" fmla="*/ 4234779 w 6837827"/>
              <a:gd name="connsiteY743" fmla="*/ 418785 h 1153348"/>
              <a:gd name="connsiteX744" fmla="*/ 4233940 w 6837827"/>
              <a:gd name="connsiteY744" fmla="*/ 397786 h 1153348"/>
              <a:gd name="connsiteX745" fmla="*/ 4229320 w 6837827"/>
              <a:gd name="connsiteY745" fmla="*/ 373847 h 1153348"/>
              <a:gd name="connsiteX746" fmla="*/ 4226800 w 6837827"/>
              <a:gd name="connsiteY746" fmla="*/ 345288 h 1153348"/>
              <a:gd name="connsiteX747" fmla="*/ 4223020 w 6837827"/>
              <a:gd name="connsiteY747" fmla="*/ 317149 h 1153348"/>
              <a:gd name="connsiteX748" fmla="*/ 4214621 w 6837827"/>
              <a:gd name="connsiteY748" fmla="*/ 293210 h 1153348"/>
              <a:gd name="connsiteX749" fmla="*/ 4198661 w 6837827"/>
              <a:gd name="connsiteY749" fmla="*/ 278511 h 1153348"/>
              <a:gd name="connsiteX750" fmla="*/ 4171782 w 6837827"/>
              <a:gd name="connsiteY750" fmla="*/ 276831 h 1153348"/>
              <a:gd name="connsiteX751" fmla="*/ 4160023 w 6837827"/>
              <a:gd name="connsiteY751" fmla="*/ 280610 h 1153348"/>
              <a:gd name="connsiteX752" fmla="*/ 4150363 w 6837827"/>
              <a:gd name="connsiteY752" fmla="*/ 285650 h 1153348"/>
              <a:gd name="connsiteX753" fmla="*/ 4144483 w 6837827"/>
              <a:gd name="connsiteY753" fmla="*/ 293630 h 1153348"/>
              <a:gd name="connsiteX754" fmla="*/ 4143643 w 6837827"/>
              <a:gd name="connsiteY754" fmla="*/ 306649 h 1153348"/>
              <a:gd name="connsiteX755" fmla="*/ 4150363 w 6837827"/>
              <a:gd name="connsiteY755" fmla="*/ 339408 h 1153348"/>
              <a:gd name="connsiteX756" fmla="*/ 4158343 w 6837827"/>
              <a:gd name="connsiteY756" fmla="*/ 373847 h 1153348"/>
              <a:gd name="connsiteX757" fmla="*/ 4160863 w 6837827"/>
              <a:gd name="connsiteY757" fmla="*/ 394006 h 1153348"/>
              <a:gd name="connsiteX758" fmla="*/ 4165062 w 6837827"/>
              <a:gd name="connsiteY758" fmla="*/ 430964 h 1153348"/>
              <a:gd name="connsiteX759" fmla="*/ 4170942 w 6837827"/>
              <a:gd name="connsiteY759" fmla="*/ 478002 h 1153348"/>
              <a:gd name="connsiteX760" fmla="*/ 4177662 w 6837827"/>
              <a:gd name="connsiteY760" fmla="*/ 528820 h 1153348"/>
              <a:gd name="connsiteX761" fmla="*/ 4185222 w 6837827"/>
              <a:gd name="connsiteY761" fmla="*/ 577118 h 1153348"/>
              <a:gd name="connsiteX762" fmla="*/ 4193201 w 6837827"/>
              <a:gd name="connsiteY762" fmla="*/ 616176 h 1153348"/>
              <a:gd name="connsiteX763" fmla="*/ 4196981 w 6837827"/>
              <a:gd name="connsiteY763" fmla="*/ 646415 h 1153348"/>
              <a:gd name="connsiteX764" fmla="*/ 4204121 w 6837827"/>
              <a:gd name="connsiteY764" fmla="*/ 677074 h 1153348"/>
              <a:gd name="connsiteX765" fmla="*/ 4222180 w 6837827"/>
              <a:gd name="connsiteY765" fmla="*/ 691353 h 1153348"/>
              <a:gd name="connsiteX766" fmla="*/ 4245699 w 6837827"/>
              <a:gd name="connsiteY766" fmla="*/ 690093 h 1153348"/>
              <a:gd name="connsiteX767" fmla="*/ 4266278 w 6837827"/>
              <a:gd name="connsiteY767" fmla="*/ 677493 h 1153348"/>
              <a:gd name="connsiteX768" fmla="*/ 4287698 w 6837827"/>
              <a:gd name="connsiteY768" fmla="*/ 651875 h 1153348"/>
              <a:gd name="connsiteX769" fmla="*/ 4308276 w 6837827"/>
              <a:gd name="connsiteY769" fmla="*/ 618276 h 1153348"/>
              <a:gd name="connsiteX770" fmla="*/ 4326336 w 6837827"/>
              <a:gd name="connsiteY770" fmla="*/ 581738 h 1153348"/>
              <a:gd name="connsiteX771" fmla="*/ 4339775 w 6837827"/>
              <a:gd name="connsiteY771" fmla="*/ 548559 h 1153348"/>
              <a:gd name="connsiteX772" fmla="*/ 4346915 w 6837827"/>
              <a:gd name="connsiteY772" fmla="*/ 523780 h 1153348"/>
              <a:gd name="connsiteX773" fmla="*/ 4354895 w 6837827"/>
              <a:gd name="connsiteY773" fmla="*/ 495641 h 1153348"/>
              <a:gd name="connsiteX774" fmla="*/ 4367914 w 6837827"/>
              <a:gd name="connsiteY774" fmla="*/ 466662 h 1153348"/>
              <a:gd name="connsiteX775" fmla="*/ 4382193 w 6837827"/>
              <a:gd name="connsiteY775" fmla="*/ 438104 h 1153348"/>
              <a:gd name="connsiteX776" fmla="*/ 4393953 w 6837827"/>
              <a:gd name="connsiteY776" fmla="*/ 410805 h 1153348"/>
              <a:gd name="connsiteX777" fmla="*/ 4401932 w 6837827"/>
              <a:gd name="connsiteY777" fmla="*/ 394846 h 1153348"/>
              <a:gd name="connsiteX778" fmla="*/ 4412852 w 6837827"/>
              <a:gd name="connsiteY778" fmla="*/ 380146 h 1153348"/>
              <a:gd name="connsiteX779" fmla="*/ 4423351 w 6837827"/>
              <a:gd name="connsiteY779" fmla="*/ 365027 h 1153348"/>
              <a:gd name="connsiteX780" fmla="*/ 4430491 w 6837827"/>
              <a:gd name="connsiteY780" fmla="*/ 349067 h 1153348"/>
              <a:gd name="connsiteX781" fmla="*/ 4433431 w 6837827"/>
              <a:gd name="connsiteY781" fmla="*/ 322189 h 1153348"/>
              <a:gd name="connsiteX782" fmla="*/ 4427131 w 6837827"/>
              <a:gd name="connsiteY782" fmla="*/ 297410 h 1153348"/>
              <a:gd name="connsiteX783" fmla="*/ 4410332 w 6837827"/>
              <a:gd name="connsiteY783" fmla="*/ 279770 h 1153348"/>
              <a:gd name="connsiteX784" fmla="*/ 4382193 w 6837827"/>
              <a:gd name="connsiteY784" fmla="*/ 275151 h 1153348"/>
              <a:gd name="connsiteX785" fmla="*/ 4367914 w 6837827"/>
              <a:gd name="connsiteY785" fmla="*/ 280610 h 1153348"/>
              <a:gd name="connsiteX786" fmla="*/ 4357834 w 6837827"/>
              <a:gd name="connsiteY786" fmla="*/ 291530 h 1153348"/>
              <a:gd name="connsiteX787" fmla="*/ 4350695 w 6837827"/>
              <a:gd name="connsiteY787" fmla="*/ 305809 h 1153348"/>
              <a:gd name="connsiteX788" fmla="*/ 4345235 w 6837827"/>
              <a:gd name="connsiteY788" fmla="*/ 320929 h 1153348"/>
              <a:gd name="connsiteX789" fmla="*/ 4326756 w 6837827"/>
              <a:gd name="connsiteY789" fmla="*/ 390226 h 1153348"/>
              <a:gd name="connsiteX790" fmla="*/ 4304497 w 6837827"/>
              <a:gd name="connsiteY790" fmla="*/ 459523 h 1153348"/>
              <a:gd name="connsiteX791" fmla="*/ 4295677 w 6837827"/>
              <a:gd name="connsiteY791" fmla="*/ 480522 h 1153348"/>
              <a:gd name="connsiteX792" fmla="*/ 4768156 w 6837827"/>
              <a:gd name="connsiteY792" fmla="*/ 305809 h 1153348"/>
              <a:gd name="connsiteX793" fmla="*/ 4781596 w 6837827"/>
              <a:gd name="connsiteY793" fmla="*/ 296570 h 1153348"/>
              <a:gd name="connsiteX794" fmla="*/ 4790836 w 6837827"/>
              <a:gd name="connsiteY794" fmla="*/ 283970 h 1153348"/>
              <a:gd name="connsiteX795" fmla="*/ 4793355 w 6837827"/>
              <a:gd name="connsiteY795" fmla="*/ 268011 h 1153348"/>
              <a:gd name="connsiteX796" fmla="*/ 4787056 w 6837827"/>
              <a:gd name="connsiteY796" fmla="*/ 249532 h 1153348"/>
              <a:gd name="connsiteX797" fmla="*/ 4774877 w 6837827"/>
              <a:gd name="connsiteY797" fmla="*/ 242812 h 1153348"/>
              <a:gd name="connsiteX798" fmla="*/ 4758917 w 6837827"/>
              <a:gd name="connsiteY798" fmla="*/ 243652 h 1153348"/>
              <a:gd name="connsiteX799" fmla="*/ 4740858 w 6837827"/>
              <a:gd name="connsiteY799" fmla="*/ 247852 h 1153348"/>
              <a:gd name="connsiteX800" fmla="*/ 4696340 w 6837827"/>
              <a:gd name="connsiteY800" fmla="*/ 257511 h 1153348"/>
              <a:gd name="connsiteX801" fmla="*/ 4650142 w 6837827"/>
              <a:gd name="connsiteY801" fmla="*/ 267171 h 1153348"/>
              <a:gd name="connsiteX802" fmla="*/ 4632083 w 6837827"/>
              <a:gd name="connsiteY802" fmla="*/ 269271 h 1153348"/>
              <a:gd name="connsiteX803" fmla="*/ 4616543 w 6837827"/>
              <a:gd name="connsiteY803" fmla="*/ 266751 h 1153348"/>
              <a:gd name="connsiteX804" fmla="*/ 4601424 w 6837827"/>
              <a:gd name="connsiteY804" fmla="*/ 265071 h 1153348"/>
              <a:gd name="connsiteX805" fmla="*/ 4585044 w 6837827"/>
              <a:gd name="connsiteY805" fmla="*/ 269691 h 1153348"/>
              <a:gd name="connsiteX806" fmla="*/ 4573285 w 6837827"/>
              <a:gd name="connsiteY806" fmla="*/ 290270 h 1153348"/>
              <a:gd name="connsiteX807" fmla="*/ 4568245 w 6837827"/>
              <a:gd name="connsiteY807" fmla="*/ 314209 h 1153348"/>
              <a:gd name="connsiteX808" fmla="*/ 4564886 w 6837827"/>
              <a:gd name="connsiteY808" fmla="*/ 339408 h 1153348"/>
              <a:gd name="connsiteX809" fmla="*/ 4558586 w 6837827"/>
              <a:gd name="connsiteY809" fmla="*/ 363767 h 1153348"/>
              <a:gd name="connsiteX810" fmla="*/ 4552706 w 6837827"/>
              <a:gd name="connsiteY810" fmla="*/ 388966 h 1153348"/>
              <a:gd name="connsiteX811" fmla="*/ 4548506 w 6837827"/>
              <a:gd name="connsiteY811" fmla="*/ 428024 h 1153348"/>
              <a:gd name="connsiteX812" fmla="*/ 4546406 w 6837827"/>
              <a:gd name="connsiteY812" fmla="*/ 472962 h 1153348"/>
              <a:gd name="connsiteX813" fmla="*/ 4545986 w 6837827"/>
              <a:gd name="connsiteY813" fmla="*/ 517060 h 1153348"/>
              <a:gd name="connsiteX814" fmla="*/ 4546826 w 6837827"/>
              <a:gd name="connsiteY814" fmla="*/ 553179 h 1153348"/>
              <a:gd name="connsiteX815" fmla="*/ 4549346 w 6837827"/>
              <a:gd name="connsiteY815" fmla="*/ 573338 h 1153348"/>
              <a:gd name="connsiteX816" fmla="*/ 4573285 w 6837827"/>
              <a:gd name="connsiteY816" fmla="*/ 614076 h 1153348"/>
              <a:gd name="connsiteX817" fmla="*/ 4611084 w 6837827"/>
              <a:gd name="connsiteY817" fmla="*/ 629616 h 1153348"/>
              <a:gd name="connsiteX818" fmla="*/ 4656021 w 6837827"/>
              <a:gd name="connsiteY818" fmla="*/ 625416 h 1153348"/>
              <a:gd name="connsiteX819" fmla="*/ 4701380 w 6837827"/>
              <a:gd name="connsiteY819" fmla="*/ 607777 h 1153348"/>
              <a:gd name="connsiteX820" fmla="*/ 4740858 w 6837827"/>
              <a:gd name="connsiteY820" fmla="*/ 582578 h 1153348"/>
              <a:gd name="connsiteX821" fmla="*/ 4768156 w 6837827"/>
              <a:gd name="connsiteY821" fmla="*/ 555699 h 1153348"/>
              <a:gd name="connsiteX822" fmla="*/ 4777396 w 6837827"/>
              <a:gd name="connsiteY822" fmla="*/ 545619 h 1153348"/>
              <a:gd name="connsiteX823" fmla="*/ 4785376 w 6837827"/>
              <a:gd name="connsiteY823" fmla="*/ 535540 h 1153348"/>
              <a:gd name="connsiteX824" fmla="*/ 4789156 w 6837827"/>
              <a:gd name="connsiteY824" fmla="*/ 523360 h 1153348"/>
              <a:gd name="connsiteX825" fmla="*/ 4786636 w 6837827"/>
              <a:gd name="connsiteY825" fmla="*/ 505721 h 1153348"/>
              <a:gd name="connsiteX826" fmla="*/ 4755137 w 6837827"/>
              <a:gd name="connsiteY826" fmla="*/ 485982 h 1153348"/>
              <a:gd name="connsiteX827" fmla="*/ 4728258 w 6837827"/>
              <a:gd name="connsiteY827" fmla="*/ 509501 h 1153348"/>
              <a:gd name="connsiteX828" fmla="*/ 4697600 w 6837827"/>
              <a:gd name="connsiteY828" fmla="*/ 535959 h 1153348"/>
              <a:gd name="connsiteX829" fmla="*/ 4663581 w 6837827"/>
              <a:gd name="connsiteY829" fmla="*/ 553599 h 1153348"/>
              <a:gd name="connsiteX830" fmla="*/ 4626203 w 6837827"/>
              <a:gd name="connsiteY830" fmla="*/ 550239 h 1153348"/>
              <a:gd name="connsiteX831" fmla="*/ 4616963 w 6837827"/>
              <a:gd name="connsiteY831" fmla="*/ 538479 h 1153348"/>
              <a:gd name="connsiteX832" fmla="*/ 4613184 w 6837827"/>
              <a:gd name="connsiteY832" fmla="*/ 517900 h 1153348"/>
              <a:gd name="connsiteX833" fmla="*/ 4613184 w 6837827"/>
              <a:gd name="connsiteY833" fmla="*/ 495641 h 1153348"/>
              <a:gd name="connsiteX834" fmla="*/ 4616123 w 6837827"/>
              <a:gd name="connsiteY834" fmla="*/ 479682 h 1153348"/>
              <a:gd name="connsiteX835" fmla="*/ 4627883 w 6837827"/>
              <a:gd name="connsiteY835" fmla="*/ 470442 h 1153348"/>
              <a:gd name="connsiteX836" fmla="*/ 4648882 w 6837827"/>
              <a:gd name="connsiteY836" fmla="*/ 464983 h 1153348"/>
              <a:gd name="connsiteX837" fmla="*/ 4671561 w 6837827"/>
              <a:gd name="connsiteY837" fmla="*/ 461203 h 1153348"/>
              <a:gd name="connsiteX838" fmla="*/ 4689200 w 6837827"/>
              <a:gd name="connsiteY838" fmla="*/ 458683 h 1153348"/>
              <a:gd name="connsiteX839" fmla="*/ 4704739 w 6837827"/>
              <a:gd name="connsiteY839" fmla="*/ 455323 h 1153348"/>
              <a:gd name="connsiteX840" fmla="*/ 4717339 w 6837827"/>
              <a:gd name="connsiteY840" fmla="*/ 449023 h 1153348"/>
              <a:gd name="connsiteX841" fmla="*/ 4725318 w 6837827"/>
              <a:gd name="connsiteY841" fmla="*/ 438104 h 1153348"/>
              <a:gd name="connsiteX842" fmla="*/ 4726579 w 6837827"/>
              <a:gd name="connsiteY842" fmla="*/ 420464 h 1153348"/>
              <a:gd name="connsiteX843" fmla="*/ 4722379 w 6837827"/>
              <a:gd name="connsiteY843" fmla="*/ 405345 h 1153348"/>
              <a:gd name="connsiteX844" fmla="*/ 4712719 w 6837827"/>
              <a:gd name="connsiteY844" fmla="*/ 395265 h 1153348"/>
              <a:gd name="connsiteX845" fmla="*/ 4687100 w 6837827"/>
              <a:gd name="connsiteY845" fmla="*/ 391486 h 1153348"/>
              <a:gd name="connsiteX846" fmla="*/ 4658961 w 6837827"/>
              <a:gd name="connsiteY846" fmla="*/ 395686 h 1153348"/>
              <a:gd name="connsiteX847" fmla="*/ 4646782 w 6837827"/>
              <a:gd name="connsiteY847" fmla="*/ 397786 h 1153348"/>
              <a:gd name="connsiteX848" fmla="*/ 4632922 w 6837827"/>
              <a:gd name="connsiteY848" fmla="*/ 396946 h 1153348"/>
              <a:gd name="connsiteX849" fmla="*/ 4625363 w 6837827"/>
              <a:gd name="connsiteY849" fmla="*/ 386446 h 1153348"/>
              <a:gd name="connsiteX850" fmla="*/ 4631242 w 6837827"/>
              <a:gd name="connsiteY850" fmla="*/ 358307 h 1153348"/>
              <a:gd name="connsiteX851" fmla="*/ 4653922 w 6837827"/>
              <a:gd name="connsiteY851" fmla="*/ 331848 h 1153348"/>
              <a:gd name="connsiteX852" fmla="*/ 4685420 w 6837827"/>
              <a:gd name="connsiteY852" fmla="*/ 325129 h 1153348"/>
              <a:gd name="connsiteX853" fmla="*/ 4720279 w 6837827"/>
              <a:gd name="connsiteY853" fmla="*/ 323029 h 1153348"/>
              <a:gd name="connsiteX854" fmla="*/ 4752617 w 6837827"/>
              <a:gd name="connsiteY854" fmla="*/ 310009 h 1153348"/>
              <a:gd name="connsiteX855" fmla="*/ 4768156 w 6837827"/>
              <a:gd name="connsiteY855" fmla="*/ 305809 h 1153348"/>
              <a:gd name="connsiteX856" fmla="*/ 4989067 w 6837827"/>
              <a:gd name="connsiteY856" fmla="*/ 488502 h 1153348"/>
              <a:gd name="connsiteX857" fmla="*/ 5000407 w 6837827"/>
              <a:gd name="connsiteY857" fmla="*/ 491861 h 1153348"/>
              <a:gd name="connsiteX858" fmla="*/ 5031066 w 6837827"/>
              <a:gd name="connsiteY858" fmla="*/ 503201 h 1153348"/>
              <a:gd name="connsiteX859" fmla="*/ 5059204 w 6837827"/>
              <a:gd name="connsiteY859" fmla="*/ 521260 h 1153348"/>
              <a:gd name="connsiteX860" fmla="*/ 5081883 w 6837827"/>
              <a:gd name="connsiteY860" fmla="*/ 540579 h 1153348"/>
              <a:gd name="connsiteX861" fmla="*/ 5108342 w 6837827"/>
              <a:gd name="connsiteY861" fmla="*/ 557379 h 1153348"/>
              <a:gd name="connsiteX862" fmla="*/ 5137741 w 6837827"/>
              <a:gd name="connsiteY862" fmla="*/ 568298 h 1153348"/>
              <a:gd name="connsiteX863" fmla="*/ 5169239 w 6837827"/>
              <a:gd name="connsiteY863" fmla="*/ 570398 h 1153348"/>
              <a:gd name="connsiteX864" fmla="*/ 5195278 w 6837827"/>
              <a:gd name="connsiteY864" fmla="*/ 561998 h 1153348"/>
              <a:gd name="connsiteX865" fmla="*/ 5211658 w 6837827"/>
              <a:gd name="connsiteY865" fmla="*/ 547299 h 1153348"/>
              <a:gd name="connsiteX866" fmla="*/ 5215017 w 6837827"/>
              <a:gd name="connsiteY866" fmla="*/ 530080 h 1153348"/>
              <a:gd name="connsiteX867" fmla="*/ 5206618 w 6837827"/>
              <a:gd name="connsiteY867" fmla="*/ 513700 h 1153348"/>
              <a:gd name="connsiteX868" fmla="*/ 5188138 w 6837827"/>
              <a:gd name="connsiteY868" fmla="*/ 501101 h 1153348"/>
              <a:gd name="connsiteX869" fmla="*/ 5177639 w 6837827"/>
              <a:gd name="connsiteY869" fmla="*/ 500261 h 1153348"/>
              <a:gd name="connsiteX870" fmla="*/ 5167560 w 6837827"/>
              <a:gd name="connsiteY870" fmla="*/ 497321 h 1153348"/>
              <a:gd name="connsiteX871" fmla="*/ 5139001 w 6837827"/>
              <a:gd name="connsiteY871" fmla="*/ 478002 h 1153348"/>
              <a:gd name="connsiteX872" fmla="*/ 5108762 w 6837827"/>
              <a:gd name="connsiteY872" fmla="*/ 461203 h 1153348"/>
              <a:gd name="connsiteX873" fmla="*/ 5077683 w 6837827"/>
              <a:gd name="connsiteY873" fmla="*/ 445243 h 1153348"/>
              <a:gd name="connsiteX874" fmla="*/ 5048285 w 6837827"/>
              <a:gd name="connsiteY874" fmla="*/ 427184 h 1153348"/>
              <a:gd name="connsiteX875" fmla="*/ 5080623 w 6837827"/>
              <a:gd name="connsiteY875" fmla="*/ 413745 h 1153348"/>
              <a:gd name="connsiteX876" fmla="*/ 5104982 w 6837827"/>
              <a:gd name="connsiteY876" fmla="*/ 381406 h 1153348"/>
              <a:gd name="connsiteX877" fmla="*/ 5120102 w 6837827"/>
              <a:gd name="connsiteY877" fmla="*/ 337308 h 1153348"/>
              <a:gd name="connsiteX878" fmla="*/ 5125981 w 6837827"/>
              <a:gd name="connsiteY878" fmla="*/ 289430 h 1153348"/>
              <a:gd name="connsiteX879" fmla="*/ 5121362 w 6837827"/>
              <a:gd name="connsiteY879" fmla="*/ 244912 h 1153348"/>
              <a:gd name="connsiteX880" fmla="*/ 5104562 w 6837827"/>
              <a:gd name="connsiteY880" fmla="*/ 211313 h 1153348"/>
              <a:gd name="connsiteX881" fmla="*/ 5075164 w 6837827"/>
              <a:gd name="connsiteY881" fmla="*/ 196194 h 1153348"/>
              <a:gd name="connsiteX882" fmla="*/ 5032325 w 6837827"/>
              <a:gd name="connsiteY882" fmla="*/ 207534 h 1153348"/>
              <a:gd name="connsiteX883" fmla="*/ 5021826 w 6837827"/>
              <a:gd name="connsiteY883" fmla="*/ 211313 h 1153348"/>
              <a:gd name="connsiteX884" fmla="*/ 5010486 w 6837827"/>
              <a:gd name="connsiteY884" fmla="*/ 222233 h 1153348"/>
              <a:gd name="connsiteX885" fmla="*/ 4999987 w 6837827"/>
              <a:gd name="connsiteY885" fmla="*/ 235672 h 1153348"/>
              <a:gd name="connsiteX886" fmla="*/ 4990747 w 6837827"/>
              <a:gd name="connsiteY886" fmla="*/ 246592 h 1153348"/>
              <a:gd name="connsiteX887" fmla="*/ 4980668 w 6837827"/>
              <a:gd name="connsiteY887" fmla="*/ 252892 h 1153348"/>
              <a:gd name="connsiteX888" fmla="*/ 4970588 w 6837827"/>
              <a:gd name="connsiteY888" fmla="*/ 257511 h 1153348"/>
              <a:gd name="connsiteX889" fmla="*/ 4962188 w 6837827"/>
              <a:gd name="connsiteY889" fmla="*/ 263391 h 1153348"/>
              <a:gd name="connsiteX890" fmla="*/ 4957569 w 6837827"/>
              <a:gd name="connsiteY890" fmla="*/ 273891 h 1153348"/>
              <a:gd name="connsiteX891" fmla="*/ 4949589 w 6837827"/>
              <a:gd name="connsiteY891" fmla="*/ 307489 h 1153348"/>
              <a:gd name="connsiteX892" fmla="*/ 4939089 w 6837827"/>
              <a:gd name="connsiteY892" fmla="*/ 338988 h 1153348"/>
              <a:gd name="connsiteX893" fmla="*/ 4927750 w 6837827"/>
              <a:gd name="connsiteY893" fmla="*/ 370067 h 1153348"/>
              <a:gd name="connsiteX894" fmla="*/ 4917250 w 6837827"/>
              <a:gd name="connsiteY894" fmla="*/ 403245 h 1153348"/>
              <a:gd name="connsiteX895" fmla="*/ 4907591 w 6837827"/>
              <a:gd name="connsiteY895" fmla="*/ 445243 h 1153348"/>
              <a:gd name="connsiteX896" fmla="*/ 4899191 w 6837827"/>
              <a:gd name="connsiteY896" fmla="*/ 486402 h 1153348"/>
              <a:gd name="connsiteX897" fmla="*/ 4892891 w 6837827"/>
              <a:gd name="connsiteY897" fmla="*/ 509921 h 1153348"/>
              <a:gd name="connsiteX898" fmla="*/ 4883651 w 6837827"/>
              <a:gd name="connsiteY898" fmla="*/ 548139 h 1153348"/>
              <a:gd name="connsiteX899" fmla="*/ 4875672 w 6837827"/>
              <a:gd name="connsiteY899" fmla="*/ 592237 h 1153348"/>
              <a:gd name="connsiteX900" fmla="*/ 4874412 w 6837827"/>
              <a:gd name="connsiteY900" fmla="*/ 633395 h 1153348"/>
              <a:gd name="connsiteX901" fmla="*/ 4883651 w 6837827"/>
              <a:gd name="connsiteY901" fmla="*/ 662794 h 1153348"/>
              <a:gd name="connsiteX902" fmla="*/ 4908011 w 6837827"/>
              <a:gd name="connsiteY902" fmla="*/ 672454 h 1153348"/>
              <a:gd name="connsiteX903" fmla="*/ 4928170 w 6837827"/>
              <a:gd name="connsiteY903" fmla="*/ 663634 h 1153348"/>
              <a:gd name="connsiteX904" fmla="*/ 4939509 w 6837827"/>
              <a:gd name="connsiteY904" fmla="*/ 645575 h 1153348"/>
              <a:gd name="connsiteX905" fmla="*/ 4944549 w 6837827"/>
              <a:gd name="connsiteY905" fmla="*/ 622056 h 1153348"/>
              <a:gd name="connsiteX906" fmla="*/ 4945389 w 6837827"/>
              <a:gd name="connsiteY906" fmla="*/ 597697 h 1153348"/>
              <a:gd name="connsiteX907" fmla="*/ 4948749 w 6837827"/>
              <a:gd name="connsiteY907" fmla="*/ 571658 h 1153348"/>
              <a:gd name="connsiteX908" fmla="*/ 4957569 w 6837827"/>
              <a:gd name="connsiteY908" fmla="*/ 539320 h 1153348"/>
              <a:gd name="connsiteX909" fmla="*/ 4968908 w 6837827"/>
              <a:gd name="connsiteY909" fmla="*/ 506561 h 1153348"/>
              <a:gd name="connsiteX910" fmla="*/ 4980668 w 6837827"/>
              <a:gd name="connsiteY910" fmla="*/ 479682 h 1153348"/>
              <a:gd name="connsiteX911" fmla="*/ 4989067 w 6837827"/>
              <a:gd name="connsiteY911" fmla="*/ 488502 h 1153348"/>
              <a:gd name="connsiteX912" fmla="*/ 5020986 w 6837827"/>
              <a:gd name="connsiteY912" fmla="*/ 380146 h 1153348"/>
              <a:gd name="connsiteX913" fmla="*/ 5013006 w 6837827"/>
              <a:gd name="connsiteY913" fmla="*/ 390226 h 1153348"/>
              <a:gd name="connsiteX914" fmla="*/ 5004606 w 6837827"/>
              <a:gd name="connsiteY914" fmla="*/ 395686 h 1153348"/>
              <a:gd name="connsiteX915" fmla="*/ 4997887 w 6837827"/>
              <a:gd name="connsiteY915" fmla="*/ 394426 h 1153348"/>
              <a:gd name="connsiteX916" fmla="*/ 4994947 w 6837827"/>
              <a:gd name="connsiteY916" fmla="*/ 377206 h 1153348"/>
              <a:gd name="connsiteX917" fmla="*/ 5004187 w 6837827"/>
              <a:gd name="connsiteY917" fmla="*/ 353687 h 1153348"/>
              <a:gd name="connsiteX918" fmla="*/ 5018886 w 6837827"/>
              <a:gd name="connsiteY918" fmla="*/ 331428 h 1153348"/>
              <a:gd name="connsiteX919" fmla="*/ 5032745 w 6837827"/>
              <a:gd name="connsiteY919" fmla="*/ 317149 h 1153348"/>
              <a:gd name="connsiteX920" fmla="*/ 5033585 w 6837827"/>
              <a:gd name="connsiteY920" fmla="*/ 343188 h 1153348"/>
              <a:gd name="connsiteX921" fmla="*/ 5027705 w 6837827"/>
              <a:gd name="connsiteY921" fmla="*/ 368387 h 1153348"/>
              <a:gd name="connsiteX922" fmla="*/ 5020986 w 6837827"/>
              <a:gd name="connsiteY922" fmla="*/ 380146 h 1153348"/>
              <a:gd name="connsiteX923" fmla="*/ 5336392 w 6837827"/>
              <a:gd name="connsiteY923" fmla="*/ 237352 h 1153348"/>
              <a:gd name="connsiteX924" fmla="*/ 5333872 w 6837827"/>
              <a:gd name="connsiteY924" fmla="*/ 285230 h 1153348"/>
              <a:gd name="connsiteX925" fmla="*/ 5349831 w 6837827"/>
              <a:gd name="connsiteY925" fmla="*/ 336048 h 1153348"/>
              <a:gd name="connsiteX926" fmla="*/ 5369991 w 6837827"/>
              <a:gd name="connsiteY926" fmla="*/ 395265 h 1153348"/>
              <a:gd name="connsiteX927" fmla="*/ 5374191 w 6837827"/>
              <a:gd name="connsiteY927" fmla="*/ 408285 h 1153348"/>
              <a:gd name="connsiteX928" fmla="*/ 5380490 w 6837827"/>
              <a:gd name="connsiteY928" fmla="*/ 428024 h 1153348"/>
              <a:gd name="connsiteX929" fmla="*/ 5386370 w 6837827"/>
              <a:gd name="connsiteY929" fmla="*/ 451543 h 1153348"/>
              <a:gd name="connsiteX930" fmla="*/ 5389310 w 6837827"/>
              <a:gd name="connsiteY930" fmla="*/ 474642 h 1153348"/>
              <a:gd name="connsiteX931" fmla="*/ 5386790 w 6837827"/>
              <a:gd name="connsiteY931" fmla="*/ 493121 h 1153348"/>
              <a:gd name="connsiteX932" fmla="*/ 5376291 w 6837827"/>
              <a:gd name="connsiteY932" fmla="*/ 503621 h 1153348"/>
              <a:gd name="connsiteX933" fmla="*/ 5366631 w 6837827"/>
              <a:gd name="connsiteY933" fmla="*/ 503621 h 1153348"/>
              <a:gd name="connsiteX934" fmla="*/ 5358231 w 6837827"/>
              <a:gd name="connsiteY934" fmla="*/ 498161 h 1153348"/>
              <a:gd name="connsiteX935" fmla="*/ 5351092 w 6837827"/>
              <a:gd name="connsiteY935" fmla="*/ 490182 h 1153348"/>
              <a:gd name="connsiteX936" fmla="*/ 5344792 w 6837827"/>
              <a:gd name="connsiteY936" fmla="*/ 483042 h 1153348"/>
              <a:gd name="connsiteX937" fmla="*/ 5326732 w 6837827"/>
              <a:gd name="connsiteY937" fmla="*/ 473382 h 1153348"/>
              <a:gd name="connsiteX938" fmla="*/ 5310773 w 6837827"/>
              <a:gd name="connsiteY938" fmla="*/ 480102 h 1153348"/>
              <a:gd name="connsiteX939" fmla="*/ 5299854 w 6837827"/>
              <a:gd name="connsiteY939" fmla="*/ 497321 h 1153348"/>
              <a:gd name="connsiteX940" fmla="*/ 5296914 w 6837827"/>
              <a:gd name="connsiteY940" fmla="*/ 517900 h 1153348"/>
              <a:gd name="connsiteX941" fmla="*/ 5303214 w 6837827"/>
              <a:gd name="connsiteY941" fmla="*/ 541419 h 1153348"/>
              <a:gd name="connsiteX942" fmla="*/ 5316653 w 6837827"/>
              <a:gd name="connsiteY942" fmla="*/ 563678 h 1153348"/>
              <a:gd name="connsiteX943" fmla="*/ 5336392 w 6837827"/>
              <a:gd name="connsiteY943" fmla="*/ 579638 h 1153348"/>
              <a:gd name="connsiteX944" fmla="*/ 5361171 w 6837827"/>
              <a:gd name="connsiteY944" fmla="*/ 585518 h 1153348"/>
              <a:gd name="connsiteX945" fmla="*/ 5416609 w 6837827"/>
              <a:gd name="connsiteY945" fmla="*/ 569558 h 1153348"/>
              <a:gd name="connsiteX946" fmla="*/ 5448527 w 6837827"/>
              <a:gd name="connsiteY946" fmla="*/ 532180 h 1153348"/>
              <a:gd name="connsiteX947" fmla="*/ 5460287 w 6837827"/>
              <a:gd name="connsiteY947" fmla="*/ 484302 h 1153348"/>
              <a:gd name="connsiteX948" fmla="*/ 5455247 w 6837827"/>
              <a:gd name="connsiteY948" fmla="*/ 435584 h 1153348"/>
              <a:gd name="connsiteX949" fmla="*/ 5442648 w 6837827"/>
              <a:gd name="connsiteY949" fmla="*/ 400305 h 1153348"/>
              <a:gd name="connsiteX950" fmla="*/ 5426688 w 6837827"/>
              <a:gd name="connsiteY950" fmla="*/ 364607 h 1153348"/>
              <a:gd name="connsiteX951" fmla="*/ 5412829 w 6837827"/>
              <a:gd name="connsiteY951" fmla="*/ 328489 h 1153348"/>
              <a:gd name="connsiteX952" fmla="*/ 5406109 w 6837827"/>
              <a:gd name="connsiteY952" fmla="*/ 292370 h 1153348"/>
              <a:gd name="connsiteX953" fmla="*/ 5409889 w 6837827"/>
              <a:gd name="connsiteY953" fmla="*/ 254152 h 1153348"/>
              <a:gd name="connsiteX954" fmla="*/ 5424588 w 6837827"/>
              <a:gd name="connsiteY954" fmla="*/ 236512 h 1153348"/>
              <a:gd name="connsiteX955" fmla="*/ 5449787 w 6837827"/>
              <a:gd name="connsiteY955" fmla="*/ 227693 h 1153348"/>
              <a:gd name="connsiteX956" fmla="*/ 5485066 w 6837827"/>
              <a:gd name="connsiteY956" fmla="*/ 217193 h 1153348"/>
              <a:gd name="connsiteX957" fmla="*/ 5500605 w 6837827"/>
              <a:gd name="connsiteY957" fmla="*/ 209214 h 1153348"/>
              <a:gd name="connsiteX958" fmla="*/ 5509845 w 6837827"/>
              <a:gd name="connsiteY958" fmla="*/ 194094 h 1153348"/>
              <a:gd name="connsiteX959" fmla="*/ 5504805 w 6837827"/>
              <a:gd name="connsiteY959" fmla="*/ 176875 h 1153348"/>
              <a:gd name="connsiteX960" fmla="*/ 5496405 w 6837827"/>
              <a:gd name="connsiteY960" fmla="*/ 164275 h 1153348"/>
              <a:gd name="connsiteX961" fmla="*/ 5482966 w 6837827"/>
              <a:gd name="connsiteY961" fmla="*/ 156716 h 1153348"/>
              <a:gd name="connsiteX962" fmla="*/ 5462387 w 6837827"/>
              <a:gd name="connsiteY962" fmla="*/ 155876 h 1153348"/>
              <a:gd name="connsiteX963" fmla="*/ 5438868 w 6837827"/>
              <a:gd name="connsiteY963" fmla="*/ 159236 h 1153348"/>
              <a:gd name="connsiteX964" fmla="*/ 5413669 w 6837827"/>
              <a:gd name="connsiteY964" fmla="*/ 165536 h 1153348"/>
              <a:gd name="connsiteX965" fmla="*/ 5390150 w 6837827"/>
              <a:gd name="connsiteY965" fmla="*/ 175195 h 1153348"/>
              <a:gd name="connsiteX966" fmla="*/ 5370831 w 6837827"/>
              <a:gd name="connsiteY966" fmla="*/ 189054 h 1153348"/>
              <a:gd name="connsiteX967" fmla="*/ 5336392 w 6837827"/>
              <a:gd name="connsiteY967" fmla="*/ 237352 h 1153348"/>
              <a:gd name="connsiteX968" fmla="*/ 5839951 w 6837827"/>
              <a:gd name="connsiteY968" fmla="*/ 119757 h 1153348"/>
              <a:gd name="connsiteX969" fmla="*/ 5827771 w 6837827"/>
              <a:gd name="connsiteY969" fmla="*/ 118498 h 1153348"/>
              <a:gd name="connsiteX970" fmla="*/ 5814332 w 6837827"/>
              <a:gd name="connsiteY970" fmla="*/ 119757 h 1153348"/>
              <a:gd name="connsiteX971" fmla="*/ 5802152 w 6837827"/>
              <a:gd name="connsiteY971" fmla="*/ 121437 h 1153348"/>
              <a:gd name="connsiteX972" fmla="*/ 5743775 w 6837827"/>
              <a:gd name="connsiteY972" fmla="*/ 129417 h 1153348"/>
              <a:gd name="connsiteX973" fmla="*/ 5684977 w 6837827"/>
              <a:gd name="connsiteY973" fmla="*/ 142856 h 1153348"/>
              <a:gd name="connsiteX974" fmla="*/ 5629540 w 6837827"/>
              <a:gd name="connsiteY974" fmla="*/ 160916 h 1153348"/>
              <a:gd name="connsiteX975" fmla="*/ 5580822 w 6837827"/>
              <a:gd name="connsiteY975" fmla="*/ 183175 h 1153348"/>
              <a:gd name="connsiteX976" fmla="*/ 5572842 w 6837827"/>
              <a:gd name="connsiteY976" fmla="*/ 188635 h 1153348"/>
              <a:gd name="connsiteX977" fmla="*/ 5571162 w 6837827"/>
              <a:gd name="connsiteY977" fmla="*/ 198294 h 1153348"/>
              <a:gd name="connsiteX978" fmla="*/ 5572842 w 6837827"/>
              <a:gd name="connsiteY978" fmla="*/ 209634 h 1153348"/>
              <a:gd name="connsiteX979" fmla="*/ 5576622 w 6837827"/>
              <a:gd name="connsiteY979" fmla="*/ 221393 h 1153348"/>
              <a:gd name="connsiteX980" fmla="*/ 5582921 w 6837827"/>
              <a:gd name="connsiteY980" fmla="*/ 231473 h 1153348"/>
              <a:gd name="connsiteX981" fmla="*/ 5592161 w 6837827"/>
              <a:gd name="connsiteY981" fmla="*/ 237352 h 1153348"/>
              <a:gd name="connsiteX982" fmla="*/ 5614420 w 6837827"/>
              <a:gd name="connsiteY982" fmla="*/ 239032 h 1153348"/>
              <a:gd name="connsiteX983" fmla="*/ 5638359 w 6837827"/>
              <a:gd name="connsiteY983" fmla="*/ 233572 h 1153348"/>
              <a:gd name="connsiteX984" fmla="*/ 5661878 w 6837827"/>
              <a:gd name="connsiteY984" fmla="*/ 224333 h 1153348"/>
              <a:gd name="connsiteX985" fmla="*/ 5682038 w 6837827"/>
              <a:gd name="connsiteY985" fmla="*/ 215093 h 1153348"/>
              <a:gd name="connsiteX986" fmla="*/ 5677417 w 6837827"/>
              <a:gd name="connsiteY986" fmla="*/ 286910 h 1153348"/>
              <a:gd name="connsiteX987" fmla="*/ 5670278 w 6837827"/>
              <a:gd name="connsiteY987" fmla="*/ 354527 h 1153348"/>
              <a:gd name="connsiteX988" fmla="*/ 5664818 w 6837827"/>
              <a:gd name="connsiteY988" fmla="*/ 421725 h 1153348"/>
              <a:gd name="connsiteX989" fmla="*/ 5665238 w 6837827"/>
              <a:gd name="connsiteY989" fmla="*/ 492281 h 1153348"/>
              <a:gd name="connsiteX990" fmla="*/ 5670278 w 6837827"/>
              <a:gd name="connsiteY990" fmla="*/ 512021 h 1153348"/>
              <a:gd name="connsiteX991" fmla="*/ 5680777 w 6837827"/>
              <a:gd name="connsiteY991" fmla="*/ 529240 h 1153348"/>
              <a:gd name="connsiteX992" fmla="*/ 5696317 w 6837827"/>
              <a:gd name="connsiteY992" fmla="*/ 538899 h 1153348"/>
              <a:gd name="connsiteX993" fmla="*/ 5715636 w 6837827"/>
              <a:gd name="connsiteY993" fmla="*/ 536799 h 1153348"/>
              <a:gd name="connsiteX994" fmla="*/ 5739575 w 6837827"/>
              <a:gd name="connsiteY994" fmla="*/ 518740 h 1153348"/>
              <a:gd name="connsiteX995" fmla="*/ 5744614 w 6837827"/>
              <a:gd name="connsiteY995" fmla="*/ 497321 h 1153348"/>
              <a:gd name="connsiteX996" fmla="*/ 5739995 w 6837827"/>
              <a:gd name="connsiteY996" fmla="*/ 472542 h 1153348"/>
              <a:gd name="connsiteX997" fmla="*/ 5734115 w 6837827"/>
              <a:gd name="connsiteY997" fmla="*/ 444403 h 1153348"/>
              <a:gd name="connsiteX998" fmla="*/ 5733275 w 6837827"/>
              <a:gd name="connsiteY998" fmla="*/ 386866 h 1153348"/>
              <a:gd name="connsiteX999" fmla="*/ 5738735 w 6837827"/>
              <a:gd name="connsiteY999" fmla="*/ 328908 h 1153348"/>
              <a:gd name="connsiteX1000" fmla="*/ 5745455 w 6837827"/>
              <a:gd name="connsiteY1000" fmla="*/ 270111 h 1153348"/>
              <a:gd name="connsiteX1001" fmla="*/ 5748394 w 6837827"/>
              <a:gd name="connsiteY1001" fmla="*/ 210054 h 1153348"/>
              <a:gd name="connsiteX1002" fmla="*/ 5750494 w 6837827"/>
              <a:gd name="connsiteY1002" fmla="*/ 199134 h 1153348"/>
              <a:gd name="connsiteX1003" fmla="*/ 5756374 w 6837827"/>
              <a:gd name="connsiteY1003" fmla="*/ 192834 h 1153348"/>
              <a:gd name="connsiteX1004" fmla="*/ 5765194 w 6837827"/>
              <a:gd name="connsiteY1004" fmla="*/ 189054 h 1153348"/>
              <a:gd name="connsiteX1005" fmla="*/ 5774853 w 6837827"/>
              <a:gd name="connsiteY1005" fmla="*/ 186535 h 1153348"/>
              <a:gd name="connsiteX1006" fmla="*/ 5809712 w 6837827"/>
              <a:gd name="connsiteY1006" fmla="*/ 181075 h 1153348"/>
              <a:gd name="connsiteX1007" fmla="*/ 5844151 w 6837827"/>
              <a:gd name="connsiteY1007" fmla="*/ 174775 h 1153348"/>
              <a:gd name="connsiteX1008" fmla="*/ 5855070 w 6837827"/>
              <a:gd name="connsiteY1008" fmla="*/ 165955 h 1153348"/>
              <a:gd name="connsiteX1009" fmla="*/ 5855910 w 6837827"/>
              <a:gd name="connsiteY1009" fmla="*/ 153356 h 1153348"/>
              <a:gd name="connsiteX1010" fmla="*/ 5852130 w 6837827"/>
              <a:gd name="connsiteY1010" fmla="*/ 138657 h 1153348"/>
              <a:gd name="connsiteX1011" fmla="*/ 5849610 w 6837827"/>
              <a:gd name="connsiteY1011" fmla="*/ 123537 h 1153348"/>
              <a:gd name="connsiteX1012" fmla="*/ 5839951 w 6837827"/>
              <a:gd name="connsiteY1012" fmla="*/ 119757 h 1153348"/>
              <a:gd name="connsiteX1013" fmla="*/ 6155357 w 6837827"/>
              <a:gd name="connsiteY1013" fmla="*/ 108418 h 1153348"/>
              <a:gd name="connsiteX1014" fmla="*/ 6139818 w 6837827"/>
              <a:gd name="connsiteY1014" fmla="*/ 104638 h 1153348"/>
              <a:gd name="connsiteX1015" fmla="*/ 6114199 w 6837827"/>
              <a:gd name="connsiteY1015" fmla="*/ 92459 h 1153348"/>
              <a:gd name="connsiteX1016" fmla="*/ 6087320 w 6837827"/>
              <a:gd name="connsiteY1016" fmla="*/ 86159 h 1153348"/>
              <a:gd name="connsiteX1017" fmla="*/ 6054141 w 6837827"/>
              <a:gd name="connsiteY1017" fmla="*/ 100018 h 1153348"/>
              <a:gd name="connsiteX1018" fmla="*/ 6029782 w 6837827"/>
              <a:gd name="connsiteY1018" fmla="*/ 127737 h 1153348"/>
              <a:gd name="connsiteX1019" fmla="*/ 6010883 w 6837827"/>
              <a:gd name="connsiteY1019" fmla="*/ 161756 h 1153348"/>
              <a:gd name="connsiteX1020" fmla="*/ 5994084 w 6837827"/>
              <a:gd name="connsiteY1020" fmla="*/ 195774 h 1153348"/>
              <a:gd name="connsiteX1021" fmla="*/ 5975185 w 6837827"/>
              <a:gd name="connsiteY1021" fmla="*/ 238612 h 1153348"/>
              <a:gd name="connsiteX1022" fmla="*/ 5956285 w 6837827"/>
              <a:gd name="connsiteY1022" fmla="*/ 291950 h 1153348"/>
              <a:gd name="connsiteX1023" fmla="*/ 5942846 w 6837827"/>
              <a:gd name="connsiteY1023" fmla="*/ 349488 h 1153348"/>
              <a:gd name="connsiteX1024" fmla="*/ 5940326 w 6837827"/>
              <a:gd name="connsiteY1024" fmla="*/ 405345 h 1153348"/>
              <a:gd name="connsiteX1025" fmla="*/ 5954605 w 6837827"/>
              <a:gd name="connsiteY1025" fmla="*/ 453643 h 1153348"/>
              <a:gd name="connsiteX1026" fmla="*/ 5991144 w 6837827"/>
              <a:gd name="connsiteY1026" fmla="*/ 488502 h 1153348"/>
              <a:gd name="connsiteX1027" fmla="*/ 6011723 w 6837827"/>
              <a:gd name="connsiteY1027" fmla="*/ 495641 h 1153348"/>
              <a:gd name="connsiteX1028" fmla="*/ 6031882 w 6837827"/>
              <a:gd name="connsiteY1028" fmla="*/ 496481 h 1153348"/>
              <a:gd name="connsiteX1029" fmla="*/ 6072621 w 6837827"/>
              <a:gd name="connsiteY1029" fmla="*/ 482202 h 1153348"/>
              <a:gd name="connsiteX1030" fmla="*/ 6113359 w 6837827"/>
              <a:gd name="connsiteY1030" fmla="*/ 452803 h 1153348"/>
              <a:gd name="connsiteX1031" fmla="*/ 6148637 w 6837827"/>
              <a:gd name="connsiteY1031" fmla="*/ 416685 h 1153348"/>
              <a:gd name="connsiteX1032" fmla="*/ 6172576 w 6837827"/>
              <a:gd name="connsiteY1032" fmla="*/ 382666 h 1153348"/>
              <a:gd name="connsiteX1033" fmla="*/ 6186016 w 6837827"/>
              <a:gd name="connsiteY1033" fmla="*/ 361667 h 1153348"/>
              <a:gd name="connsiteX1034" fmla="*/ 6197775 w 6837827"/>
              <a:gd name="connsiteY1034" fmla="*/ 342348 h 1153348"/>
              <a:gd name="connsiteX1035" fmla="*/ 6207855 w 6837827"/>
              <a:gd name="connsiteY1035" fmla="*/ 319249 h 1153348"/>
              <a:gd name="connsiteX1036" fmla="*/ 6214574 w 6837827"/>
              <a:gd name="connsiteY1036" fmla="*/ 288170 h 1153348"/>
              <a:gd name="connsiteX1037" fmla="*/ 6218774 w 6837827"/>
              <a:gd name="connsiteY1037" fmla="*/ 270531 h 1153348"/>
              <a:gd name="connsiteX1038" fmla="*/ 6222134 w 6837827"/>
              <a:gd name="connsiteY1038" fmla="*/ 255832 h 1153348"/>
              <a:gd name="connsiteX1039" fmla="*/ 6224654 w 6837827"/>
              <a:gd name="connsiteY1039" fmla="*/ 216773 h 1153348"/>
              <a:gd name="connsiteX1040" fmla="*/ 6220454 w 6837827"/>
              <a:gd name="connsiteY1040" fmla="*/ 171415 h 1153348"/>
              <a:gd name="connsiteX1041" fmla="*/ 6204075 w 6837827"/>
              <a:gd name="connsiteY1041" fmla="*/ 131937 h 1153348"/>
              <a:gd name="connsiteX1042" fmla="*/ 6172156 w 6837827"/>
              <a:gd name="connsiteY1042" fmla="*/ 110098 h 1153348"/>
              <a:gd name="connsiteX1043" fmla="*/ 6155357 w 6837827"/>
              <a:gd name="connsiteY1043" fmla="*/ 108418 h 1153348"/>
              <a:gd name="connsiteX1044" fmla="*/ 6134778 w 6837827"/>
              <a:gd name="connsiteY1044" fmla="*/ 332268 h 1153348"/>
              <a:gd name="connsiteX1045" fmla="*/ 6107059 w 6837827"/>
              <a:gd name="connsiteY1045" fmla="*/ 372166 h 1153348"/>
              <a:gd name="connsiteX1046" fmla="*/ 6073041 w 6837827"/>
              <a:gd name="connsiteY1046" fmla="*/ 405765 h 1153348"/>
              <a:gd name="connsiteX1047" fmla="*/ 6036502 w 6837827"/>
              <a:gd name="connsiteY1047" fmla="*/ 427604 h 1153348"/>
              <a:gd name="connsiteX1048" fmla="*/ 6019703 w 6837827"/>
              <a:gd name="connsiteY1048" fmla="*/ 427604 h 1153348"/>
              <a:gd name="connsiteX1049" fmla="*/ 6008783 w 6837827"/>
              <a:gd name="connsiteY1049" fmla="*/ 415845 h 1153348"/>
              <a:gd name="connsiteX1050" fmla="*/ 6002903 w 6837827"/>
              <a:gd name="connsiteY1050" fmla="*/ 396946 h 1153348"/>
              <a:gd name="connsiteX1051" fmla="*/ 6001224 w 6837827"/>
              <a:gd name="connsiteY1051" fmla="*/ 375106 h 1153348"/>
              <a:gd name="connsiteX1052" fmla="*/ 6002903 w 6837827"/>
              <a:gd name="connsiteY1052" fmla="*/ 354527 h 1153348"/>
              <a:gd name="connsiteX1053" fmla="*/ 6007524 w 6837827"/>
              <a:gd name="connsiteY1053" fmla="*/ 340248 h 1153348"/>
              <a:gd name="connsiteX1054" fmla="*/ 6018863 w 6837827"/>
              <a:gd name="connsiteY1054" fmla="*/ 307069 h 1153348"/>
              <a:gd name="connsiteX1055" fmla="*/ 6026002 w 6837827"/>
              <a:gd name="connsiteY1055" fmla="*/ 272211 h 1153348"/>
              <a:gd name="connsiteX1056" fmla="*/ 6050362 w 6837827"/>
              <a:gd name="connsiteY1056" fmla="*/ 219713 h 1153348"/>
              <a:gd name="connsiteX1057" fmla="*/ 6091520 w 6837827"/>
              <a:gd name="connsiteY1057" fmla="*/ 177715 h 1153348"/>
              <a:gd name="connsiteX1058" fmla="*/ 6105799 w 6837827"/>
              <a:gd name="connsiteY1058" fmla="*/ 174355 h 1153348"/>
              <a:gd name="connsiteX1059" fmla="*/ 6122598 w 6837827"/>
              <a:gd name="connsiteY1059" fmla="*/ 174355 h 1153348"/>
              <a:gd name="connsiteX1060" fmla="*/ 6141918 w 6837827"/>
              <a:gd name="connsiteY1060" fmla="*/ 179395 h 1153348"/>
              <a:gd name="connsiteX1061" fmla="*/ 6153257 w 6837827"/>
              <a:gd name="connsiteY1061" fmla="*/ 196614 h 1153348"/>
              <a:gd name="connsiteX1062" fmla="*/ 6158297 w 6837827"/>
              <a:gd name="connsiteY1062" fmla="*/ 220973 h 1153348"/>
              <a:gd name="connsiteX1063" fmla="*/ 6158717 w 6837827"/>
              <a:gd name="connsiteY1063" fmla="*/ 247852 h 1153348"/>
              <a:gd name="connsiteX1064" fmla="*/ 6156197 w 6837827"/>
              <a:gd name="connsiteY1064" fmla="*/ 272631 h 1153348"/>
              <a:gd name="connsiteX1065" fmla="*/ 6152837 w 6837827"/>
              <a:gd name="connsiteY1065" fmla="*/ 290270 h 1153348"/>
              <a:gd name="connsiteX1066" fmla="*/ 6134778 w 6837827"/>
              <a:gd name="connsiteY1066" fmla="*/ 332268 h 1153348"/>
              <a:gd name="connsiteX1067" fmla="*/ 6433385 w 6837827"/>
              <a:gd name="connsiteY1067" fmla="*/ 242392 h 1153348"/>
              <a:gd name="connsiteX1068" fmla="*/ 6451864 w 6837827"/>
              <a:gd name="connsiteY1068" fmla="*/ 243652 h 1153348"/>
              <a:gd name="connsiteX1069" fmla="*/ 6469083 w 6837827"/>
              <a:gd name="connsiteY1069" fmla="*/ 239032 h 1153348"/>
              <a:gd name="connsiteX1070" fmla="*/ 6483363 w 6837827"/>
              <a:gd name="connsiteY1070" fmla="*/ 227273 h 1153348"/>
              <a:gd name="connsiteX1071" fmla="*/ 6495542 w 6837827"/>
              <a:gd name="connsiteY1071" fmla="*/ 211313 h 1153348"/>
              <a:gd name="connsiteX1072" fmla="*/ 6505622 w 6837827"/>
              <a:gd name="connsiteY1072" fmla="*/ 195774 h 1153348"/>
              <a:gd name="connsiteX1073" fmla="*/ 6518641 w 6837827"/>
              <a:gd name="connsiteY1073" fmla="*/ 169735 h 1153348"/>
              <a:gd name="connsiteX1074" fmla="*/ 6532921 w 6837827"/>
              <a:gd name="connsiteY1074" fmla="*/ 143696 h 1153348"/>
              <a:gd name="connsiteX1075" fmla="*/ 6543420 w 6837827"/>
              <a:gd name="connsiteY1075" fmla="*/ 116817 h 1153348"/>
              <a:gd name="connsiteX1076" fmla="*/ 6545940 w 6837827"/>
              <a:gd name="connsiteY1076" fmla="*/ 87839 h 1153348"/>
              <a:gd name="connsiteX1077" fmla="*/ 6530401 w 6837827"/>
              <a:gd name="connsiteY1077" fmla="*/ 50460 h 1153348"/>
              <a:gd name="connsiteX1078" fmla="*/ 6497642 w 6837827"/>
              <a:gd name="connsiteY1078" fmla="*/ 22322 h 1153348"/>
              <a:gd name="connsiteX1079" fmla="*/ 6456484 w 6837827"/>
              <a:gd name="connsiteY1079" fmla="*/ 6362 h 1153348"/>
              <a:gd name="connsiteX1080" fmla="*/ 6414486 w 6837827"/>
              <a:gd name="connsiteY1080" fmla="*/ 5522 h 1153348"/>
              <a:gd name="connsiteX1081" fmla="*/ 6399366 w 6837827"/>
              <a:gd name="connsiteY1081" fmla="*/ 63 h 1153348"/>
              <a:gd name="connsiteX1082" fmla="*/ 6378367 w 6837827"/>
              <a:gd name="connsiteY1082" fmla="*/ 5522 h 1153348"/>
              <a:gd name="connsiteX1083" fmla="*/ 6359468 w 6837827"/>
              <a:gd name="connsiteY1083" fmla="*/ 17702 h 1153348"/>
              <a:gd name="connsiteX1084" fmla="*/ 6350229 w 6837827"/>
              <a:gd name="connsiteY1084" fmla="*/ 32401 h 1153348"/>
              <a:gd name="connsiteX1085" fmla="*/ 6351909 w 6837827"/>
              <a:gd name="connsiteY1085" fmla="*/ 51300 h 1153348"/>
              <a:gd name="connsiteX1086" fmla="*/ 6355268 w 6837827"/>
              <a:gd name="connsiteY1086" fmla="*/ 70200 h 1153348"/>
              <a:gd name="connsiteX1087" fmla="*/ 6351909 w 6837827"/>
              <a:gd name="connsiteY1087" fmla="*/ 106318 h 1153348"/>
              <a:gd name="connsiteX1088" fmla="*/ 6347289 w 6837827"/>
              <a:gd name="connsiteY1088" fmla="*/ 142437 h 1153348"/>
              <a:gd name="connsiteX1089" fmla="*/ 6344349 w 6837827"/>
              <a:gd name="connsiteY1089" fmla="*/ 205854 h 1153348"/>
              <a:gd name="connsiteX1090" fmla="*/ 6338469 w 6837827"/>
              <a:gd name="connsiteY1090" fmla="*/ 271371 h 1153348"/>
              <a:gd name="connsiteX1091" fmla="*/ 6334269 w 6837827"/>
              <a:gd name="connsiteY1091" fmla="*/ 337308 h 1153348"/>
              <a:gd name="connsiteX1092" fmla="*/ 6336369 w 6837827"/>
              <a:gd name="connsiteY1092" fmla="*/ 401565 h 1153348"/>
              <a:gd name="connsiteX1093" fmla="*/ 6337629 w 6837827"/>
              <a:gd name="connsiteY1093" fmla="*/ 431804 h 1153348"/>
              <a:gd name="connsiteX1094" fmla="*/ 6336789 w 6837827"/>
              <a:gd name="connsiteY1094" fmla="*/ 453223 h 1153348"/>
              <a:gd name="connsiteX1095" fmla="*/ 6335949 w 6837827"/>
              <a:gd name="connsiteY1095" fmla="*/ 470442 h 1153348"/>
              <a:gd name="connsiteX1096" fmla="*/ 6337629 w 6837827"/>
              <a:gd name="connsiteY1096" fmla="*/ 487662 h 1153348"/>
              <a:gd name="connsiteX1097" fmla="*/ 6348969 w 6837827"/>
              <a:gd name="connsiteY1097" fmla="*/ 502781 h 1153348"/>
              <a:gd name="connsiteX1098" fmla="*/ 6369128 w 6837827"/>
              <a:gd name="connsiteY1098" fmla="*/ 509501 h 1153348"/>
              <a:gd name="connsiteX1099" fmla="*/ 6390547 w 6837827"/>
              <a:gd name="connsiteY1099" fmla="*/ 507401 h 1153348"/>
              <a:gd name="connsiteX1100" fmla="*/ 6406926 w 6837827"/>
              <a:gd name="connsiteY1100" fmla="*/ 496481 h 1153348"/>
              <a:gd name="connsiteX1101" fmla="*/ 6411126 w 6837827"/>
              <a:gd name="connsiteY1101" fmla="*/ 482202 h 1153348"/>
              <a:gd name="connsiteX1102" fmla="*/ 6412806 w 6837827"/>
              <a:gd name="connsiteY1102" fmla="*/ 458683 h 1153348"/>
              <a:gd name="connsiteX1103" fmla="*/ 6412806 w 6837827"/>
              <a:gd name="connsiteY1103" fmla="*/ 434324 h 1153348"/>
              <a:gd name="connsiteX1104" fmla="*/ 6411966 w 6837827"/>
              <a:gd name="connsiteY1104" fmla="*/ 417105 h 1153348"/>
              <a:gd name="connsiteX1105" fmla="*/ 6409866 w 6837827"/>
              <a:gd name="connsiteY1105" fmla="*/ 396946 h 1153348"/>
              <a:gd name="connsiteX1106" fmla="*/ 6408606 w 6837827"/>
              <a:gd name="connsiteY1106" fmla="*/ 380986 h 1153348"/>
              <a:gd name="connsiteX1107" fmla="*/ 6408186 w 6837827"/>
              <a:gd name="connsiteY1107" fmla="*/ 363767 h 1153348"/>
              <a:gd name="connsiteX1108" fmla="*/ 6409446 w 6837827"/>
              <a:gd name="connsiteY1108" fmla="*/ 340248 h 1153348"/>
              <a:gd name="connsiteX1109" fmla="*/ 6409446 w 6837827"/>
              <a:gd name="connsiteY1109" fmla="*/ 319669 h 1153348"/>
              <a:gd name="connsiteX1110" fmla="*/ 6408606 w 6837827"/>
              <a:gd name="connsiteY1110" fmla="*/ 297830 h 1153348"/>
              <a:gd name="connsiteX1111" fmla="*/ 6409866 w 6837827"/>
              <a:gd name="connsiteY1111" fmla="*/ 271371 h 1153348"/>
              <a:gd name="connsiteX1112" fmla="*/ 6417006 w 6837827"/>
              <a:gd name="connsiteY1112" fmla="*/ 236512 h 1153348"/>
              <a:gd name="connsiteX1113" fmla="*/ 6433385 w 6837827"/>
              <a:gd name="connsiteY1113" fmla="*/ 242392 h 1153348"/>
              <a:gd name="connsiteX1114" fmla="*/ 6423726 w 6837827"/>
              <a:gd name="connsiteY1114" fmla="*/ 98758 h 1153348"/>
              <a:gd name="connsiteX1115" fmla="*/ 6434225 w 6837827"/>
              <a:gd name="connsiteY1115" fmla="*/ 92459 h 1153348"/>
              <a:gd name="connsiteX1116" fmla="*/ 6446405 w 6837827"/>
              <a:gd name="connsiteY1116" fmla="*/ 94978 h 1153348"/>
              <a:gd name="connsiteX1117" fmla="*/ 6453964 w 6837827"/>
              <a:gd name="connsiteY1117" fmla="*/ 105478 h 1153348"/>
              <a:gd name="connsiteX1118" fmla="*/ 6454804 w 6837827"/>
              <a:gd name="connsiteY1118" fmla="*/ 118077 h 1153348"/>
              <a:gd name="connsiteX1119" fmla="*/ 6450605 w 6837827"/>
              <a:gd name="connsiteY1119" fmla="*/ 130677 h 1153348"/>
              <a:gd name="connsiteX1120" fmla="*/ 6442625 w 6837827"/>
              <a:gd name="connsiteY1120" fmla="*/ 141176 h 1153348"/>
              <a:gd name="connsiteX1121" fmla="*/ 6438425 w 6837827"/>
              <a:gd name="connsiteY1121" fmla="*/ 144116 h 1153348"/>
              <a:gd name="connsiteX1122" fmla="*/ 6430865 w 6837827"/>
              <a:gd name="connsiteY1122" fmla="*/ 148736 h 1153348"/>
              <a:gd name="connsiteX1123" fmla="*/ 6423726 w 6837827"/>
              <a:gd name="connsiteY1123" fmla="*/ 152096 h 1153348"/>
              <a:gd name="connsiteX1124" fmla="*/ 6419946 w 6837827"/>
              <a:gd name="connsiteY1124" fmla="*/ 151676 h 1153348"/>
              <a:gd name="connsiteX1125" fmla="*/ 6418266 w 6837827"/>
              <a:gd name="connsiteY1125" fmla="*/ 139497 h 1153348"/>
              <a:gd name="connsiteX1126" fmla="*/ 6418266 w 6837827"/>
              <a:gd name="connsiteY1126" fmla="*/ 123537 h 1153348"/>
              <a:gd name="connsiteX1127" fmla="*/ 6419946 w 6837827"/>
              <a:gd name="connsiteY1127" fmla="*/ 107998 h 1153348"/>
              <a:gd name="connsiteX1128" fmla="*/ 6423306 w 6837827"/>
              <a:gd name="connsiteY1128" fmla="*/ 96239 h 1153348"/>
              <a:gd name="connsiteX1129" fmla="*/ 6423726 w 6837827"/>
              <a:gd name="connsiteY1129" fmla="*/ 98758 h 1153348"/>
              <a:gd name="connsiteX1130" fmla="*/ 6664795 w 6837827"/>
              <a:gd name="connsiteY1130" fmla="*/ 97498 h 1153348"/>
              <a:gd name="connsiteX1131" fmla="*/ 6662275 w 6837827"/>
              <a:gd name="connsiteY1131" fmla="*/ 145376 h 1153348"/>
              <a:gd name="connsiteX1132" fmla="*/ 6678235 w 6837827"/>
              <a:gd name="connsiteY1132" fmla="*/ 196194 h 1153348"/>
              <a:gd name="connsiteX1133" fmla="*/ 6698394 w 6837827"/>
              <a:gd name="connsiteY1133" fmla="*/ 254992 h 1153348"/>
              <a:gd name="connsiteX1134" fmla="*/ 6702594 w 6837827"/>
              <a:gd name="connsiteY1134" fmla="*/ 268011 h 1153348"/>
              <a:gd name="connsiteX1135" fmla="*/ 6708893 w 6837827"/>
              <a:gd name="connsiteY1135" fmla="*/ 287750 h 1153348"/>
              <a:gd name="connsiteX1136" fmla="*/ 6714773 w 6837827"/>
              <a:gd name="connsiteY1136" fmla="*/ 311269 h 1153348"/>
              <a:gd name="connsiteX1137" fmla="*/ 6717713 w 6837827"/>
              <a:gd name="connsiteY1137" fmla="*/ 333948 h 1153348"/>
              <a:gd name="connsiteX1138" fmla="*/ 6715193 w 6837827"/>
              <a:gd name="connsiteY1138" fmla="*/ 352428 h 1153348"/>
              <a:gd name="connsiteX1139" fmla="*/ 6704694 w 6837827"/>
              <a:gd name="connsiteY1139" fmla="*/ 362927 h 1153348"/>
              <a:gd name="connsiteX1140" fmla="*/ 6695034 w 6837827"/>
              <a:gd name="connsiteY1140" fmla="*/ 362927 h 1153348"/>
              <a:gd name="connsiteX1141" fmla="*/ 6686634 w 6837827"/>
              <a:gd name="connsiteY1141" fmla="*/ 357467 h 1153348"/>
              <a:gd name="connsiteX1142" fmla="*/ 6679074 w 6837827"/>
              <a:gd name="connsiteY1142" fmla="*/ 349488 h 1153348"/>
              <a:gd name="connsiteX1143" fmla="*/ 6672775 w 6837827"/>
              <a:gd name="connsiteY1143" fmla="*/ 342348 h 1153348"/>
              <a:gd name="connsiteX1144" fmla="*/ 6654716 w 6837827"/>
              <a:gd name="connsiteY1144" fmla="*/ 332688 h 1153348"/>
              <a:gd name="connsiteX1145" fmla="*/ 6638756 w 6837827"/>
              <a:gd name="connsiteY1145" fmla="*/ 339408 h 1153348"/>
              <a:gd name="connsiteX1146" fmla="*/ 6627837 w 6837827"/>
              <a:gd name="connsiteY1146" fmla="*/ 356627 h 1153348"/>
              <a:gd name="connsiteX1147" fmla="*/ 6624897 w 6837827"/>
              <a:gd name="connsiteY1147" fmla="*/ 377626 h 1153348"/>
              <a:gd name="connsiteX1148" fmla="*/ 6631197 w 6837827"/>
              <a:gd name="connsiteY1148" fmla="*/ 401145 h 1153348"/>
              <a:gd name="connsiteX1149" fmla="*/ 6644636 w 6837827"/>
              <a:gd name="connsiteY1149" fmla="*/ 423404 h 1153348"/>
              <a:gd name="connsiteX1150" fmla="*/ 6664375 w 6837827"/>
              <a:gd name="connsiteY1150" fmla="*/ 439784 h 1153348"/>
              <a:gd name="connsiteX1151" fmla="*/ 6689154 w 6837827"/>
              <a:gd name="connsiteY1151" fmla="*/ 445663 h 1153348"/>
              <a:gd name="connsiteX1152" fmla="*/ 6744592 w 6837827"/>
              <a:gd name="connsiteY1152" fmla="*/ 429284 h 1153348"/>
              <a:gd name="connsiteX1153" fmla="*/ 6776510 w 6837827"/>
              <a:gd name="connsiteY1153" fmla="*/ 391906 h 1153348"/>
              <a:gd name="connsiteX1154" fmla="*/ 6788270 w 6837827"/>
              <a:gd name="connsiteY1154" fmla="*/ 344028 h 1153348"/>
              <a:gd name="connsiteX1155" fmla="*/ 6783230 w 6837827"/>
              <a:gd name="connsiteY1155" fmla="*/ 295310 h 1153348"/>
              <a:gd name="connsiteX1156" fmla="*/ 6770631 w 6837827"/>
              <a:gd name="connsiteY1156" fmla="*/ 260031 h 1153348"/>
              <a:gd name="connsiteX1157" fmla="*/ 6754671 w 6837827"/>
              <a:gd name="connsiteY1157" fmla="*/ 224333 h 1153348"/>
              <a:gd name="connsiteX1158" fmla="*/ 6740812 w 6837827"/>
              <a:gd name="connsiteY1158" fmla="*/ 188214 h 1153348"/>
              <a:gd name="connsiteX1159" fmla="*/ 6734092 w 6837827"/>
              <a:gd name="connsiteY1159" fmla="*/ 152096 h 1153348"/>
              <a:gd name="connsiteX1160" fmla="*/ 6737872 w 6837827"/>
              <a:gd name="connsiteY1160" fmla="*/ 113878 h 1153348"/>
              <a:gd name="connsiteX1161" fmla="*/ 6752571 w 6837827"/>
              <a:gd name="connsiteY1161" fmla="*/ 95818 h 1153348"/>
              <a:gd name="connsiteX1162" fmla="*/ 6777770 w 6837827"/>
              <a:gd name="connsiteY1162" fmla="*/ 86999 h 1153348"/>
              <a:gd name="connsiteX1163" fmla="*/ 6813049 w 6837827"/>
              <a:gd name="connsiteY1163" fmla="*/ 76499 h 1153348"/>
              <a:gd name="connsiteX1164" fmla="*/ 6828588 w 6837827"/>
              <a:gd name="connsiteY1164" fmla="*/ 68520 h 1153348"/>
              <a:gd name="connsiteX1165" fmla="*/ 6837828 w 6837827"/>
              <a:gd name="connsiteY1165" fmla="*/ 53400 h 1153348"/>
              <a:gd name="connsiteX1166" fmla="*/ 6832788 w 6837827"/>
              <a:gd name="connsiteY1166" fmla="*/ 36181 h 1153348"/>
              <a:gd name="connsiteX1167" fmla="*/ 6824808 w 6837827"/>
              <a:gd name="connsiteY1167" fmla="*/ 23162 h 1153348"/>
              <a:gd name="connsiteX1168" fmla="*/ 6811369 w 6837827"/>
              <a:gd name="connsiteY1168" fmla="*/ 15602 h 1153348"/>
              <a:gd name="connsiteX1169" fmla="*/ 6790790 w 6837827"/>
              <a:gd name="connsiteY1169" fmla="*/ 14342 h 1153348"/>
              <a:gd name="connsiteX1170" fmla="*/ 6767271 w 6837827"/>
              <a:gd name="connsiteY1170" fmla="*/ 18122 h 1153348"/>
              <a:gd name="connsiteX1171" fmla="*/ 6742492 w 6837827"/>
              <a:gd name="connsiteY1171" fmla="*/ 24421 h 1153348"/>
              <a:gd name="connsiteX1172" fmla="*/ 6718973 w 6837827"/>
              <a:gd name="connsiteY1172" fmla="*/ 34081 h 1153348"/>
              <a:gd name="connsiteX1173" fmla="*/ 6700073 w 6837827"/>
              <a:gd name="connsiteY1173" fmla="*/ 47941 h 1153348"/>
              <a:gd name="connsiteX1174" fmla="*/ 6664795 w 6837827"/>
              <a:gd name="connsiteY1174" fmla="*/ 97498 h 115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</a:cxnLst>
            <a:rect l="l" t="t" r="r" b="b"/>
            <a:pathLst>
              <a:path w="6837827" h="1153348">
                <a:moveTo>
                  <a:pt x="432263" y="777449"/>
                </a:moveTo>
                <a:cubicBezTo>
                  <a:pt x="425963" y="774089"/>
                  <a:pt x="419243" y="772409"/>
                  <a:pt x="411264" y="771569"/>
                </a:cubicBezTo>
                <a:cubicBezTo>
                  <a:pt x="403284" y="770729"/>
                  <a:pt x="394884" y="770729"/>
                  <a:pt x="386065" y="771569"/>
                </a:cubicBezTo>
                <a:cubicBezTo>
                  <a:pt x="377245" y="772409"/>
                  <a:pt x="368426" y="773669"/>
                  <a:pt x="360026" y="774929"/>
                </a:cubicBezTo>
                <a:cubicBezTo>
                  <a:pt x="351626" y="776189"/>
                  <a:pt x="343647" y="777869"/>
                  <a:pt x="336507" y="779129"/>
                </a:cubicBezTo>
                <a:cubicBezTo>
                  <a:pt x="329367" y="780809"/>
                  <a:pt x="323068" y="781649"/>
                  <a:pt x="318028" y="782069"/>
                </a:cubicBezTo>
                <a:cubicBezTo>
                  <a:pt x="317608" y="776609"/>
                  <a:pt x="318868" y="769470"/>
                  <a:pt x="320548" y="761070"/>
                </a:cubicBezTo>
                <a:cubicBezTo>
                  <a:pt x="322648" y="753090"/>
                  <a:pt x="325167" y="744271"/>
                  <a:pt x="327687" y="734611"/>
                </a:cubicBezTo>
                <a:cubicBezTo>
                  <a:pt x="330207" y="725371"/>
                  <a:pt x="333147" y="715712"/>
                  <a:pt x="335667" y="706472"/>
                </a:cubicBezTo>
                <a:cubicBezTo>
                  <a:pt x="338187" y="697233"/>
                  <a:pt x="340287" y="687993"/>
                  <a:pt x="341127" y="679593"/>
                </a:cubicBezTo>
                <a:cubicBezTo>
                  <a:pt x="342387" y="671194"/>
                  <a:pt x="342387" y="663214"/>
                  <a:pt x="341547" y="656494"/>
                </a:cubicBezTo>
                <a:cubicBezTo>
                  <a:pt x="340707" y="649775"/>
                  <a:pt x="338187" y="644315"/>
                  <a:pt x="333987" y="640955"/>
                </a:cubicBezTo>
                <a:cubicBezTo>
                  <a:pt x="328527" y="636335"/>
                  <a:pt x="321388" y="633815"/>
                  <a:pt x="312988" y="632555"/>
                </a:cubicBezTo>
                <a:cubicBezTo>
                  <a:pt x="304588" y="631295"/>
                  <a:pt x="297029" y="631716"/>
                  <a:pt x="290729" y="633395"/>
                </a:cubicBezTo>
                <a:cubicBezTo>
                  <a:pt x="285269" y="635075"/>
                  <a:pt x="281489" y="638435"/>
                  <a:pt x="278549" y="643055"/>
                </a:cubicBezTo>
                <a:cubicBezTo>
                  <a:pt x="275610" y="647675"/>
                  <a:pt x="273930" y="653135"/>
                  <a:pt x="272250" y="659014"/>
                </a:cubicBezTo>
                <a:cubicBezTo>
                  <a:pt x="270990" y="664894"/>
                  <a:pt x="269730" y="670774"/>
                  <a:pt x="268890" y="676653"/>
                </a:cubicBezTo>
                <a:cubicBezTo>
                  <a:pt x="268050" y="682533"/>
                  <a:pt x="267210" y="687573"/>
                  <a:pt x="265950" y="691773"/>
                </a:cubicBezTo>
                <a:cubicBezTo>
                  <a:pt x="259650" y="711092"/>
                  <a:pt x="254610" y="728731"/>
                  <a:pt x="251251" y="745531"/>
                </a:cubicBezTo>
                <a:cubicBezTo>
                  <a:pt x="247891" y="762330"/>
                  <a:pt x="245371" y="780389"/>
                  <a:pt x="244111" y="800128"/>
                </a:cubicBezTo>
                <a:cubicBezTo>
                  <a:pt x="230251" y="802228"/>
                  <a:pt x="217232" y="805168"/>
                  <a:pt x="205053" y="808948"/>
                </a:cubicBezTo>
                <a:cubicBezTo>
                  <a:pt x="192453" y="812728"/>
                  <a:pt x="179434" y="815668"/>
                  <a:pt x="165994" y="818187"/>
                </a:cubicBezTo>
                <a:cubicBezTo>
                  <a:pt x="165154" y="806848"/>
                  <a:pt x="165994" y="796348"/>
                  <a:pt x="168514" y="786269"/>
                </a:cubicBezTo>
                <a:cubicBezTo>
                  <a:pt x="171034" y="776189"/>
                  <a:pt x="173554" y="766110"/>
                  <a:pt x="176494" y="756030"/>
                </a:cubicBezTo>
                <a:cubicBezTo>
                  <a:pt x="179434" y="745950"/>
                  <a:pt x="181954" y="735871"/>
                  <a:pt x="184053" y="725371"/>
                </a:cubicBezTo>
                <a:cubicBezTo>
                  <a:pt x="186153" y="714872"/>
                  <a:pt x="186573" y="703532"/>
                  <a:pt x="185313" y="691773"/>
                </a:cubicBezTo>
                <a:cubicBezTo>
                  <a:pt x="184473" y="685473"/>
                  <a:pt x="182374" y="679593"/>
                  <a:pt x="179014" y="675394"/>
                </a:cubicBezTo>
                <a:cubicBezTo>
                  <a:pt x="175234" y="670774"/>
                  <a:pt x="171454" y="667834"/>
                  <a:pt x="166414" y="666154"/>
                </a:cubicBezTo>
                <a:cubicBezTo>
                  <a:pt x="161794" y="664474"/>
                  <a:pt x="156755" y="664054"/>
                  <a:pt x="151295" y="664894"/>
                </a:cubicBezTo>
                <a:cubicBezTo>
                  <a:pt x="146255" y="666154"/>
                  <a:pt x="141215" y="669094"/>
                  <a:pt x="137016" y="674134"/>
                </a:cubicBezTo>
                <a:cubicBezTo>
                  <a:pt x="133236" y="678753"/>
                  <a:pt x="130716" y="684213"/>
                  <a:pt x="129036" y="690933"/>
                </a:cubicBezTo>
                <a:cubicBezTo>
                  <a:pt x="127776" y="697652"/>
                  <a:pt x="125676" y="703532"/>
                  <a:pt x="123156" y="708992"/>
                </a:cubicBezTo>
                <a:cubicBezTo>
                  <a:pt x="118116" y="717812"/>
                  <a:pt x="114336" y="727891"/>
                  <a:pt x="112237" y="738391"/>
                </a:cubicBezTo>
                <a:cubicBezTo>
                  <a:pt x="110137" y="749310"/>
                  <a:pt x="108457" y="760230"/>
                  <a:pt x="107197" y="770729"/>
                </a:cubicBezTo>
                <a:cubicBezTo>
                  <a:pt x="105937" y="781649"/>
                  <a:pt x="104677" y="792569"/>
                  <a:pt x="103417" y="803068"/>
                </a:cubicBezTo>
                <a:cubicBezTo>
                  <a:pt x="102157" y="813988"/>
                  <a:pt x="99217" y="823647"/>
                  <a:pt x="95437" y="832467"/>
                </a:cubicBezTo>
                <a:cubicBezTo>
                  <a:pt x="88718" y="833307"/>
                  <a:pt x="81998" y="834567"/>
                  <a:pt x="74858" y="835407"/>
                </a:cubicBezTo>
                <a:cubicBezTo>
                  <a:pt x="68138" y="836247"/>
                  <a:pt x="60999" y="837507"/>
                  <a:pt x="53859" y="838767"/>
                </a:cubicBezTo>
                <a:cubicBezTo>
                  <a:pt x="44619" y="840026"/>
                  <a:pt x="37060" y="842546"/>
                  <a:pt x="32020" y="845906"/>
                </a:cubicBezTo>
                <a:cubicBezTo>
                  <a:pt x="26560" y="849266"/>
                  <a:pt x="23200" y="853466"/>
                  <a:pt x="21100" y="858506"/>
                </a:cubicBezTo>
                <a:cubicBezTo>
                  <a:pt x="19421" y="863545"/>
                  <a:pt x="19001" y="868585"/>
                  <a:pt x="19841" y="874465"/>
                </a:cubicBezTo>
                <a:cubicBezTo>
                  <a:pt x="21100" y="879925"/>
                  <a:pt x="23200" y="885805"/>
                  <a:pt x="26980" y="891684"/>
                </a:cubicBezTo>
                <a:cubicBezTo>
                  <a:pt x="29500" y="896724"/>
                  <a:pt x="33280" y="900084"/>
                  <a:pt x="38320" y="901764"/>
                </a:cubicBezTo>
                <a:cubicBezTo>
                  <a:pt x="43360" y="903864"/>
                  <a:pt x="48399" y="905124"/>
                  <a:pt x="54279" y="905544"/>
                </a:cubicBezTo>
                <a:cubicBezTo>
                  <a:pt x="59739" y="905964"/>
                  <a:pt x="65619" y="905964"/>
                  <a:pt x="71078" y="905544"/>
                </a:cubicBezTo>
                <a:cubicBezTo>
                  <a:pt x="76538" y="905124"/>
                  <a:pt x="81578" y="904284"/>
                  <a:pt x="85358" y="903864"/>
                </a:cubicBezTo>
                <a:cubicBezTo>
                  <a:pt x="81998" y="918983"/>
                  <a:pt x="79058" y="933263"/>
                  <a:pt x="76538" y="947542"/>
                </a:cubicBezTo>
                <a:cubicBezTo>
                  <a:pt x="74018" y="961821"/>
                  <a:pt x="71498" y="976101"/>
                  <a:pt x="69398" y="989960"/>
                </a:cubicBezTo>
                <a:cubicBezTo>
                  <a:pt x="62259" y="992060"/>
                  <a:pt x="55539" y="994160"/>
                  <a:pt x="49659" y="995420"/>
                </a:cubicBezTo>
                <a:cubicBezTo>
                  <a:pt x="43360" y="997100"/>
                  <a:pt x="36640" y="998780"/>
                  <a:pt x="29920" y="1000880"/>
                </a:cubicBezTo>
                <a:cubicBezTo>
                  <a:pt x="24880" y="1002560"/>
                  <a:pt x="20261" y="1004659"/>
                  <a:pt x="16061" y="1007179"/>
                </a:cubicBezTo>
                <a:cubicBezTo>
                  <a:pt x="11861" y="1009699"/>
                  <a:pt x="8081" y="1012639"/>
                  <a:pt x="5141" y="1016419"/>
                </a:cubicBezTo>
                <a:cubicBezTo>
                  <a:pt x="2201" y="1020199"/>
                  <a:pt x="521" y="1023979"/>
                  <a:pt x="101" y="1028598"/>
                </a:cubicBezTo>
                <a:cubicBezTo>
                  <a:pt x="-319" y="1033218"/>
                  <a:pt x="521" y="1038258"/>
                  <a:pt x="3461" y="1043718"/>
                </a:cubicBezTo>
                <a:cubicBezTo>
                  <a:pt x="9761" y="1055057"/>
                  <a:pt x="17741" y="1062197"/>
                  <a:pt x="27820" y="1064717"/>
                </a:cubicBezTo>
                <a:cubicBezTo>
                  <a:pt x="37900" y="1067237"/>
                  <a:pt x="48819" y="1068077"/>
                  <a:pt x="60999" y="1066397"/>
                </a:cubicBezTo>
                <a:cubicBezTo>
                  <a:pt x="59319" y="1076056"/>
                  <a:pt x="57639" y="1086976"/>
                  <a:pt x="56379" y="1099155"/>
                </a:cubicBezTo>
                <a:cubicBezTo>
                  <a:pt x="55119" y="1111335"/>
                  <a:pt x="55959" y="1121834"/>
                  <a:pt x="58479" y="1131074"/>
                </a:cubicBezTo>
                <a:cubicBezTo>
                  <a:pt x="63939" y="1141574"/>
                  <a:pt x="71078" y="1148293"/>
                  <a:pt x="79898" y="1151653"/>
                </a:cubicBezTo>
                <a:cubicBezTo>
                  <a:pt x="88718" y="1155013"/>
                  <a:pt x="97957" y="1153333"/>
                  <a:pt x="107617" y="1147033"/>
                </a:cubicBezTo>
                <a:cubicBezTo>
                  <a:pt x="113497" y="1143253"/>
                  <a:pt x="117696" y="1137374"/>
                  <a:pt x="119796" y="1130234"/>
                </a:cubicBezTo>
                <a:cubicBezTo>
                  <a:pt x="122316" y="1122675"/>
                  <a:pt x="123996" y="1115115"/>
                  <a:pt x="124836" y="1106715"/>
                </a:cubicBezTo>
                <a:cubicBezTo>
                  <a:pt x="125676" y="1098315"/>
                  <a:pt x="126096" y="1089916"/>
                  <a:pt x="126096" y="1081516"/>
                </a:cubicBezTo>
                <a:cubicBezTo>
                  <a:pt x="126096" y="1073116"/>
                  <a:pt x="126096" y="1065977"/>
                  <a:pt x="126096" y="1060097"/>
                </a:cubicBezTo>
                <a:cubicBezTo>
                  <a:pt x="139535" y="1056737"/>
                  <a:pt x="152975" y="1053377"/>
                  <a:pt x="166414" y="1049598"/>
                </a:cubicBezTo>
                <a:cubicBezTo>
                  <a:pt x="179854" y="1045818"/>
                  <a:pt x="193293" y="1042878"/>
                  <a:pt x="207152" y="1041198"/>
                </a:cubicBezTo>
                <a:cubicBezTo>
                  <a:pt x="205893" y="1045818"/>
                  <a:pt x="205473" y="1051277"/>
                  <a:pt x="205473" y="1057157"/>
                </a:cubicBezTo>
                <a:cubicBezTo>
                  <a:pt x="205473" y="1063457"/>
                  <a:pt x="205893" y="1069757"/>
                  <a:pt x="206733" y="1076056"/>
                </a:cubicBezTo>
                <a:cubicBezTo>
                  <a:pt x="207572" y="1082356"/>
                  <a:pt x="208412" y="1089076"/>
                  <a:pt x="209672" y="1095375"/>
                </a:cubicBezTo>
                <a:cubicBezTo>
                  <a:pt x="210512" y="1101675"/>
                  <a:pt x="211352" y="1107135"/>
                  <a:pt x="212612" y="1111755"/>
                </a:cubicBezTo>
                <a:cubicBezTo>
                  <a:pt x="213872" y="1122254"/>
                  <a:pt x="218072" y="1129394"/>
                  <a:pt x="224792" y="1132754"/>
                </a:cubicBezTo>
                <a:cubicBezTo>
                  <a:pt x="231511" y="1136534"/>
                  <a:pt x="238651" y="1137794"/>
                  <a:pt x="246211" y="1136954"/>
                </a:cubicBezTo>
                <a:cubicBezTo>
                  <a:pt x="253771" y="1136114"/>
                  <a:pt x="261330" y="1133594"/>
                  <a:pt x="268050" y="1129814"/>
                </a:cubicBezTo>
                <a:cubicBezTo>
                  <a:pt x="274770" y="1125614"/>
                  <a:pt x="279389" y="1121414"/>
                  <a:pt x="281489" y="1116375"/>
                </a:cubicBezTo>
                <a:cubicBezTo>
                  <a:pt x="284009" y="1109655"/>
                  <a:pt x="284849" y="1102095"/>
                  <a:pt x="284429" y="1094116"/>
                </a:cubicBezTo>
                <a:cubicBezTo>
                  <a:pt x="283589" y="1086136"/>
                  <a:pt x="282749" y="1078156"/>
                  <a:pt x="281069" y="1069757"/>
                </a:cubicBezTo>
                <a:cubicBezTo>
                  <a:pt x="279389" y="1061357"/>
                  <a:pt x="278129" y="1052957"/>
                  <a:pt x="276450" y="1045398"/>
                </a:cubicBezTo>
                <a:cubicBezTo>
                  <a:pt x="275190" y="1037418"/>
                  <a:pt x="274770" y="1030278"/>
                  <a:pt x="274770" y="1023979"/>
                </a:cubicBezTo>
                <a:cubicBezTo>
                  <a:pt x="281069" y="1020199"/>
                  <a:pt x="288209" y="1017679"/>
                  <a:pt x="297029" y="1015999"/>
                </a:cubicBezTo>
                <a:cubicBezTo>
                  <a:pt x="305848" y="1013899"/>
                  <a:pt x="314248" y="1012219"/>
                  <a:pt x="323068" y="1010539"/>
                </a:cubicBezTo>
                <a:cubicBezTo>
                  <a:pt x="331887" y="1008859"/>
                  <a:pt x="340287" y="1006759"/>
                  <a:pt x="348266" y="1004659"/>
                </a:cubicBezTo>
                <a:cubicBezTo>
                  <a:pt x="356246" y="1002560"/>
                  <a:pt x="362546" y="999200"/>
                  <a:pt x="367586" y="994580"/>
                </a:cubicBezTo>
                <a:cubicBezTo>
                  <a:pt x="370526" y="992060"/>
                  <a:pt x="373045" y="988700"/>
                  <a:pt x="375145" y="984080"/>
                </a:cubicBezTo>
                <a:cubicBezTo>
                  <a:pt x="376825" y="979461"/>
                  <a:pt x="378085" y="974841"/>
                  <a:pt x="378085" y="969801"/>
                </a:cubicBezTo>
                <a:cubicBezTo>
                  <a:pt x="378085" y="964761"/>
                  <a:pt x="377665" y="960141"/>
                  <a:pt x="376405" y="955522"/>
                </a:cubicBezTo>
                <a:cubicBezTo>
                  <a:pt x="375145" y="950902"/>
                  <a:pt x="372625" y="947122"/>
                  <a:pt x="369266" y="944182"/>
                </a:cubicBezTo>
                <a:cubicBezTo>
                  <a:pt x="364646" y="939982"/>
                  <a:pt x="358346" y="937042"/>
                  <a:pt x="350786" y="935362"/>
                </a:cubicBezTo>
                <a:cubicBezTo>
                  <a:pt x="343227" y="933682"/>
                  <a:pt x="335667" y="932842"/>
                  <a:pt x="327687" y="932842"/>
                </a:cubicBezTo>
                <a:cubicBezTo>
                  <a:pt x="319708" y="932842"/>
                  <a:pt x="311728" y="933263"/>
                  <a:pt x="304168" y="934522"/>
                </a:cubicBezTo>
                <a:cubicBezTo>
                  <a:pt x="296609" y="935782"/>
                  <a:pt x="290309" y="936622"/>
                  <a:pt x="285269" y="937462"/>
                </a:cubicBezTo>
                <a:cubicBezTo>
                  <a:pt x="286109" y="921503"/>
                  <a:pt x="287789" y="907224"/>
                  <a:pt x="290309" y="895464"/>
                </a:cubicBezTo>
                <a:cubicBezTo>
                  <a:pt x="292829" y="883705"/>
                  <a:pt x="295349" y="871945"/>
                  <a:pt x="298289" y="860186"/>
                </a:cubicBezTo>
                <a:cubicBezTo>
                  <a:pt x="318448" y="855146"/>
                  <a:pt x="338187" y="850526"/>
                  <a:pt x="357506" y="845906"/>
                </a:cubicBezTo>
                <a:cubicBezTo>
                  <a:pt x="376825" y="841286"/>
                  <a:pt x="396984" y="837927"/>
                  <a:pt x="417143" y="835827"/>
                </a:cubicBezTo>
                <a:cubicBezTo>
                  <a:pt x="421763" y="835407"/>
                  <a:pt x="426383" y="833307"/>
                  <a:pt x="430583" y="829947"/>
                </a:cubicBezTo>
                <a:cubicBezTo>
                  <a:pt x="434783" y="826587"/>
                  <a:pt x="438143" y="822807"/>
                  <a:pt x="441082" y="818187"/>
                </a:cubicBezTo>
                <a:cubicBezTo>
                  <a:pt x="444022" y="813568"/>
                  <a:pt x="445702" y="808948"/>
                  <a:pt x="446962" y="804328"/>
                </a:cubicBezTo>
                <a:cubicBezTo>
                  <a:pt x="448222" y="799288"/>
                  <a:pt x="447802" y="795088"/>
                  <a:pt x="445702" y="791309"/>
                </a:cubicBezTo>
                <a:cubicBezTo>
                  <a:pt x="443182" y="785849"/>
                  <a:pt x="438563" y="780809"/>
                  <a:pt x="432263" y="777449"/>
                </a:cubicBezTo>
                <a:moveTo>
                  <a:pt x="142055" y="963081"/>
                </a:moveTo>
                <a:cubicBezTo>
                  <a:pt x="143735" y="951322"/>
                  <a:pt x="145415" y="939142"/>
                  <a:pt x="146675" y="926963"/>
                </a:cubicBezTo>
                <a:cubicBezTo>
                  <a:pt x="147935" y="914783"/>
                  <a:pt x="149615" y="903444"/>
                  <a:pt x="151295" y="893364"/>
                </a:cubicBezTo>
                <a:cubicBezTo>
                  <a:pt x="164314" y="891684"/>
                  <a:pt x="176914" y="889584"/>
                  <a:pt x="189093" y="887905"/>
                </a:cubicBezTo>
                <a:cubicBezTo>
                  <a:pt x="201273" y="885805"/>
                  <a:pt x="213872" y="882865"/>
                  <a:pt x="226052" y="879505"/>
                </a:cubicBezTo>
                <a:cubicBezTo>
                  <a:pt x="223112" y="887905"/>
                  <a:pt x="220592" y="894624"/>
                  <a:pt x="218912" y="900504"/>
                </a:cubicBezTo>
                <a:cubicBezTo>
                  <a:pt x="217232" y="905964"/>
                  <a:pt x="215972" y="911423"/>
                  <a:pt x="215552" y="916043"/>
                </a:cubicBezTo>
                <a:cubicBezTo>
                  <a:pt x="214712" y="920663"/>
                  <a:pt x="214292" y="925703"/>
                  <a:pt x="213872" y="931163"/>
                </a:cubicBezTo>
                <a:cubicBezTo>
                  <a:pt x="213452" y="936202"/>
                  <a:pt x="213032" y="942502"/>
                  <a:pt x="212192" y="949222"/>
                </a:cubicBezTo>
                <a:cubicBezTo>
                  <a:pt x="199173" y="952162"/>
                  <a:pt x="187413" y="955102"/>
                  <a:pt x="175654" y="957202"/>
                </a:cubicBezTo>
                <a:cubicBezTo>
                  <a:pt x="164314" y="959721"/>
                  <a:pt x="152975" y="962241"/>
                  <a:pt x="141635" y="965181"/>
                </a:cubicBezTo>
                <a:cubicBezTo>
                  <a:pt x="142055" y="964761"/>
                  <a:pt x="142055" y="963921"/>
                  <a:pt x="142055" y="963081"/>
                </a:cubicBezTo>
                <a:moveTo>
                  <a:pt x="674172" y="656914"/>
                </a:moveTo>
                <a:cubicBezTo>
                  <a:pt x="673332" y="648515"/>
                  <a:pt x="671233" y="640955"/>
                  <a:pt x="667873" y="634235"/>
                </a:cubicBezTo>
                <a:cubicBezTo>
                  <a:pt x="664513" y="627516"/>
                  <a:pt x="659473" y="621636"/>
                  <a:pt x="653173" y="617016"/>
                </a:cubicBezTo>
                <a:cubicBezTo>
                  <a:pt x="646874" y="612396"/>
                  <a:pt x="639314" y="610716"/>
                  <a:pt x="630914" y="612396"/>
                </a:cubicBezTo>
                <a:cubicBezTo>
                  <a:pt x="619155" y="612816"/>
                  <a:pt x="609915" y="617856"/>
                  <a:pt x="604455" y="626676"/>
                </a:cubicBezTo>
                <a:cubicBezTo>
                  <a:pt x="598576" y="635495"/>
                  <a:pt x="594376" y="646415"/>
                  <a:pt x="591856" y="658594"/>
                </a:cubicBezTo>
                <a:cubicBezTo>
                  <a:pt x="589336" y="670774"/>
                  <a:pt x="587656" y="683373"/>
                  <a:pt x="586396" y="696813"/>
                </a:cubicBezTo>
                <a:cubicBezTo>
                  <a:pt x="585556" y="710252"/>
                  <a:pt x="583456" y="721172"/>
                  <a:pt x="580936" y="730831"/>
                </a:cubicBezTo>
                <a:cubicBezTo>
                  <a:pt x="577157" y="743431"/>
                  <a:pt x="574637" y="758130"/>
                  <a:pt x="572537" y="774509"/>
                </a:cubicBezTo>
                <a:cubicBezTo>
                  <a:pt x="570857" y="790889"/>
                  <a:pt x="569177" y="807688"/>
                  <a:pt x="567077" y="824907"/>
                </a:cubicBezTo>
                <a:cubicBezTo>
                  <a:pt x="565397" y="842126"/>
                  <a:pt x="562877" y="858506"/>
                  <a:pt x="559937" y="874465"/>
                </a:cubicBezTo>
                <a:cubicBezTo>
                  <a:pt x="556997" y="890424"/>
                  <a:pt x="552378" y="904284"/>
                  <a:pt x="546498" y="915623"/>
                </a:cubicBezTo>
                <a:cubicBezTo>
                  <a:pt x="544818" y="918143"/>
                  <a:pt x="543558" y="923183"/>
                  <a:pt x="542298" y="929903"/>
                </a:cubicBezTo>
                <a:cubicBezTo>
                  <a:pt x="541038" y="936622"/>
                  <a:pt x="539778" y="944602"/>
                  <a:pt x="538098" y="953422"/>
                </a:cubicBezTo>
                <a:cubicBezTo>
                  <a:pt x="536838" y="962241"/>
                  <a:pt x="535578" y="971481"/>
                  <a:pt x="534318" y="980720"/>
                </a:cubicBezTo>
                <a:cubicBezTo>
                  <a:pt x="533478" y="990380"/>
                  <a:pt x="532219" y="999200"/>
                  <a:pt x="531379" y="1007179"/>
                </a:cubicBezTo>
                <a:cubicBezTo>
                  <a:pt x="530539" y="1015159"/>
                  <a:pt x="529699" y="1022299"/>
                  <a:pt x="529279" y="1028178"/>
                </a:cubicBezTo>
                <a:cubicBezTo>
                  <a:pt x="528859" y="1034058"/>
                  <a:pt x="528439" y="1037838"/>
                  <a:pt x="528439" y="1039098"/>
                </a:cubicBezTo>
                <a:cubicBezTo>
                  <a:pt x="528019" y="1045818"/>
                  <a:pt x="528859" y="1054217"/>
                  <a:pt x="530959" y="1064297"/>
                </a:cubicBezTo>
                <a:cubicBezTo>
                  <a:pt x="533059" y="1074376"/>
                  <a:pt x="535998" y="1084456"/>
                  <a:pt x="540198" y="1094116"/>
                </a:cubicBezTo>
                <a:cubicBezTo>
                  <a:pt x="544398" y="1103775"/>
                  <a:pt x="549858" y="1111755"/>
                  <a:pt x="556577" y="1118054"/>
                </a:cubicBezTo>
                <a:cubicBezTo>
                  <a:pt x="562877" y="1124354"/>
                  <a:pt x="570437" y="1127294"/>
                  <a:pt x="578837" y="1126454"/>
                </a:cubicBezTo>
                <a:cubicBezTo>
                  <a:pt x="587656" y="1125614"/>
                  <a:pt x="594796" y="1122254"/>
                  <a:pt x="600256" y="1116375"/>
                </a:cubicBezTo>
                <a:cubicBezTo>
                  <a:pt x="605295" y="1110495"/>
                  <a:pt x="609495" y="1103775"/>
                  <a:pt x="612015" y="1094956"/>
                </a:cubicBezTo>
                <a:cubicBezTo>
                  <a:pt x="614535" y="1086556"/>
                  <a:pt x="616215" y="1077316"/>
                  <a:pt x="616635" y="1066817"/>
                </a:cubicBezTo>
                <a:cubicBezTo>
                  <a:pt x="617055" y="1056737"/>
                  <a:pt x="617475" y="1046658"/>
                  <a:pt x="617895" y="1036578"/>
                </a:cubicBezTo>
                <a:cubicBezTo>
                  <a:pt x="617895" y="1026918"/>
                  <a:pt x="618315" y="1017259"/>
                  <a:pt x="618315" y="1008859"/>
                </a:cubicBezTo>
                <a:cubicBezTo>
                  <a:pt x="618315" y="1000039"/>
                  <a:pt x="619155" y="992900"/>
                  <a:pt x="620835" y="987440"/>
                </a:cubicBezTo>
                <a:cubicBezTo>
                  <a:pt x="625455" y="969381"/>
                  <a:pt x="628814" y="950902"/>
                  <a:pt x="630494" y="932423"/>
                </a:cubicBezTo>
                <a:cubicBezTo>
                  <a:pt x="632174" y="913523"/>
                  <a:pt x="635114" y="894624"/>
                  <a:pt x="639734" y="875725"/>
                </a:cubicBezTo>
                <a:cubicBezTo>
                  <a:pt x="642254" y="866905"/>
                  <a:pt x="643934" y="856826"/>
                  <a:pt x="646034" y="845906"/>
                </a:cubicBezTo>
                <a:cubicBezTo>
                  <a:pt x="647714" y="834987"/>
                  <a:pt x="649814" y="824067"/>
                  <a:pt x="652753" y="813148"/>
                </a:cubicBezTo>
                <a:cubicBezTo>
                  <a:pt x="655273" y="802228"/>
                  <a:pt x="659053" y="792148"/>
                  <a:pt x="663253" y="782489"/>
                </a:cubicBezTo>
                <a:cubicBezTo>
                  <a:pt x="667453" y="772829"/>
                  <a:pt x="672913" y="765270"/>
                  <a:pt x="679632" y="759390"/>
                </a:cubicBezTo>
                <a:cubicBezTo>
                  <a:pt x="683832" y="756030"/>
                  <a:pt x="689292" y="751410"/>
                  <a:pt x="696012" y="745111"/>
                </a:cubicBezTo>
                <a:cubicBezTo>
                  <a:pt x="703151" y="738811"/>
                  <a:pt x="710711" y="732931"/>
                  <a:pt x="718271" y="727051"/>
                </a:cubicBezTo>
                <a:cubicBezTo>
                  <a:pt x="726250" y="721172"/>
                  <a:pt x="734230" y="716552"/>
                  <a:pt x="742210" y="712352"/>
                </a:cubicBezTo>
                <a:cubicBezTo>
                  <a:pt x="750189" y="708572"/>
                  <a:pt x="756909" y="706892"/>
                  <a:pt x="762369" y="708152"/>
                </a:cubicBezTo>
                <a:cubicBezTo>
                  <a:pt x="768248" y="709412"/>
                  <a:pt x="771188" y="712772"/>
                  <a:pt x="771608" y="718232"/>
                </a:cubicBezTo>
                <a:cubicBezTo>
                  <a:pt x="772028" y="723691"/>
                  <a:pt x="770348" y="730411"/>
                  <a:pt x="766988" y="737551"/>
                </a:cubicBezTo>
                <a:cubicBezTo>
                  <a:pt x="763629" y="745111"/>
                  <a:pt x="759009" y="753090"/>
                  <a:pt x="753129" y="761490"/>
                </a:cubicBezTo>
                <a:cubicBezTo>
                  <a:pt x="747669" y="769889"/>
                  <a:pt x="741790" y="777869"/>
                  <a:pt x="735910" y="785429"/>
                </a:cubicBezTo>
                <a:cubicBezTo>
                  <a:pt x="730030" y="792988"/>
                  <a:pt x="724990" y="799708"/>
                  <a:pt x="720370" y="805168"/>
                </a:cubicBezTo>
                <a:cubicBezTo>
                  <a:pt x="715751" y="810628"/>
                  <a:pt x="712391" y="813988"/>
                  <a:pt x="710711" y="815247"/>
                </a:cubicBezTo>
                <a:cubicBezTo>
                  <a:pt x="703571" y="821547"/>
                  <a:pt x="696851" y="828267"/>
                  <a:pt x="690552" y="834987"/>
                </a:cubicBezTo>
                <a:cubicBezTo>
                  <a:pt x="683832" y="842126"/>
                  <a:pt x="679212" y="849686"/>
                  <a:pt x="675852" y="857246"/>
                </a:cubicBezTo>
                <a:cubicBezTo>
                  <a:pt x="672493" y="865225"/>
                  <a:pt x="672073" y="873205"/>
                  <a:pt x="673752" y="882025"/>
                </a:cubicBezTo>
                <a:cubicBezTo>
                  <a:pt x="675432" y="890844"/>
                  <a:pt x="680892" y="900084"/>
                  <a:pt x="690972" y="910164"/>
                </a:cubicBezTo>
                <a:cubicBezTo>
                  <a:pt x="698531" y="915623"/>
                  <a:pt x="709031" y="922343"/>
                  <a:pt x="722050" y="930742"/>
                </a:cubicBezTo>
                <a:cubicBezTo>
                  <a:pt x="735070" y="939142"/>
                  <a:pt x="748929" y="947122"/>
                  <a:pt x="763209" y="954681"/>
                </a:cubicBezTo>
                <a:cubicBezTo>
                  <a:pt x="777488" y="962241"/>
                  <a:pt x="790927" y="968541"/>
                  <a:pt x="803527" y="974001"/>
                </a:cubicBezTo>
                <a:cubicBezTo>
                  <a:pt x="815706" y="979461"/>
                  <a:pt x="824946" y="981140"/>
                  <a:pt x="831246" y="979880"/>
                </a:cubicBezTo>
                <a:cubicBezTo>
                  <a:pt x="847625" y="991640"/>
                  <a:pt x="864424" y="996680"/>
                  <a:pt x="882483" y="995000"/>
                </a:cubicBezTo>
                <a:cubicBezTo>
                  <a:pt x="900543" y="993320"/>
                  <a:pt x="918602" y="988280"/>
                  <a:pt x="936661" y="979880"/>
                </a:cubicBezTo>
                <a:cubicBezTo>
                  <a:pt x="942961" y="972741"/>
                  <a:pt x="945901" y="966021"/>
                  <a:pt x="945901" y="960141"/>
                </a:cubicBezTo>
                <a:cubicBezTo>
                  <a:pt x="945901" y="954262"/>
                  <a:pt x="944221" y="948802"/>
                  <a:pt x="940441" y="944182"/>
                </a:cubicBezTo>
                <a:cubicBezTo>
                  <a:pt x="936661" y="939562"/>
                  <a:pt x="931621" y="935362"/>
                  <a:pt x="924902" y="932003"/>
                </a:cubicBezTo>
                <a:cubicBezTo>
                  <a:pt x="918182" y="928643"/>
                  <a:pt x="911462" y="926123"/>
                  <a:pt x="904323" y="924863"/>
                </a:cubicBezTo>
                <a:cubicBezTo>
                  <a:pt x="900543" y="924023"/>
                  <a:pt x="895083" y="922763"/>
                  <a:pt x="887103" y="920663"/>
                </a:cubicBezTo>
                <a:cubicBezTo>
                  <a:pt x="879544" y="918983"/>
                  <a:pt x="870724" y="916463"/>
                  <a:pt x="861064" y="913523"/>
                </a:cubicBezTo>
                <a:cubicBezTo>
                  <a:pt x="851405" y="910583"/>
                  <a:pt x="841745" y="907643"/>
                  <a:pt x="831246" y="903864"/>
                </a:cubicBezTo>
                <a:cubicBezTo>
                  <a:pt x="821166" y="900504"/>
                  <a:pt x="811927" y="896724"/>
                  <a:pt x="803527" y="892944"/>
                </a:cubicBezTo>
                <a:cubicBezTo>
                  <a:pt x="795127" y="889164"/>
                  <a:pt x="787988" y="884965"/>
                  <a:pt x="782108" y="880345"/>
                </a:cubicBezTo>
                <a:cubicBezTo>
                  <a:pt x="776648" y="875725"/>
                  <a:pt x="773288" y="871105"/>
                  <a:pt x="772868" y="866485"/>
                </a:cubicBezTo>
                <a:cubicBezTo>
                  <a:pt x="771608" y="855146"/>
                  <a:pt x="774968" y="844226"/>
                  <a:pt x="783368" y="833307"/>
                </a:cubicBezTo>
                <a:cubicBezTo>
                  <a:pt x="791347" y="822387"/>
                  <a:pt x="800587" y="811468"/>
                  <a:pt x="810667" y="799708"/>
                </a:cubicBezTo>
                <a:cubicBezTo>
                  <a:pt x="820326" y="787949"/>
                  <a:pt x="829566" y="775769"/>
                  <a:pt x="837545" y="762750"/>
                </a:cubicBezTo>
                <a:cubicBezTo>
                  <a:pt x="845525" y="749730"/>
                  <a:pt x="848465" y="735451"/>
                  <a:pt x="847205" y="720332"/>
                </a:cubicBezTo>
                <a:cubicBezTo>
                  <a:pt x="845945" y="708992"/>
                  <a:pt x="843005" y="698073"/>
                  <a:pt x="838385" y="686313"/>
                </a:cubicBezTo>
                <a:cubicBezTo>
                  <a:pt x="833766" y="674974"/>
                  <a:pt x="827886" y="664474"/>
                  <a:pt x="820746" y="655234"/>
                </a:cubicBezTo>
                <a:cubicBezTo>
                  <a:pt x="813606" y="645995"/>
                  <a:pt x="805627" y="638435"/>
                  <a:pt x="796807" y="632975"/>
                </a:cubicBezTo>
                <a:cubicBezTo>
                  <a:pt x="787988" y="627516"/>
                  <a:pt x="778748" y="624996"/>
                  <a:pt x="769508" y="625416"/>
                </a:cubicBezTo>
                <a:cubicBezTo>
                  <a:pt x="753129" y="626676"/>
                  <a:pt x="740530" y="629616"/>
                  <a:pt x="731290" y="634655"/>
                </a:cubicBezTo>
                <a:cubicBezTo>
                  <a:pt x="722050" y="639275"/>
                  <a:pt x="714491" y="644735"/>
                  <a:pt x="708191" y="650615"/>
                </a:cubicBezTo>
                <a:cubicBezTo>
                  <a:pt x="702311" y="656494"/>
                  <a:pt x="696432" y="661954"/>
                  <a:pt x="691392" y="667414"/>
                </a:cubicBezTo>
                <a:cubicBezTo>
                  <a:pt x="686352" y="672874"/>
                  <a:pt x="680052" y="676234"/>
                  <a:pt x="672493" y="678333"/>
                </a:cubicBezTo>
                <a:cubicBezTo>
                  <a:pt x="674172" y="672454"/>
                  <a:pt x="675012" y="665314"/>
                  <a:pt x="674172" y="656914"/>
                </a:cubicBezTo>
                <a:moveTo>
                  <a:pt x="1219729" y="678753"/>
                </a:moveTo>
                <a:cubicBezTo>
                  <a:pt x="1224769" y="676234"/>
                  <a:pt x="1229389" y="673294"/>
                  <a:pt x="1233168" y="669934"/>
                </a:cubicBezTo>
                <a:cubicBezTo>
                  <a:pt x="1236948" y="666154"/>
                  <a:pt x="1240308" y="661954"/>
                  <a:pt x="1242408" y="657334"/>
                </a:cubicBezTo>
                <a:cubicBezTo>
                  <a:pt x="1244508" y="652715"/>
                  <a:pt x="1245348" y="647255"/>
                  <a:pt x="1244928" y="641375"/>
                </a:cubicBezTo>
                <a:cubicBezTo>
                  <a:pt x="1244088" y="632975"/>
                  <a:pt x="1241988" y="626676"/>
                  <a:pt x="1238628" y="622896"/>
                </a:cubicBezTo>
                <a:cubicBezTo>
                  <a:pt x="1235268" y="619116"/>
                  <a:pt x="1231489" y="617016"/>
                  <a:pt x="1226449" y="616176"/>
                </a:cubicBezTo>
                <a:cubicBezTo>
                  <a:pt x="1221829" y="615336"/>
                  <a:pt x="1216369" y="615756"/>
                  <a:pt x="1210489" y="617016"/>
                </a:cubicBezTo>
                <a:cubicBezTo>
                  <a:pt x="1204610" y="618276"/>
                  <a:pt x="1198730" y="619956"/>
                  <a:pt x="1192430" y="621216"/>
                </a:cubicBezTo>
                <a:cubicBezTo>
                  <a:pt x="1178151" y="625836"/>
                  <a:pt x="1163451" y="628776"/>
                  <a:pt x="1147912" y="630876"/>
                </a:cubicBezTo>
                <a:cubicBezTo>
                  <a:pt x="1132373" y="632975"/>
                  <a:pt x="1116833" y="636335"/>
                  <a:pt x="1101714" y="640535"/>
                </a:cubicBezTo>
                <a:cubicBezTo>
                  <a:pt x="1094994" y="642635"/>
                  <a:pt x="1089115" y="643475"/>
                  <a:pt x="1083655" y="642635"/>
                </a:cubicBezTo>
                <a:cubicBezTo>
                  <a:pt x="1078195" y="641795"/>
                  <a:pt x="1073155" y="640955"/>
                  <a:pt x="1068116" y="639695"/>
                </a:cubicBezTo>
                <a:cubicBezTo>
                  <a:pt x="1063076" y="638435"/>
                  <a:pt x="1058036" y="638015"/>
                  <a:pt x="1052996" y="638015"/>
                </a:cubicBezTo>
                <a:cubicBezTo>
                  <a:pt x="1047956" y="638015"/>
                  <a:pt x="1042497" y="639695"/>
                  <a:pt x="1036617" y="642635"/>
                </a:cubicBezTo>
                <a:cubicBezTo>
                  <a:pt x="1031157" y="648515"/>
                  <a:pt x="1027377" y="655654"/>
                  <a:pt x="1024857" y="663214"/>
                </a:cubicBezTo>
                <a:cubicBezTo>
                  <a:pt x="1022757" y="670774"/>
                  <a:pt x="1021078" y="678753"/>
                  <a:pt x="1019818" y="687153"/>
                </a:cubicBezTo>
                <a:cubicBezTo>
                  <a:pt x="1018558" y="695553"/>
                  <a:pt x="1017298" y="703952"/>
                  <a:pt x="1016458" y="711932"/>
                </a:cubicBezTo>
                <a:cubicBezTo>
                  <a:pt x="1015198" y="720332"/>
                  <a:pt x="1013098" y="728311"/>
                  <a:pt x="1010158" y="736291"/>
                </a:cubicBezTo>
                <a:cubicBezTo>
                  <a:pt x="1007638" y="741751"/>
                  <a:pt x="1005538" y="750150"/>
                  <a:pt x="1004278" y="761910"/>
                </a:cubicBezTo>
                <a:cubicBezTo>
                  <a:pt x="1002598" y="773249"/>
                  <a:pt x="1001338" y="786269"/>
                  <a:pt x="1000078" y="800968"/>
                </a:cubicBezTo>
                <a:cubicBezTo>
                  <a:pt x="998819" y="815247"/>
                  <a:pt x="998399" y="830367"/>
                  <a:pt x="997979" y="845906"/>
                </a:cubicBezTo>
                <a:cubicBezTo>
                  <a:pt x="997559" y="861445"/>
                  <a:pt x="997559" y="876145"/>
                  <a:pt x="997559" y="890004"/>
                </a:cubicBezTo>
                <a:cubicBezTo>
                  <a:pt x="997559" y="903864"/>
                  <a:pt x="997979" y="915623"/>
                  <a:pt x="998399" y="926123"/>
                </a:cubicBezTo>
                <a:cubicBezTo>
                  <a:pt x="998819" y="936622"/>
                  <a:pt x="999658" y="943342"/>
                  <a:pt x="1000918" y="946282"/>
                </a:cubicBezTo>
                <a:cubicBezTo>
                  <a:pt x="1005958" y="964761"/>
                  <a:pt x="1013938" y="978201"/>
                  <a:pt x="1024857" y="987020"/>
                </a:cubicBezTo>
                <a:cubicBezTo>
                  <a:pt x="1035777" y="995840"/>
                  <a:pt x="1048376" y="1000880"/>
                  <a:pt x="1062656" y="1002560"/>
                </a:cubicBezTo>
                <a:cubicBezTo>
                  <a:pt x="1076935" y="1004239"/>
                  <a:pt x="1092054" y="1002979"/>
                  <a:pt x="1107594" y="998780"/>
                </a:cubicBezTo>
                <a:cubicBezTo>
                  <a:pt x="1123133" y="994580"/>
                  <a:pt x="1138673" y="988700"/>
                  <a:pt x="1152952" y="981140"/>
                </a:cubicBezTo>
                <a:cubicBezTo>
                  <a:pt x="1167651" y="973581"/>
                  <a:pt x="1180671" y="965181"/>
                  <a:pt x="1192430" y="955941"/>
                </a:cubicBezTo>
                <a:cubicBezTo>
                  <a:pt x="1204190" y="946702"/>
                  <a:pt x="1213429" y="937882"/>
                  <a:pt x="1219729" y="929063"/>
                </a:cubicBezTo>
                <a:cubicBezTo>
                  <a:pt x="1222669" y="925283"/>
                  <a:pt x="1225609" y="922343"/>
                  <a:pt x="1228969" y="918983"/>
                </a:cubicBezTo>
                <a:cubicBezTo>
                  <a:pt x="1231909" y="916043"/>
                  <a:pt x="1234848" y="912683"/>
                  <a:pt x="1236948" y="909324"/>
                </a:cubicBezTo>
                <a:cubicBezTo>
                  <a:pt x="1239048" y="905964"/>
                  <a:pt x="1240308" y="901764"/>
                  <a:pt x="1240728" y="897144"/>
                </a:cubicBezTo>
                <a:cubicBezTo>
                  <a:pt x="1241148" y="892524"/>
                  <a:pt x="1240308" y="886644"/>
                  <a:pt x="1238208" y="879505"/>
                </a:cubicBezTo>
                <a:cubicBezTo>
                  <a:pt x="1233168" y="864385"/>
                  <a:pt x="1222249" y="858086"/>
                  <a:pt x="1206710" y="859766"/>
                </a:cubicBezTo>
                <a:cubicBezTo>
                  <a:pt x="1198730" y="865645"/>
                  <a:pt x="1189490" y="873625"/>
                  <a:pt x="1179831" y="883285"/>
                </a:cubicBezTo>
                <a:cubicBezTo>
                  <a:pt x="1170171" y="892944"/>
                  <a:pt x="1159672" y="901764"/>
                  <a:pt x="1149172" y="909743"/>
                </a:cubicBezTo>
                <a:cubicBezTo>
                  <a:pt x="1138252" y="917723"/>
                  <a:pt x="1126913" y="923603"/>
                  <a:pt x="1115153" y="927383"/>
                </a:cubicBezTo>
                <a:cubicBezTo>
                  <a:pt x="1103394" y="931163"/>
                  <a:pt x="1090795" y="929903"/>
                  <a:pt x="1077775" y="924023"/>
                </a:cubicBezTo>
                <a:cubicBezTo>
                  <a:pt x="1073575" y="922343"/>
                  <a:pt x="1070635" y="918143"/>
                  <a:pt x="1068535" y="912263"/>
                </a:cubicBezTo>
                <a:cubicBezTo>
                  <a:pt x="1066436" y="906384"/>
                  <a:pt x="1065176" y="899244"/>
                  <a:pt x="1064756" y="891684"/>
                </a:cubicBezTo>
                <a:cubicBezTo>
                  <a:pt x="1064336" y="884125"/>
                  <a:pt x="1064336" y="876565"/>
                  <a:pt x="1064756" y="869845"/>
                </a:cubicBezTo>
                <a:cubicBezTo>
                  <a:pt x="1065596" y="862706"/>
                  <a:pt x="1066436" y="857246"/>
                  <a:pt x="1068116" y="853886"/>
                </a:cubicBezTo>
                <a:cubicBezTo>
                  <a:pt x="1069795" y="850106"/>
                  <a:pt x="1073995" y="847166"/>
                  <a:pt x="1080295" y="844646"/>
                </a:cubicBezTo>
                <a:cubicBezTo>
                  <a:pt x="1086175" y="842126"/>
                  <a:pt x="1093315" y="840446"/>
                  <a:pt x="1101294" y="839186"/>
                </a:cubicBezTo>
                <a:cubicBezTo>
                  <a:pt x="1109274" y="837927"/>
                  <a:pt x="1116833" y="836667"/>
                  <a:pt x="1123973" y="835827"/>
                </a:cubicBezTo>
                <a:cubicBezTo>
                  <a:pt x="1131533" y="834987"/>
                  <a:pt x="1136993" y="834147"/>
                  <a:pt x="1141612" y="833307"/>
                </a:cubicBezTo>
                <a:cubicBezTo>
                  <a:pt x="1147072" y="832467"/>
                  <a:pt x="1152532" y="831207"/>
                  <a:pt x="1157152" y="829947"/>
                </a:cubicBezTo>
                <a:cubicBezTo>
                  <a:pt x="1161772" y="828267"/>
                  <a:pt x="1165971" y="826167"/>
                  <a:pt x="1169751" y="823647"/>
                </a:cubicBezTo>
                <a:cubicBezTo>
                  <a:pt x="1173531" y="820707"/>
                  <a:pt x="1176051" y="817347"/>
                  <a:pt x="1177731" y="812728"/>
                </a:cubicBezTo>
                <a:cubicBezTo>
                  <a:pt x="1179411" y="808108"/>
                  <a:pt x="1179831" y="802228"/>
                  <a:pt x="1178991" y="795088"/>
                </a:cubicBezTo>
                <a:cubicBezTo>
                  <a:pt x="1178571" y="789629"/>
                  <a:pt x="1176891" y="784589"/>
                  <a:pt x="1174791" y="779969"/>
                </a:cubicBezTo>
                <a:cubicBezTo>
                  <a:pt x="1172271" y="775349"/>
                  <a:pt x="1169331" y="771989"/>
                  <a:pt x="1165131" y="769889"/>
                </a:cubicBezTo>
                <a:cubicBezTo>
                  <a:pt x="1156732" y="765690"/>
                  <a:pt x="1147912" y="764430"/>
                  <a:pt x="1139513" y="766530"/>
                </a:cubicBezTo>
                <a:cubicBezTo>
                  <a:pt x="1130693" y="768210"/>
                  <a:pt x="1121453" y="769889"/>
                  <a:pt x="1111374" y="770729"/>
                </a:cubicBezTo>
                <a:cubicBezTo>
                  <a:pt x="1108434" y="771149"/>
                  <a:pt x="1104234" y="771569"/>
                  <a:pt x="1099194" y="772829"/>
                </a:cubicBezTo>
                <a:cubicBezTo>
                  <a:pt x="1094154" y="773669"/>
                  <a:pt x="1089535" y="773669"/>
                  <a:pt x="1085335" y="771989"/>
                </a:cubicBezTo>
                <a:cubicBezTo>
                  <a:pt x="1081135" y="770310"/>
                  <a:pt x="1078615" y="766950"/>
                  <a:pt x="1077775" y="761490"/>
                </a:cubicBezTo>
                <a:cubicBezTo>
                  <a:pt x="1076515" y="756030"/>
                  <a:pt x="1078615" y="746790"/>
                  <a:pt x="1083655" y="733351"/>
                </a:cubicBezTo>
                <a:cubicBezTo>
                  <a:pt x="1089115" y="719912"/>
                  <a:pt x="1096674" y="711092"/>
                  <a:pt x="1106334" y="706892"/>
                </a:cubicBezTo>
                <a:cubicBezTo>
                  <a:pt x="1115994" y="703112"/>
                  <a:pt x="1126493" y="700592"/>
                  <a:pt x="1137832" y="700173"/>
                </a:cubicBezTo>
                <a:cubicBezTo>
                  <a:pt x="1149172" y="699333"/>
                  <a:pt x="1160931" y="698493"/>
                  <a:pt x="1172691" y="697652"/>
                </a:cubicBezTo>
                <a:cubicBezTo>
                  <a:pt x="1184451" y="696813"/>
                  <a:pt x="1195370" y="692613"/>
                  <a:pt x="1205030" y="685053"/>
                </a:cubicBezTo>
                <a:cubicBezTo>
                  <a:pt x="1209649" y="682533"/>
                  <a:pt x="1214689" y="680853"/>
                  <a:pt x="1219729" y="678753"/>
                </a:cubicBezTo>
                <a:moveTo>
                  <a:pt x="1370083" y="654394"/>
                </a:moveTo>
                <a:cubicBezTo>
                  <a:pt x="1365463" y="669934"/>
                  <a:pt x="1364623" y="685893"/>
                  <a:pt x="1367563" y="702272"/>
                </a:cubicBezTo>
                <a:cubicBezTo>
                  <a:pt x="1370503" y="718232"/>
                  <a:pt x="1375962" y="735451"/>
                  <a:pt x="1383522" y="753090"/>
                </a:cubicBezTo>
                <a:cubicBezTo>
                  <a:pt x="1391082" y="770729"/>
                  <a:pt x="1397801" y="790469"/>
                  <a:pt x="1403681" y="812308"/>
                </a:cubicBezTo>
                <a:cubicBezTo>
                  <a:pt x="1404101" y="815247"/>
                  <a:pt x="1405781" y="819447"/>
                  <a:pt x="1407881" y="825327"/>
                </a:cubicBezTo>
                <a:cubicBezTo>
                  <a:pt x="1409981" y="831207"/>
                  <a:pt x="1412081" y="837507"/>
                  <a:pt x="1414181" y="845066"/>
                </a:cubicBezTo>
                <a:cubicBezTo>
                  <a:pt x="1416281" y="852626"/>
                  <a:pt x="1418381" y="860186"/>
                  <a:pt x="1420060" y="868585"/>
                </a:cubicBezTo>
                <a:cubicBezTo>
                  <a:pt x="1421740" y="876985"/>
                  <a:pt x="1423000" y="884544"/>
                  <a:pt x="1423000" y="891264"/>
                </a:cubicBezTo>
                <a:cubicBezTo>
                  <a:pt x="1423000" y="898404"/>
                  <a:pt x="1422580" y="904704"/>
                  <a:pt x="1420480" y="909743"/>
                </a:cubicBezTo>
                <a:cubicBezTo>
                  <a:pt x="1418801" y="915203"/>
                  <a:pt x="1415021" y="918563"/>
                  <a:pt x="1409981" y="920243"/>
                </a:cubicBezTo>
                <a:cubicBezTo>
                  <a:pt x="1406621" y="921503"/>
                  <a:pt x="1403261" y="921503"/>
                  <a:pt x="1400321" y="920243"/>
                </a:cubicBezTo>
                <a:cubicBezTo>
                  <a:pt x="1397381" y="918983"/>
                  <a:pt x="1394861" y="917303"/>
                  <a:pt x="1391922" y="914783"/>
                </a:cubicBezTo>
                <a:cubicBezTo>
                  <a:pt x="1389402" y="912263"/>
                  <a:pt x="1386882" y="909743"/>
                  <a:pt x="1384362" y="906804"/>
                </a:cubicBezTo>
                <a:cubicBezTo>
                  <a:pt x="1382262" y="903864"/>
                  <a:pt x="1380162" y="901344"/>
                  <a:pt x="1378062" y="899664"/>
                </a:cubicBezTo>
                <a:cubicBezTo>
                  <a:pt x="1372182" y="892944"/>
                  <a:pt x="1365883" y="890004"/>
                  <a:pt x="1360003" y="890004"/>
                </a:cubicBezTo>
                <a:cubicBezTo>
                  <a:pt x="1354123" y="890424"/>
                  <a:pt x="1348663" y="892524"/>
                  <a:pt x="1344044" y="896724"/>
                </a:cubicBezTo>
                <a:cubicBezTo>
                  <a:pt x="1339424" y="901344"/>
                  <a:pt x="1335644" y="906804"/>
                  <a:pt x="1333124" y="913943"/>
                </a:cubicBezTo>
                <a:cubicBezTo>
                  <a:pt x="1330184" y="921083"/>
                  <a:pt x="1329344" y="927803"/>
                  <a:pt x="1330184" y="934522"/>
                </a:cubicBezTo>
                <a:cubicBezTo>
                  <a:pt x="1331024" y="942082"/>
                  <a:pt x="1333124" y="950062"/>
                  <a:pt x="1336484" y="958041"/>
                </a:cubicBezTo>
                <a:cubicBezTo>
                  <a:pt x="1339844" y="966021"/>
                  <a:pt x="1344464" y="973581"/>
                  <a:pt x="1349923" y="980301"/>
                </a:cubicBezTo>
                <a:cubicBezTo>
                  <a:pt x="1355383" y="987020"/>
                  <a:pt x="1362103" y="992480"/>
                  <a:pt x="1369663" y="996680"/>
                </a:cubicBezTo>
                <a:cubicBezTo>
                  <a:pt x="1377222" y="1000880"/>
                  <a:pt x="1385622" y="1002560"/>
                  <a:pt x="1394441" y="1002560"/>
                </a:cubicBezTo>
                <a:cubicBezTo>
                  <a:pt x="1417540" y="1002139"/>
                  <a:pt x="1435600" y="996680"/>
                  <a:pt x="1449879" y="986600"/>
                </a:cubicBezTo>
                <a:cubicBezTo>
                  <a:pt x="1463739" y="976521"/>
                  <a:pt x="1474658" y="963921"/>
                  <a:pt x="1481798" y="949222"/>
                </a:cubicBezTo>
                <a:cubicBezTo>
                  <a:pt x="1488937" y="934522"/>
                  <a:pt x="1493137" y="918563"/>
                  <a:pt x="1493557" y="901344"/>
                </a:cubicBezTo>
                <a:cubicBezTo>
                  <a:pt x="1494397" y="884125"/>
                  <a:pt x="1492717" y="867745"/>
                  <a:pt x="1488517" y="852626"/>
                </a:cubicBezTo>
                <a:cubicBezTo>
                  <a:pt x="1485578" y="840866"/>
                  <a:pt x="1481378" y="829107"/>
                  <a:pt x="1475918" y="817347"/>
                </a:cubicBezTo>
                <a:cubicBezTo>
                  <a:pt x="1470458" y="805588"/>
                  <a:pt x="1464999" y="793828"/>
                  <a:pt x="1459959" y="781649"/>
                </a:cubicBezTo>
                <a:cubicBezTo>
                  <a:pt x="1454919" y="769470"/>
                  <a:pt x="1449879" y="757710"/>
                  <a:pt x="1446099" y="745531"/>
                </a:cubicBezTo>
                <a:cubicBezTo>
                  <a:pt x="1441900" y="733351"/>
                  <a:pt x="1439800" y="721172"/>
                  <a:pt x="1439380" y="709412"/>
                </a:cubicBezTo>
                <a:cubicBezTo>
                  <a:pt x="1438540" y="692193"/>
                  <a:pt x="1439800" y="679173"/>
                  <a:pt x="1443159" y="671194"/>
                </a:cubicBezTo>
                <a:cubicBezTo>
                  <a:pt x="1446099" y="663214"/>
                  <a:pt x="1451139" y="656914"/>
                  <a:pt x="1457859" y="653135"/>
                </a:cubicBezTo>
                <a:cubicBezTo>
                  <a:pt x="1464579" y="649355"/>
                  <a:pt x="1472978" y="646415"/>
                  <a:pt x="1483058" y="644315"/>
                </a:cubicBezTo>
                <a:cubicBezTo>
                  <a:pt x="1493137" y="642215"/>
                  <a:pt x="1504897" y="638855"/>
                  <a:pt x="1518336" y="633815"/>
                </a:cubicBezTo>
                <a:cubicBezTo>
                  <a:pt x="1523376" y="632135"/>
                  <a:pt x="1528836" y="629616"/>
                  <a:pt x="1533876" y="625836"/>
                </a:cubicBezTo>
                <a:cubicBezTo>
                  <a:pt x="1538915" y="622056"/>
                  <a:pt x="1542275" y="617436"/>
                  <a:pt x="1543115" y="610716"/>
                </a:cubicBezTo>
                <a:cubicBezTo>
                  <a:pt x="1541855" y="604417"/>
                  <a:pt x="1540175" y="598537"/>
                  <a:pt x="1538075" y="593497"/>
                </a:cubicBezTo>
                <a:cubicBezTo>
                  <a:pt x="1535975" y="588457"/>
                  <a:pt x="1533456" y="584257"/>
                  <a:pt x="1530096" y="580478"/>
                </a:cubicBezTo>
                <a:cubicBezTo>
                  <a:pt x="1526736" y="577118"/>
                  <a:pt x="1522116" y="574598"/>
                  <a:pt x="1516656" y="572918"/>
                </a:cubicBezTo>
                <a:cubicBezTo>
                  <a:pt x="1511197" y="571238"/>
                  <a:pt x="1504477" y="570818"/>
                  <a:pt x="1496077" y="571658"/>
                </a:cubicBezTo>
                <a:cubicBezTo>
                  <a:pt x="1488937" y="572498"/>
                  <a:pt x="1480958" y="573758"/>
                  <a:pt x="1472558" y="575018"/>
                </a:cubicBezTo>
                <a:cubicBezTo>
                  <a:pt x="1464159" y="576698"/>
                  <a:pt x="1455759" y="578798"/>
                  <a:pt x="1447359" y="581318"/>
                </a:cubicBezTo>
                <a:cubicBezTo>
                  <a:pt x="1438960" y="583837"/>
                  <a:pt x="1431400" y="587197"/>
                  <a:pt x="1423840" y="590977"/>
                </a:cubicBezTo>
                <a:cubicBezTo>
                  <a:pt x="1416281" y="594757"/>
                  <a:pt x="1409981" y="599377"/>
                  <a:pt x="1404941" y="604837"/>
                </a:cubicBezTo>
                <a:cubicBezTo>
                  <a:pt x="1386462" y="621636"/>
                  <a:pt x="1374702" y="638435"/>
                  <a:pt x="1370083" y="654394"/>
                </a:cubicBezTo>
                <a:moveTo>
                  <a:pt x="1784185" y="569138"/>
                </a:moveTo>
                <a:cubicBezTo>
                  <a:pt x="1781665" y="569558"/>
                  <a:pt x="1778725" y="569558"/>
                  <a:pt x="1776205" y="569978"/>
                </a:cubicBezTo>
                <a:cubicBezTo>
                  <a:pt x="1765286" y="571238"/>
                  <a:pt x="1756466" y="572918"/>
                  <a:pt x="1748906" y="575858"/>
                </a:cubicBezTo>
                <a:cubicBezTo>
                  <a:pt x="1741767" y="578378"/>
                  <a:pt x="1734627" y="581318"/>
                  <a:pt x="1727907" y="585097"/>
                </a:cubicBezTo>
                <a:cubicBezTo>
                  <a:pt x="1721188" y="588877"/>
                  <a:pt x="1714468" y="592657"/>
                  <a:pt x="1707328" y="596857"/>
                </a:cubicBezTo>
                <a:cubicBezTo>
                  <a:pt x="1700188" y="601057"/>
                  <a:pt x="1691369" y="605256"/>
                  <a:pt x="1680869" y="609876"/>
                </a:cubicBezTo>
                <a:cubicBezTo>
                  <a:pt x="1677929" y="611136"/>
                  <a:pt x="1674989" y="611976"/>
                  <a:pt x="1672050" y="611976"/>
                </a:cubicBezTo>
                <a:cubicBezTo>
                  <a:pt x="1668690" y="611976"/>
                  <a:pt x="1665330" y="611976"/>
                  <a:pt x="1662390" y="612396"/>
                </a:cubicBezTo>
                <a:cubicBezTo>
                  <a:pt x="1659030" y="612816"/>
                  <a:pt x="1656090" y="613236"/>
                  <a:pt x="1652730" y="614496"/>
                </a:cubicBezTo>
                <a:cubicBezTo>
                  <a:pt x="1649791" y="615756"/>
                  <a:pt x="1646851" y="617856"/>
                  <a:pt x="1644751" y="620796"/>
                </a:cubicBezTo>
                <a:cubicBezTo>
                  <a:pt x="1634671" y="655234"/>
                  <a:pt x="1626692" y="688833"/>
                  <a:pt x="1621652" y="722851"/>
                </a:cubicBezTo>
                <a:cubicBezTo>
                  <a:pt x="1616612" y="756450"/>
                  <a:pt x="1615772" y="790889"/>
                  <a:pt x="1619552" y="825747"/>
                </a:cubicBezTo>
                <a:cubicBezTo>
                  <a:pt x="1620392" y="835407"/>
                  <a:pt x="1622072" y="844646"/>
                  <a:pt x="1623752" y="853886"/>
                </a:cubicBezTo>
                <a:cubicBezTo>
                  <a:pt x="1625432" y="863125"/>
                  <a:pt x="1627531" y="872365"/>
                  <a:pt x="1630051" y="881605"/>
                </a:cubicBezTo>
                <a:cubicBezTo>
                  <a:pt x="1634671" y="896724"/>
                  <a:pt x="1640971" y="910583"/>
                  <a:pt x="1649791" y="922343"/>
                </a:cubicBezTo>
                <a:cubicBezTo>
                  <a:pt x="1658610" y="934103"/>
                  <a:pt x="1670370" y="943762"/>
                  <a:pt x="1684649" y="950482"/>
                </a:cubicBezTo>
                <a:cubicBezTo>
                  <a:pt x="1701028" y="958461"/>
                  <a:pt x="1718248" y="961821"/>
                  <a:pt x="1736307" y="959721"/>
                </a:cubicBezTo>
                <a:cubicBezTo>
                  <a:pt x="1746386" y="958881"/>
                  <a:pt x="1756466" y="955941"/>
                  <a:pt x="1766546" y="951742"/>
                </a:cubicBezTo>
                <a:cubicBezTo>
                  <a:pt x="1776625" y="947962"/>
                  <a:pt x="1785865" y="942922"/>
                  <a:pt x="1793844" y="936622"/>
                </a:cubicBezTo>
                <a:cubicBezTo>
                  <a:pt x="1801824" y="930323"/>
                  <a:pt x="1807704" y="921923"/>
                  <a:pt x="1811484" y="911004"/>
                </a:cubicBezTo>
                <a:cubicBezTo>
                  <a:pt x="1814003" y="905544"/>
                  <a:pt x="1816523" y="899664"/>
                  <a:pt x="1819883" y="892524"/>
                </a:cubicBezTo>
                <a:cubicBezTo>
                  <a:pt x="1822823" y="885384"/>
                  <a:pt x="1824083" y="878245"/>
                  <a:pt x="1823243" y="871525"/>
                </a:cubicBezTo>
                <a:cubicBezTo>
                  <a:pt x="1822403" y="863545"/>
                  <a:pt x="1819043" y="856826"/>
                  <a:pt x="1812324" y="851786"/>
                </a:cubicBezTo>
                <a:cubicBezTo>
                  <a:pt x="1806024" y="846326"/>
                  <a:pt x="1798044" y="843806"/>
                  <a:pt x="1789225" y="843806"/>
                </a:cubicBezTo>
                <a:cubicBezTo>
                  <a:pt x="1785025" y="843806"/>
                  <a:pt x="1781245" y="844226"/>
                  <a:pt x="1778725" y="845066"/>
                </a:cubicBezTo>
                <a:cubicBezTo>
                  <a:pt x="1776205" y="845906"/>
                  <a:pt x="1774105" y="847166"/>
                  <a:pt x="1772425" y="848846"/>
                </a:cubicBezTo>
                <a:cubicBezTo>
                  <a:pt x="1770745" y="850526"/>
                  <a:pt x="1769485" y="853046"/>
                  <a:pt x="1768225" y="855146"/>
                </a:cubicBezTo>
                <a:cubicBezTo>
                  <a:pt x="1766966" y="857666"/>
                  <a:pt x="1765286" y="860606"/>
                  <a:pt x="1763186" y="863545"/>
                </a:cubicBezTo>
                <a:cubicBezTo>
                  <a:pt x="1759826" y="867745"/>
                  <a:pt x="1756466" y="871105"/>
                  <a:pt x="1752266" y="873625"/>
                </a:cubicBezTo>
                <a:cubicBezTo>
                  <a:pt x="1748066" y="875725"/>
                  <a:pt x="1743867" y="877405"/>
                  <a:pt x="1739247" y="877825"/>
                </a:cubicBezTo>
                <a:cubicBezTo>
                  <a:pt x="1728747" y="878665"/>
                  <a:pt x="1719088" y="876145"/>
                  <a:pt x="1710268" y="869425"/>
                </a:cubicBezTo>
                <a:cubicBezTo>
                  <a:pt x="1701448" y="862706"/>
                  <a:pt x="1697248" y="853046"/>
                  <a:pt x="1697668" y="840026"/>
                </a:cubicBezTo>
                <a:cubicBezTo>
                  <a:pt x="1702708" y="835407"/>
                  <a:pt x="1708168" y="830787"/>
                  <a:pt x="1714888" y="827427"/>
                </a:cubicBezTo>
                <a:cubicBezTo>
                  <a:pt x="1721607" y="823647"/>
                  <a:pt x="1728327" y="820287"/>
                  <a:pt x="1735047" y="816508"/>
                </a:cubicBezTo>
                <a:cubicBezTo>
                  <a:pt x="1741767" y="812728"/>
                  <a:pt x="1748486" y="808948"/>
                  <a:pt x="1754786" y="804328"/>
                </a:cubicBezTo>
                <a:cubicBezTo>
                  <a:pt x="1761086" y="800128"/>
                  <a:pt x="1766546" y="794668"/>
                  <a:pt x="1770745" y="788369"/>
                </a:cubicBezTo>
                <a:cubicBezTo>
                  <a:pt x="1774525" y="783749"/>
                  <a:pt x="1777045" y="778289"/>
                  <a:pt x="1779145" y="771989"/>
                </a:cubicBezTo>
                <a:cubicBezTo>
                  <a:pt x="1781245" y="765690"/>
                  <a:pt x="1782085" y="759390"/>
                  <a:pt x="1781245" y="753510"/>
                </a:cubicBezTo>
                <a:cubicBezTo>
                  <a:pt x="1780405" y="746371"/>
                  <a:pt x="1777465" y="740071"/>
                  <a:pt x="1771585" y="735451"/>
                </a:cubicBezTo>
                <a:cubicBezTo>
                  <a:pt x="1766126" y="730411"/>
                  <a:pt x="1758986" y="728731"/>
                  <a:pt x="1751006" y="729571"/>
                </a:cubicBezTo>
                <a:cubicBezTo>
                  <a:pt x="1744287" y="730411"/>
                  <a:pt x="1737147" y="732091"/>
                  <a:pt x="1730007" y="734611"/>
                </a:cubicBezTo>
                <a:cubicBezTo>
                  <a:pt x="1722867" y="737131"/>
                  <a:pt x="1716988" y="740071"/>
                  <a:pt x="1712368" y="742591"/>
                </a:cubicBezTo>
                <a:cubicBezTo>
                  <a:pt x="1707748" y="745111"/>
                  <a:pt x="1704388" y="746790"/>
                  <a:pt x="1702288" y="746790"/>
                </a:cubicBezTo>
                <a:cubicBezTo>
                  <a:pt x="1699768" y="747211"/>
                  <a:pt x="1698089" y="746790"/>
                  <a:pt x="1697248" y="745531"/>
                </a:cubicBezTo>
                <a:cubicBezTo>
                  <a:pt x="1696408" y="744271"/>
                  <a:pt x="1695569" y="742591"/>
                  <a:pt x="1695569" y="740491"/>
                </a:cubicBezTo>
                <a:cubicBezTo>
                  <a:pt x="1695569" y="738391"/>
                  <a:pt x="1695149" y="736291"/>
                  <a:pt x="1694729" y="734191"/>
                </a:cubicBezTo>
                <a:cubicBezTo>
                  <a:pt x="1694309" y="730411"/>
                  <a:pt x="1694729" y="726211"/>
                  <a:pt x="1695569" y="721172"/>
                </a:cubicBezTo>
                <a:cubicBezTo>
                  <a:pt x="1696408" y="716132"/>
                  <a:pt x="1697668" y="711092"/>
                  <a:pt x="1698928" y="706472"/>
                </a:cubicBezTo>
                <a:cubicBezTo>
                  <a:pt x="1700188" y="701852"/>
                  <a:pt x="1701448" y="697652"/>
                  <a:pt x="1702708" y="693453"/>
                </a:cubicBezTo>
                <a:cubicBezTo>
                  <a:pt x="1703968" y="689673"/>
                  <a:pt x="1704808" y="686733"/>
                  <a:pt x="1705228" y="684633"/>
                </a:cubicBezTo>
                <a:cubicBezTo>
                  <a:pt x="1706488" y="680013"/>
                  <a:pt x="1710268" y="675814"/>
                  <a:pt x="1716568" y="671194"/>
                </a:cubicBezTo>
                <a:cubicBezTo>
                  <a:pt x="1722867" y="666994"/>
                  <a:pt x="1730007" y="662794"/>
                  <a:pt x="1737567" y="659014"/>
                </a:cubicBezTo>
                <a:cubicBezTo>
                  <a:pt x="1745546" y="655234"/>
                  <a:pt x="1753106" y="651875"/>
                  <a:pt x="1761086" y="648935"/>
                </a:cubicBezTo>
                <a:cubicBezTo>
                  <a:pt x="1768645" y="645995"/>
                  <a:pt x="1774525" y="643895"/>
                  <a:pt x="1779145" y="642635"/>
                </a:cubicBezTo>
                <a:cubicBezTo>
                  <a:pt x="1791325" y="638855"/>
                  <a:pt x="1802244" y="633815"/>
                  <a:pt x="1811484" y="627516"/>
                </a:cubicBezTo>
                <a:cubicBezTo>
                  <a:pt x="1820723" y="621216"/>
                  <a:pt x="1825763" y="610716"/>
                  <a:pt x="1826603" y="595597"/>
                </a:cubicBezTo>
                <a:cubicBezTo>
                  <a:pt x="1827023" y="591817"/>
                  <a:pt x="1826183" y="588457"/>
                  <a:pt x="1823663" y="585518"/>
                </a:cubicBezTo>
                <a:cubicBezTo>
                  <a:pt x="1821143" y="582578"/>
                  <a:pt x="1818623" y="579638"/>
                  <a:pt x="1815263" y="577538"/>
                </a:cubicBezTo>
                <a:cubicBezTo>
                  <a:pt x="1811904" y="575018"/>
                  <a:pt x="1808124" y="573338"/>
                  <a:pt x="1804344" y="572078"/>
                </a:cubicBezTo>
                <a:cubicBezTo>
                  <a:pt x="1800564" y="570818"/>
                  <a:pt x="1796784" y="570398"/>
                  <a:pt x="1793844" y="569978"/>
                </a:cubicBezTo>
                <a:cubicBezTo>
                  <a:pt x="1789645" y="568718"/>
                  <a:pt x="1786705" y="568718"/>
                  <a:pt x="1784185" y="569138"/>
                </a:cubicBezTo>
                <a:moveTo>
                  <a:pt x="1963097" y="933263"/>
                </a:moveTo>
                <a:cubicBezTo>
                  <a:pt x="1968977" y="931582"/>
                  <a:pt x="1974017" y="928223"/>
                  <a:pt x="1977796" y="923183"/>
                </a:cubicBezTo>
                <a:cubicBezTo>
                  <a:pt x="1981996" y="917723"/>
                  <a:pt x="1984936" y="911004"/>
                  <a:pt x="1987456" y="902604"/>
                </a:cubicBezTo>
                <a:cubicBezTo>
                  <a:pt x="1989556" y="894204"/>
                  <a:pt x="1992076" y="885384"/>
                  <a:pt x="1993756" y="876985"/>
                </a:cubicBezTo>
                <a:cubicBezTo>
                  <a:pt x="1995436" y="868165"/>
                  <a:pt x="1997116" y="859766"/>
                  <a:pt x="1998376" y="851786"/>
                </a:cubicBezTo>
                <a:cubicBezTo>
                  <a:pt x="1999635" y="843806"/>
                  <a:pt x="2001316" y="837087"/>
                  <a:pt x="2003415" y="832047"/>
                </a:cubicBezTo>
                <a:cubicBezTo>
                  <a:pt x="2005515" y="823227"/>
                  <a:pt x="2008035" y="817767"/>
                  <a:pt x="2011815" y="816087"/>
                </a:cubicBezTo>
                <a:cubicBezTo>
                  <a:pt x="2015595" y="814408"/>
                  <a:pt x="2021475" y="813568"/>
                  <a:pt x="2029874" y="813568"/>
                </a:cubicBezTo>
                <a:cubicBezTo>
                  <a:pt x="2040374" y="813148"/>
                  <a:pt x="2049193" y="812728"/>
                  <a:pt x="2057173" y="811888"/>
                </a:cubicBezTo>
                <a:cubicBezTo>
                  <a:pt x="2064733" y="811468"/>
                  <a:pt x="2071872" y="810208"/>
                  <a:pt x="2078172" y="808528"/>
                </a:cubicBezTo>
                <a:cubicBezTo>
                  <a:pt x="2084472" y="806848"/>
                  <a:pt x="2091192" y="804328"/>
                  <a:pt x="2097491" y="801388"/>
                </a:cubicBezTo>
                <a:cubicBezTo>
                  <a:pt x="2103791" y="798448"/>
                  <a:pt x="2111351" y="793828"/>
                  <a:pt x="2119330" y="788789"/>
                </a:cubicBezTo>
                <a:cubicBezTo>
                  <a:pt x="2124790" y="796348"/>
                  <a:pt x="2128150" y="806008"/>
                  <a:pt x="2129830" y="818187"/>
                </a:cubicBezTo>
                <a:cubicBezTo>
                  <a:pt x="2131090" y="830367"/>
                  <a:pt x="2133190" y="842546"/>
                  <a:pt x="2135290" y="854306"/>
                </a:cubicBezTo>
                <a:cubicBezTo>
                  <a:pt x="2137390" y="866065"/>
                  <a:pt x="2141170" y="876565"/>
                  <a:pt x="2146209" y="885384"/>
                </a:cubicBezTo>
                <a:cubicBezTo>
                  <a:pt x="2151249" y="894204"/>
                  <a:pt x="2160069" y="899244"/>
                  <a:pt x="2173088" y="900084"/>
                </a:cubicBezTo>
                <a:cubicBezTo>
                  <a:pt x="2182328" y="900924"/>
                  <a:pt x="2190727" y="899664"/>
                  <a:pt x="2197867" y="895884"/>
                </a:cubicBezTo>
                <a:cubicBezTo>
                  <a:pt x="2205007" y="892104"/>
                  <a:pt x="2211307" y="887065"/>
                  <a:pt x="2215926" y="880765"/>
                </a:cubicBezTo>
                <a:cubicBezTo>
                  <a:pt x="2220546" y="874465"/>
                  <a:pt x="2223906" y="866905"/>
                  <a:pt x="2226006" y="858926"/>
                </a:cubicBezTo>
                <a:cubicBezTo>
                  <a:pt x="2227686" y="850526"/>
                  <a:pt x="2228106" y="842126"/>
                  <a:pt x="2226846" y="833727"/>
                </a:cubicBezTo>
                <a:cubicBezTo>
                  <a:pt x="2226426" y="829527"/>
                  <a:pt x="2224746" y="825327"/>
                  <a:pt x="2221386" y="819867"/>
                </a:cubicBezTo>
                <a:cubicBezTo>
                  <a:pt x="2218446" y="814828"/>
                  <a:pt x="2214666" y="808948"/>
                  <a:pt x="2210886" y="803068"/>
                </a:cubicBezTo>
                <a:cubicBezTo>
                  <a:pt x="2206687" y="797188"/>
                  <a:pt x="2203327" y="790469"/>
                  <a:pt x="2199547" y="783749"/>
                </a:cubicBezTo>
                <a:cubicBezTo>
                  <a:pt x="2196187" y="777029"/>
                  <a:pt x="2193667" y="769889"/>
                  <a:pt x="2191987" y="762330"/>
                </a:cubicBezTo>
                <a:cubicBezTo>
                  <a:pt x="2191147" y="756870"/>
                  <a:pt x="2189467" y="749730"/>
                  <a:pt x="2187787" y="742171"/>
                </a:cubicBezTo>
                <a:cubicBezTo>
                  <a:pt x="2185688" y="734191"/>
                  <a:pt x="2184008" y="726211"/>
                  <a:pt x="2181908" y="718652"/>
                </a:cubicBezTo>
                <a:cubicBezTo>
                  <a:pt x="2179808" y="710672"/>
                  <a:pt x="2177708" y="702692"/>
                  <a:pt x="2175608" y="695133"/>
                </a:cubicBezTo>
                <a:cubicBezTo>
                  <a:pt x="2173508" y="687573"/>
                  <a:pt x="2171828" y="680853"/>
                  <a:pt x="2170568" y="674553"/>
                </a:cubicBezTo>
                <a:cubicBezTo>
                  <a:pt x="2168048" y="663634"/>
                  <a:pt x="2165948" y="653135"/>
                  <a:pt x="2163848" y="643475"/>
                </a:cubicBezTo>
                <a:cubicBezTo>
                  <a:pt x="2161748" y="633815"/>
                  <a:pt x="2159229" y="624156"/>
                  <a:pt x="2156289" y="614916"/>
                </a:cubicBezTo>
                <a:cubicBezTo>
                  <a:pt x="2153349" y="605677"/>
                  <a:pt x="2149989" y="596017"/>
                  <a:pt x="2146209" y="586777"/>
                </a:cubicBezTo>
                <a:cubicBezTo>
                  <a:pt x="2142429" y="577538"/>
                  <a:pt x="2137390" y="567458"/>
                  <a:pt x="2131930" y="556539"/>
                </a:cubicBezTo>
                <a:cubicBezTo>
                  <a:pt x="2129410" y="551079"/>
                  <a:pt x="2125210" y="545199"/>
                  <a:pt x="2120590" y="538479"/>
                </a:cubicBezTo>
                <a:cubicBezTo>
                  <a:pt x="2115971" y="531760"/>
                  <a:pt x="2110091" y="525460"/>
                  <a:pt x="2103791" y="520420"/>
                </a:cubicBezTo>
                <a:cubicBezTo>
                  <a:pt x="2097491" y="514960"/>
                  <a:pt x="2090772" y="511601"/>
                  <a:pt x="2083632" y="509501"/>
                </a:cubicBezTo>
                <a:cubicBezTo>
                  <a:pt x="2076492" y="507821"/>
                  <a:pt x="2069352" y="509501"/>
                  <a:pt x="2062213" y="514540"/>
                </a:cubicBezTo>
                <a:cubicBezTo>
                  <a:pt x="2058853" y="517060"/>
                  <a:pt x="2055493" y="522100"/>
                  <a:pt x="2051713" y="529240"/>
                </a:cubicBezTo>
                <a:cubicBezTo>
                  <a:pt x="2047933" y="536380"/>
                  <a:pt x="2044574" y="544359"/>
                  <a:pt x="2041634" y="553179"/>
                </a:cubicBezTo>
                <a:cubicBezTo>
                  <a:pt x="2038274" y="561579"/>
                  <a:pt x="2035334" y="569978"/>
                  <a:pt x="2032394" y="577958"/>
                </a:cubicBezTo>
                <a:cubicBezTo>
                  <a:pt x="2029454" y="585937"/>
                  <a:pt x="2027354" y="591817"/>
                  <a:pt x="2025674" y="596017"/>
                </a:cubicBezTo>
                <a:cubicBezTo>
                  <a:pt x="2023154" y="601897"/>
                  <a:pt x="2019375" y="609876"/>
                  <a:pt x="2014755" y="619116"/>
                </a:cubicBezTo>
                <a:cubicBezTo>
                  <a:pt x="2010135" y="628776"/>
                  <a:pt x="2005515" y="638435"/>
                  <a:pt x="2001316" y="648515"/>
                </a:cubicBezTo>
                <a:cubicBezTo>
                  <a:pt x="1997116" y="658594"/>
                  <a:pt x="1993336" y="668674"/>
                  <a:pt x="1990396" y="678333"/>
                </a:cubicBezTo>
                <a:cubicBezTo>
                  <a:pt x="1987456" y="687993"/>
                  <a:pt x="1986196" y="695553"/>
                  <a:pt x="1986196" y="701432"/>
                </a:cubicBezTo>
                <a:cubicBezTo>
                  <a:pt x="1980736" y="714452"/>
                  <a:pt x="1974437" y="727891"/>
                  <a:pt x="1966457" y="742171"/>
                </a:cubicBezTo>
                <a:cubicBezTo>
                  <a:pt x="1958477" y="756450"/>
                  <a:pt x="1950918" y="771149"/>
                  <a:pt x="1943778" y="786269"/>
                </a:cubicBezTo>
                <a:cubicBezTo>
                  <a:pt x="1936638" y="801388"/>
                  <a:pt x="1930758" y="816927"/>
                  <a:pt x="1926139" y="832887"/>
                </a:cubicBezTo>
                <a:cubicBezTo>
                  <a:pt x="1921519" y="848846"/>
                  <a:pt x="1919839" y="865225"/>
                  <a:pt x="1921519" y="881605"/>
                </a:cubicBezTo>
                <a:cubicBezTo>
                  <a:pt x="1922359" y="890424"/>
                  <a:pt x="1924459" y="898824"/>
                  <a:pt x="1927819" y="906804"/>
                </a:cubicBezTo>
                <a:cubicBezTo>
                  <a:pt x="1931178" y="914783"/>
                  <a:pt x="1935798" y="921923"/>
                  <a:pt x="1941678" y="927803"/>
                </a:cubicBezTo>
                <a:cubicBezTo>
                  <a:pt x="1950078" y="933263"/>
                  <a:pt x="1957217" y="934942"/>
                  <a:pt x="1963097" y="933263"/>
                </a:cubicBezTo>
                <a:moveTo>
                  <a:pt x="2089512" y="624576"/>
                </a:moveTo>
                <a:cubicBezTo>
                  <a:pt x="2089092" y="630036"/>
                  <a:pt x="2089932" y="638015"/>
                  <a:pt x="2092451" y="648095"/>
                </a:cubicBezTo>
                <a:cubicBezTo>
                  <a:pt x="2094971" y="658174"/>
                  <a:pt x="2097491" y="668674"/>
                  <a:pt x="2100011" y="679173"/>
                </a:cubicBezTo>
                <a:cubicBezTo>
                  <a:pt x="2102531" y="689673"/>
                  <a:pt x="2104631" y="699752"/>
                  <a:pt x="2106311" y="709412"/>
                </a:cubicBezTo>
                <a:cubicBezTo>
                  <a:pt x="2107571" y="719072"/>
                  <a:pt x="2107571" y="725791"/>
                  <a:pt x="2105891" y="730411"/>
                </a:cubicBezTo>
                <a:cubicBezTo>
                  <a:pt x="2103791" y="731671"/>
                  <a:pt x="2099171" y="732931"/>
                  <a:pt x="2091192" y="734191"/>
                </a:cubicBezTo>
                <a:cubicBezTo>
                  <a:pt x="2083632" y="735451"/>
                  <a:pt x="2075652" y="736711"/>
                  <a:pt x="2067673" y="737551"/>
                </a:cubicBezTo>
                <a:cubicBezTo>
                  <a:pt x="2059693" y="738391"/>
                  <a:pt x="2052133" y="738811"/>
                  <a:pt x="2045834" y="738811"/>
                </a:cubicBezTo>
                <a:cubicBezTo>
                  <a:pt x="2039534" y="738811"/>
                  <a:pt x="2036594" y="737971"/>
                  <a:pt x="2037014" y="735871"/>
                </a:cubicBezTo>
                <a:cubicBezTo>
                  <a:pt x="2042474" y="718652"/>
                  <a:pt x="2049193" y="700173"/>
                  <a:pt x="2056333" y="679593"/>
                </a:cubicBezTo>
                <a:cubicBezTo>
                  <a:pt x="2063893" y="659014"/>
                  <a:pt x="2072292" y="640955"/>
                  <a:pt x="2081532" y="624996"/>
                </a:cubicBezTo>
                <a:lnTo>
                  <a:pt x="2089512" y="624576"/>
                </a:lnTo>
                <a:close/>
                <a:moveTo>
                  <a:pt x="2428437" y="757710"/>
                </a:moveTo>
                <a:cubicBezTo>
                  <a:pt x="2432637" y="758550"/>
                  <a:pt x="2436417" y="759390"/>
                  <a:pt x="2439777" y="760650"/>
                </a:cubicBezTo>
                <a:cubicBezTo>
                  <a:pt x="2449016" y="763590"/>
                  <a:pt x="2459096" y="767370"/>
                  <a:pt x="2470435" y="771989"/>
                </a:cubicBezTo>
                <a:cubicBezTo>
                  <a:pt x="2481775" y="776609"/>
                  <a:pt x="2491014" y="782489"/>
                  <a:pt x="2498574" y="790049"/>
                </a:cubicBezTo>
                <a:cubicBezTo>
                  <a:pt x="2505294" y="796348"/>
                  <a:pt x="2512854" y="803068"/>
                  <a:pt x="2521253" y="809368"/>
                </a:cubicBezTo>
                <a:cubicBezTo>
                  <a:pt x="2529653" y="815668"/>
                  <a:pt x="2538472" y="821547"/>
                  <a:pt x="2548132" y="826167"/>
                </a:cubicBezTo>
                <a:cubicBezTo>
                  <a:pt x="2557372" y="830787"/>
                  <a:pt x="2567451" y="834567"/>
                  <a:pt x="2577531" y="837087"/>
                </a:cubicBezTo>
                <a:cubicBezTo>
                  <a:pt x="2587610" y="839607"/>
                  <a:pt x="2598110" y="840446"/>
                  <a:pt x="2608609" y="839186"/>
                </a:cubicBezTo>
                <a:cubicBezTo>
                  <a:pt x="2617849" y="838346"/>
                  <a:pt x="2626669" y="835407"/>
                  <a:pt x="2634648" y="830787"/>
                </a:cubicBezTo>
                <a:cubicBezTo>
                  <a:pt x="2642208" y="826587"/>
                  <a:pt x="2647668" y="821967"/>
                  <a:pt x="2651027" y="816087"/>
                </a:cubicBezTo>
                <a:cubicBezTo>
                  <a:pt x="2654388" y="810208"/>
                  <a:pt x="2655227" y="804328"/>
                  <a:pt x="2654388" y="798868"/>
                </a:cubicBezTo>
                <a:cubicBezTo>
                  <a:pt x="2653547" y="792988"/>
                  <a:pt x="2650608" y="787529"/>
                  <a:pt x="2645988" y="782489"/>
                </a:cubicBezTo>
                <a:cubicBezTo>
                  <a:pt x="2641368" y="777449"/>
                  <a:pt x="2635488" y="773249"/>
                  <a:pt x="2627509" y="769889"/>
                </a:cubicBezTo>
                <a:cubicBezTo>
                  <a:pt x="2624149" y="768630"/>
                  <a:pt x="2620789" y="768630"/>
                  <a:pt x="2616589" y="769049"/>
                </a:cubicBezTo>
                <a:cubicBezTo>
                  <a:pt x="2612809" y="769889"/>
                  <a:pt x="2609449" y="768630"/>
                  <a:pt x="2606509" y="766110"/>
                </a:cubicBezTo>
                <a:cubicBezTo>
                  <a:pt x="2597270" y="758970"/>
                  <a:pt x="2588030" y="752670"/>
                  <a:pt x="2577951" y="746790"/>
                </a:cubicBezTo>
                <a:cubicBezTo>
                  <a:pt x="2567871" y="740911"/>
                  <a:pt x="2557792" y="735451"/>
                  <a:pt x="2547712" y="729991"/>
                </a:cubicBezTo>
                <a:cubicBezTo>
                  <a:pt x="2537212" y="724531"/>
                  <a:pt x="2527133" y="719492"/>
                  <a:pt x="2516633" y="714032"/>
                </a:cubicBezTo>
                <a:cubicBezTo>
                  <a:pt x="2506554" y="708572"/>
                  <a:pt x="2496474" y="702692"/>
                  <a:pt x="2487234" y="695973"/>
                </a:cubicBezTo>
                <a:cubicBezTo>
                  <a:pt x="2498994" y="695553"/>
                  <a:pt x="2509914" y="690933"/>
                  <a:pt x="2519573" y="682953"/>
                </a:cubicBezTo>
                <a:cubicBezTo>
                  <a:pt x="2529233" y="674553"/>
                  <a:pt x="2537212" y="664054"/>
                  <a:pt x="2543932" y="650615"/>
                </a:cubicBezTo>
                <a:cubicBezTo>
                  <a:pt x="2550652" y="637175"/>
                  <a:pt x="2555692" y="622476"/>
                  <a:pt x="2559471" y="606517"/>
                </a:cubicBezTo>
                <a:cubicBezTo>
                  <a:pt x="2563251" y="590557"/>
                  <a:pt x="2564931" y="574598"/>
                  <a:pt x="2565351" y="558639"/>
                </a:cubicBezTo>
                <a:cubicBezTo>
                  <a:pt x="2565771" y="542679"/>
                  <a:pt x="2564091" y="527980"/>
                  <a:pt x="2560731" y="514121"/>
                </a:cubicBezTo>
                <a:cubicBezTo>
                  <a:pt x="2557372" y="500261"/>
                  <a:pt x="2551912" y="489342"/>
                  <a:pt x="2543932" y="480522"/>
                </a:cubicBezTo>
                <a:cubicBezTo>
                  <a:pt x="2536372" y="472122"/>
                  <a:pt x="2526713" y="467083"/>
                  <a:pt x="2514533" y="465403"/>
                </a:cubicBezTo>
                <a:cubicBezTo>
                  <a:pt x="2502354" y="463723"/>
                  <a:pt x="2488075" y="467502"/>
                  <a:pt x="2471695" y="476742"/>
                </a:cubicBezTo>
                <a:cubicBezTo>
                  <a:pt x="2468335" y="476322"/>
                  <a:pt x="2464556" y="477582"/>
                  <a:pt x="2460776" y="480522"/>
                </a:cubicBezTo>
                <a:cubicBezTo>
                  <a:pt x="2456996" y="483462"/>
                  <a:pt x="2453216" y="487242"/>
                  <a:pt x="2449856" y="491441"/>
                </a:cubicBezTo>
                <a:cubicBezTo>
                  <a:pt x="2446076" y="495641"/>
                  <a:pt x="2442717" y="500261"/>
                  <a:pt x="2439357" y="504881"/>
                </a:cubicBezTo>
                <a:cubicBezTo>
                  <a:pt x="2435997" y="509501"/>
                  <a:pt x="2432637" y="513281"/>
                  <a:pt x="2430117" y="515800"/>
                </a:cubicBezTo>
                <a:cubicBezTo>
                  <a:pt x="2427177" y="518740"/>
                  <a:pt x="2423817" y="520840"/>
                  <a:pt x="2420037" y="522100"/>
                </a:cubicBezTo>
                <a:cubicBezTo>
                  <a:pt x="2416258" y="523780"/>
                  <a:pt x="2412898" y="525040"/>
                  <a:pt x="2409958" y="526720"/>
                </a:cubicBezTo>
                <a:cubicBezTo>
                  <a:pt x="2407018" y="528400"/>
                  <a:pt x="2404078" y="530080"/>
                  <a:pt x="2401558" y="532600"/>
                </a:cubicBezTo>
                <a:cubicBezTo>
                  <a:pt x="2399038" y="534700"/>
                  <a:pt x="2397359" y="538479"/>
                  <a:pt x="2396938" y="543099"/>
                </a:cubicBezTo>
                <a:cubicBezTo>
                  <a:pt x="2394838" y="554859"/>
                  <a:pt x="2392319" y="566198"/>
                  <a:pt x="2388959" y="576698"/>
                </a:cubicBezTo>
                <a:cubicBezTo>
                  <a:pt x="2385599" y="587197"/>
                  <a:pt x="2382239" y="597697"/>
                  <a:pt x="2378459" y="608196"/>
                </a:cubicBezTo>
                <a:cubicBezTo>
                  <a:pt x="2374679" y="618696"/>
                  <a:pt x="2370900" y="629195"/>
                  <a:pt x="2367120" y="639695"/>
                </a:cubicBezTo>
                <a:cubicBezTo>
                  <a:pt x="2363340" y="650195"/>
                  <a:pt x="2359980" y="661114"/>
                  <a:pt x="2356620" y="672454"/>
                </a:cubicBezTo>
                <a:cubicBezTo>
                  <a:pt x="2352420" y="685893"/>
                  <a:pt x="2349061" y="700173"/>
                  <a:pt x="2346961" y="714452"/>
                </a:cubicBezTo>
                <a:cubicBezTo>
                  <a:pt x="2344861" y="728731"/>
                  <a:pt x="2342341" y="742591"/>
                  <a:pt x="2338561" y="755610"/>
                </a:cubicBezTo>
                <a:cubicBezTo>
                  <a:pt x="2337301" y="760230"/>
                  <a:pt x="2335201" y="767790"/>
                  <a:pt x="2332261" y="779129"/>
                </a:cubicBezTo>
                <a:cubicBezTo>
                  <a:pt x="2329321" y="790469"/>
                  <a:pt x="2325962" y="803068"/>
                  <a:pt x="2323022" y="817347"/>
                </a:cubicBezTo>
                <a:cubicBezTo>
                  <a:pt x="2319662" y="831627"/>
                  <a:pt x="2317142" y="846326"/>
                  <a:pt x="2315042" y="861445"/>
                </a:cubicBezTo>
                <a:cubicBezTo>
                  <a:pt x="2312942" y="876565"/>
                  <a:pt x="2312522" y="890424"/>
                  <a:pt x="2313782" y="902604"/>
                </a:cubicBezTo>
                <a:cubicBezTo>
                  <a:pt x="2315042" y="914783"/>
                  <a:pt x="2317982" y="924863"/>
                  <a:pt x="2323022" y="932003"/>
                </a:cubicBezTo>
                <a:cubicBezTo>
                  <a:pt x="2328061" y="939562"/>
                  <a:pt x="2336461" y="942502"/>
                  <a:pt x="2347381" y="941662"/>
                </a:cubicBezTo>
                <a:cubicBezTo>
                  <a:pt x="2355780" y="940822"/>
                  <a:pt x="2362080" y="937882"/>
                  <a:pt x="2367120" y="932842"/>
                </a:cubicBezTo>
                <a:cubicBezTo>
                  <a:pt x="2372160" y="927803"/>
                  <a:pt x="2375939" y="921923"/>
                  <a:pt x="2378459" y="914783"/>
                </a:cubicBezTo>
                <a:cubicBezTo>
                  <a:pt x="2381399" y="907643"/>
                  <a:pt x="2382659" y="899664"/>
                  <a:pt x="2383499" y="891264"/>
                </a:cubicBezTo>
                <a:cubicBezTo>
                  <a:pt x="2384339" y="882865"/>
                  <a:pt x="2384759" y="874465"/>
                  <a:pt x="2384339" y="866485"/>
                </a:cubicBezTo>
                <a:cubicBezTo>
                  <a:pt x="2384339" y="859766"/>
                  <a:pt x="2385599" y="850946"/>
                  <a:pt x="2388119" y="840446"/>
                </a:cubicBezTo>
                <a:cubicBezTo>
                  <a:pt x="2390639" y="829947"/>
                  <a:pt x="2393579" y="819027"/>
                  <a:pt x="2396938" y="808108"/>
                </a:cubicBezTo>
                <a:cubicBezTo>
                  <a:pt x="2400718" y="796768"/>
                  <a:pt x="2404498" y="786269"/>
                  <a:pt x="2408698" y="775349"/>
                </a:cubicBezTo>
                <a:cubicBezTo>
                  <a:pt x="2412898" y="764850"/>
                  <a:pt x="2416678" y="755610"/>
                  <a:pt x="2420458" y="748470"/>
                </a:cubicBezTo>
                <a:cubicBezTo>
                  <a:pt x="2421717" y="754350"/>
                  <a:pt x="2424237" y="756870"/>
                  <a:pt x="2428437" y="757710"/>
                </a:cubicBezTo>
                <a:moveTo>
                  <a:pt x="2460776" y="649355"/>
                </a:moveTo>
                <a:cubicBezTo>
                  <a:pt x="2458256" y="653135"/>
                  <a:pt x="2455316" y="656494"/>
                  <a:pt x="2452376" y="659434"/>
                </a:cubicBezTo>
                <a:cubicBezTo>
                  <a:pt x="2449436" y="661954"/>
                  <a:pt x="2446496" y="664054"/>
                  <a:pt x="2443976" y="664894"/>
                </a:cubicBezTo>
                <a:cubicBezTo>
                  <a:pt x="2441036" y="665734"/>
                  <a:pt x="2438937" y="665314"/>
                  <a:pt x="2437257" y="663214"/>
                </a:cubicBezTo>
                <a:cubicBezTo>
                  <a:pt x="2433477" y="659434"/>
                  <a:pt x="2432637" y="653554"/>
                  <a:pt x="2434317" y="645995"/>
                </a:cubicBezTo>
                <a:cubicBezTo>
                  <a:pt x="2435997" y="638435"/>
                  <a:pt x="2438937" y="630876"/>
                  <a:pt x="2443557" y="622476"/>
                </a:cubicBezTo>
                <a:cubicBezTo>
                  <a:pt x="2447756" y="614076"/>
                  <a:pt x="2452796" y="606937"/>
                  <a:pt x="2458256" y="600217"/>
                </a:cubicBezTo>
                <a:cubicBezTo>
                  <a:pt x="2463716" y="593497"/>
                  <a:pt x="2468335" y="588877"/>
                  <a:pt x="2472115" y="586357"/>
                </a:cubicBezTo>
                <a:cubicBezTo>
                  <a:pt x="2472115" y="595177"/>
                  <a:pt x="2472535" y="603997"/>
                  <a:pt x="2472955" y="612396"/>
                </a:cubicBezTo>
                <a:cubicBezTo>
                  <a:pt x="2473375" y="620796"/>
                  <a:pt x="2471275" y="629195"/>
                  <a:pt x="2467075" y="638015"/>
                </a:cubicBezTo>
                <a:cubicBezTo>
                  <a:pt x="2465396" y="641375"/>
                  <a:pt x="2463296" y="645575"/>
                  <a:pt x="2460776" y="649355"/>
                </a:cubicBezTo>
                <a:moveTo>
                  <a:pt x="2831200" y="496901"/>
                </a:moveTo>
                <a:cubicBezTo>
                  <a:pt x="2816500" y="506141"/>
                  <a:pt x="2803061" y="517480"/>
                  <a:pt x="2790882" y="531340"/>
                </a:cubicBezTo>
                <a:cubicBezTo>
                  <a:pt x="2778702" y="545199"/>
                  <a:pt x="2767783" y="560738"/>
                  <a:pt x="2758543" y="578378"/>
                </a:cubicBezTo>
                <a:cubicBezTo>
                  <a:pt x="2748883" y="595597"/>
                  <a:pt x="2741324" y="613656"/>
                  <a:pt x="2735444" y="631716"/>
                </a:cubicBezTo>
                <a:cubicBezTo>
                  <a:pt x="2729564" y="650195"/>
                  <a:pt x="2725784" y="668254"/>
                  <a:pt x="2723685" y="685893"/>
                </a:cubicBezTo>
                <a:cubicBezTo>
                  <a:pt x="2722004" y="703532"/>
                  <a:pt x="2722424" y="719492"/>
                  <a:pt x="2725364" y="734191"/>
                </a:cubicBezTo>
                <a:cubicBezTo>
                  <a:pt x="2728304" y="752250"/>
                  <a:pt x="2735864" y="769049"/>
                  <a:pt x="2748043" y="784169"/>
                </a:cubicBezTo>
                <a:cubicBezTo>
                  <a:pt x="2760223" y="799288"/>
                  <a:pt x="2774082" y="810208"/>
                  <a:pt x="2790882" y="817767"/>
                </a:cubicBezTo>
                <a:cubicBezTo>
                  <a:pt x="2807261" y="825327"/>
                  <a:pt x="2824900" y="828267"/>
                  <a:pt x="2843799" y="826587"/>
                </a:cubicBezTo>
                <a:cubicBezTo>
                  <a:pt x="2862698" y="824907"/>
                  <a:pt x="2880338" y="816927"/>
                  <a:pt x="2896297" y="802648"/>
                </a:cubicBezTo>
                <a:cubicBezTo>
                  <a:pt x="2901757" y="798028"/>
                  <a:pt x="2908056" y="793409"/>
                  <a:pt x="2915616" y="788789"/>
                </a:cubicBezTo>
                <a:cubicBezTo>
                  <a:pt x="2923176" y="784169"/>
                  <a:pt x="2930315" y="779129"/>
                  <a:pt x="2937455" y="773669"/>
                </a:cubicBezTo>
                <a:cubicBezTo>
                  <a:pt x="2944175" y="768210"/>
                  <a:pt x="2950055" y="761910"/>
                  <a:pt x="2954254" y="755190"/>
                </a:cubicBezTo>
                <a:cubicBezTo>
                  <a:pt x="2958454" y="748470"/>
                  <a:pt x="2960134" y="740071"/>
                  <a:pt x="2959294" y="730831"/>
                </a:cubicBezTo>
                <a:cubicBezTo>
                  <a:pt x="2958454" y="724112"/>
                  <a:pt x="2955514" y="719492"/>
                  <a:pt x="2949635" y="717392"/>
                </a:cubicBezTo>
                <a:cubicBezTo>
                  <a:pt x="2943755" y="715292"/>
                  <a:pt x="2937035" y="714872"/>
                  <a:pt x="2929056" y="715712"/>
                </a:cubicBezTo>
                <a:cubicBezTo>
                  <a:pt x="2921076" y="716552"/>
                  <a:pt x="2912256" y="718652"/>
                  <a:pt x="2903017" y="721592"/>
                </a:cubicBezTo>
                <a:cubicBezTo>
                  <a:pt x="2893777" y="724531"/>
                  <a:pt x="2884538" y="727471"/>
                  <a:pt x="2876138" y="731251"/>
                </a:cubicBezTo>
                <a:cubicBezTo>
                  <a:pt x="2867738" y="734611"/>
                  <a:pt x="2860599" y="737971"/>
                  <a:pt x="2854299" y="740911"/>
                </a:cubicBezTo>
                <a:cubicBezTo>
                  <a:pt x="2847999" y="743851"/>
                  <a:pt x="2844219" y="745111"/>
                  <a:pt x="2842539" y="745531"/>
                </a:cubicBezTo>
                <a:cubicBezTo>
                  <a:pt x="2831200" y="748050"/>
                  <a:pt x="2822380" y="746790"/>
                  <a:pt x="2816081" y="743011"/>
                </a:cubicBezTo>
                <a:cubicBezTo>
                  <a:pt x="2809781" y="739231"/>
                  <a:pt x="2805161" y="733351"/>
                  <a:pt x="2802641" y="726211"/>
                </a:cubicBezTo>
                <a:cubicBezTo>
                  <a:pt x="2800121" y="718652"/>
                  <a:pt x="2798861" y="710252"/>
                  <a:pt x="2798861" y="700173"/>
                </a:cubicBezTo>
                <a:cubicBezTo>
                  <a:pt x="2799281" y="690093"/>
                  <a:pt x="2800541" y="680013"/>
                  <a:pt x="2802641" y="670354"/>
                </a:cubicBezTo>
                <a:cubicBezTo>
                  <a:pt x="2804741" y="660694"/>
                  <a:pt x="2807681" y="651035"/>
                  <a:pt x="2810621" y="642635"/>
                </a:cubicBezTo>
                <a:cubicBezTo>
                  <a:pt x="2813561" y="633815"/>
                  <a:pt x="2816920" y="627096"/>
                  <a:pt x="2819860" y="622056"/>
                </a:cubicBezTo>
                <a:cubicBezTo>
                  <a:pt x="2826160" y="610716"/>
                  <a:pt x="2832880" y="600217"/>
                  <a:pt x="2838759" y="590137"/>
                </a:cubicBezTo>
                <a:cubicBezTo>
                  <a:pt x="2844639" y="580058"/>
                  <a:pt x="2851779" y="572078"/>
                  <a:pt x="2860179" y="566198"/>
                </a:cubicBezTo>
                <a:cubicBezTo>
                  <a:pt x="2868158" y="559898"/>
                  <a:pt x="2877818" y="556539"/>
                  <a:pt x="2889157" y="555279"/>
                </a:cubicBezTo>
                <a:cubicBezTo>
                  <a:pt x="2900497" y="554439"/>
                  <a:pt x="2914356" y="556959"/>
                  <a:pt x="2931576" y="563258"/>
                </a:cubicBezTo>
                <a:cubicBezTo>
                  <a:pt x="2938295" y="561998"/>
                  <a:pt x="2943335" y="559058"/>
                  <a:pt x="2946275" y="554859"/>
                </a:cubicBezTo>
                <a:cubicBezTo>
                  <a:pt x="2949215" y="550659"/>
                  <a:pt x="2950895" y="546039"/>
                  <a:pt x="2951735" y="540579"/>
                </a:cubicBezTo>
                <a:cubicBezTo>
                  <a:pt x="2952155" y="535120"/>
                  <a:pt x="2951735" y="529240"/>
                  <a:pt x="2950475" y="523360"/>
                </a:cubicBezTo>
                <a:cubicBezTo>
                  <a:pt x="2949215" y="517480"/>
                  <a:pt x="2947115" y="511601"/>
                  <a:pt x="2945015" y="506561"/>
                </a:cubicBezTo>
                <a:cubicBezTo>
                  <a:pt x="2942495" y="501101"/>
                  <a:pt x="2939135" y="496481"/>
                  <a:pt x="2933676" y="493121"/>
                </a:cubicBezTo>
                <a:cubicBezTo>
                  <a:pt x="2928636" y="489761"/>
                  <a:pt x="2922756" y="486822"/>
                  <a:pt x="2916456" y="485142"/>
                </a:cubicBezTo>
                <a:cubicBezTo>
                  <a:pt x="2910156" y="483462"/>
                  <a:pt x="2903437" y="482202"/>
                  <a:pt x="2896717" y="481362"/>
                </a:cubicBezTo>
                <a:cubicBezTo>
                  <a:pt x="2889997" y="480942"/>
                  <a:pt x="2883698" y="480942"/>
                  <a:pt x="2878238" y="481362"/>
                </a:cubicBezTo>
                <a:cubicBezTo>
                  <a:pt x="2861018" y="482202"/>
                  <a:pt x="2845899" y="487662"/>
                  <a:pt x="2831200" y="496901"/>
                </a:cubicBezTo>
                <a:moveTo>
                  <a:pt x="3248662" y="421725"/>
                </a:moveTo>
                <a:cubicBezTo>
                  <a:pt x="3238582" y="427604"/>
                  <a:pt x="3232283" y="437264"/>
                  <a:pt x="3229763" y="451543"/>
                </a:cubicBezTo>
                <a:cubicBezTo>
                  <a:pt x="3227663" y="461623"/>
                  <a:pt x="3226403" y="471702"/>
                  <a:pt x="3225983" y="481362"/>
                </a:cubicBezTo>
                <a:cubicBezTo>
                  <a:pt x="3225563" y="491022"/>
                  <a:pt x="3225143" y="500681"/>
                  <a:pt x="3224723" y="510341"/>
                </a:cubicBezTo>
                <a:cubicBezTo>
                  <a:pt x="3224303" y="520000"/>
                  <a:pt x="3223883" y="529660"/>
                  <a:pt x="3223043" y="539739"/>
                </a:cubicBezTo>
                <a:cubicBezTo>
                  <a:pt x="3222203" y="549399"/>
                  <a:pt x="3220103" y="559058"/>
                  <a:pt x="3217163" y="568298"/>
                </a:cubicBezTo>
                <a:cubicBezTo>
                  <a:pt x="3213383" y="569138"/>
                  <a:pt x="3207924" y="569978"/>
                  <a:pt x="3201204" y="571238"/>
                </a:cubicBezTo>
                <a:cubicBezTo>
                  <a:pt x="3194484" y="572078"/>
                  <a:pt x="3187344" y="573338"/>
                  <a:pt x="3180625" y="574178"/>
                </a:cubicBezTo>
                <a:cubicBezTo>
                  <a:pt x="3173485" y="575018"/>
                  <a:pt x="3167185" y="575858"/>
                  <a:pt x="3160466" y="576278"/>
                </a:cubicBezTo>
                <a:cubicBezTo>
                  <a:pt x="3154166" y="576698"/>
                  <a:pt x="3149546" y="576698"/>
                  <a:pt x="3146186" y="576278"/>
                </a:cubicBezTo>
                <a:cubicBezTo>
                  <a:pt x="3143246" y="566198"/>
                  <a:pt x="3141567" y="556539"/>
                  <a:pt x="3141567" y="547719"/>
                </a:cubicBezTo>
                <a:cubicBezTo>
                  <a:pt x="3141146" y="538899"/>
                  <a:pt x="3141567" y="530500"/>
                  <a:pt x="3142406" y="522520"/>
                </a:cubicBezTo>
                <a:cubicBezTo>
                  <a:pt x="3143246" y="514540"/>
                  <a:pt x="3144086" y="506141"/>
                  <a:pt x="3144926" y="497741"/>
                </a:cubicBezTo>
                <a:cubicBezTo>
                  <a:pt x="3145766" y="489342"/>
                  <a:pt x="3146186" y="480102"/>
                  <a:pt x="3145766" y="470442"/>
                </a:cubicBezTo>
                <a:cubicBezTo>
                  <a:pt x="3145766" y="466243"/>
                  <a:pt x="3143666" y="462043"/>
                  <a:pt x="3139887" y="458683"/>
                </a:cubicBezTo>
                <a:cubicBezTo>
                  <a:pt x="3136107" y="454903"/>
                  <a:pt x="3131907" y="451963"/>
                  <a:pt x="3126867" y="449863"/>
                </a:cubicBezTo>
                <a:cubicBezTo>
                  <a:pt x="3121827" y="447763"/>
                  <a:pt x="3116788" y="446083"/>
                  <a:pt x="3111328" y="445663"/>
                </a:cubicBezTo>
                <a:cubicBezTo>
                  <a:pt x="3105868" y="444824"/>
                  <a:pt x="3101668" y="445243"/>
                  <a:pt x="3098728" y="446923"/>
                </a:cubicBezTo>
                <a:cubicBezTo>
                  <a:pt x="3092849" y="449443"/>
                  <a:pt x="3088229" y="454483"/>
                  <a:pt x="3085289" y="462043"/>
                </a:cubicBezTo>
                <a:cubicBezTo>
                  <a:pt x="3082349" y="469602"/>
                  <a:pt x="3080249" y="478002"/>
                  <a:pt x="3078989" y="487242"/>
                </a:cubicBezTo>
                <a:cubicBezTo>
                  <a:pt x="3077729" y="496481"/>
                  <a:pt x="3077309" y="505301"/>
                  <a:pt x="3077729" y="514121"/>
                </a:cubicBezTo>
                <a:cubicBezTo>
                  <a:pt x="3078149" y="522940"/>
                  <a:pt x="3078569" y="529660"/>
                  <a:pt x="3078989" y="534280"/>
                </a:cubicBezTo>
                <a:cubicBezTo>
                  <a:pt x="3080249" y="544359"/>
                  <a:pt x="3080669" y="554439"/>
                  <a:pt x="3079829" y="564098"/>
                </a:cubicBezTo>
                <a:cubicBezTo>
                  <a:pt x="3078989" y="574178"/>
                  <a:pt x="3077729" y="583837"/>
                  <a:pt x="3076049" y="593917"/>
                </a:cubicBezTo>
                <a:cubicBezTo>
                  <a:pt x="3074789" y="603997"/>
                  <a:pt x="3073109" y="614076"/>
                  <a:pt x="3072270" y="624576"/>
                </a:cubicBezTo>
                <a:cubicBezTo>
                  <a:pt x="3071009" y="634655"/>
                  <a:pt x="3071009" y="645155"/>
                  <a:pt x="3071430" y="655234"/>
                </a:cubicBezTo>
                <a:cubicBezTo>
                  <a:pt x="3071849" y="659854"/>
                  <a:pt x="3072270" y="665734"/>
                  <a:pt x="3072689" y="672034"/>
                </a:cubicBezTo>
                <a:cubicBezTo>
                  <a:pt x="3073109" y="678333"/>
                  <a:pt x="3073109" y="685053"/>
                  <a:pt x="3073529" y="691353"/>
                </a:cubicBezTo>
                <a:cubicBezTo>
                  <a:pt x="3073529" y="698073"/>
                  <a:pt x="3073529" y="703952"/>
                  <a:pt x="3073949" y="709412"/>
                </a:cubicBezTo>
                <a:cubicBezTo>
                  <a:pt x="3073949" y="714872"/>
                  <a:pt x="3073529" y="719072"/>
                  <a:pt x="3072689" y="722012"/>
                </a:cubicBezTo>
                <a:cubicBezTo>
                  <a:pt x="3071849" y="724951"/>
                  <a:pt x="3071430" y="729151"/>
                  <a:pt x="3071849" y="734611"/>
                </a:cubicBezTo>
                <a:cubicBezTo>
                  <a:pt x="3071849" y="740071"/>
                  <a:pt x="3072689" y="745950"/>
                  <a:pt x="3073529" y="752250"/>
                </a:cubicBezTo>
                <a:cubicBezTo>
                  <a:pt x="3074369" y="758550"/>
                  <a:pt x="3075209" y="764430"/>
                  <a:pt x="3076469" y="769889"/>
                </a:cubicBezTo>
                <a:cubicBezTo>
                  <a:pt x="3077729" y="775349"/>
                  <a:pt x="3078989" y="779549"/>
                  <a:pt x="3080249" y="781649"/>
                </a:cubicBezTo>
                <a:cubicBezTo>
                  <a:pt x="3085289" y="791729"/>
                  <a:pt x="3092008" y="798868"/>
                  <a:pt x="3100408" y="803908"/>
                </a:cubicBezTo>
                <a:cubicBezTo>
                  <a:pt x="3108808" y="808528"/>
                  <a:pt x="3116788" y="810628"/>
                  <a:pt x="3125187" y="809788"/>
                </a:cubicBezTo>
                <a:cubicBezTo>
                  <a:pt x="3133167" y="808948"/>
                  <a:pt x="3140306" y="805168"/>
                  <a:pt x="3145766" y="798868"/>
                </a:cubicBezTo>
                <a:cubicBezTo>
                  <a:pt x="3151646" y="792569"/>
                  <a:pt x="3154166" y="782489"/>
                  <a:pt x="3153746" y="769470"/>
                </a:cubicBezTo>
                <a:cubicBezTo>
                  <a:pt x="3153746" y="764850"/>
                  <a:pt x="3153326" y="761490"/>
                  <a:pt x="3152486" y="758970"/>
                </a:cubicBezTo>
                <a:cubicBezTo>
                  <a:pt x="3152066" y="756870"/>
                  <a:pt x="3150806" y="754770"/>
                  <a:pt x="3149966" y="753090"/>
                </a:cubicBezTo>
                <a:cubicBezTo>
                  <a:pt x="3148706" y="751410"/>
                  <a:pt x="3147866" y="749730"/>
                  <a:pt x="3147026" y="747630"/>
                </a:cubicBezTo>
                <a:cubicBezTo>
                  <a:pt x="3146186" y="745531"/>
                  <a:pt x="3145346" y="742591"/>
                  <a:pt x="3144926" y="738391"/>
                </a:cubicBezTo>
                <a:cubicBezTo>
                  <a:pt x="3140727" y="710252"/>
                  <a:pt x="3139887" y="683373"/>
                  <a:pt x="3141986" y="657334"/>
                </a:cubicBezTo>
                <a:cubicBezTo>
                  <a:pt x="3155006" y="649775"/>
                  <a:pt x="3168025" y="644315"/>
                  <a:pt x="3181045" y="640955"/>
                </a:cubicBezTo>
                <a:cubicBezTo>
                  <a:pt x="3194064" y="637595"/>
                  <a:pt x="3207924" y="635495"/>
                  <a:pt x="3222623" y="634655"/>
                </a:cubicBezTo>
                <a:cubicBezTo>
                  <a:pt x="3223043" y="639275"/>
                  <a:pt x="3223463" y="643475"/>
                  <a:pt x="3224303" y="646835"/>
                </a:cubicBezTo>
                <a:cubicBezTo>
                  <a:pt x="3224723" y="650195"/>
                  <a:pt x="3224723" y="652715"/>
                  <a:pt x="3224723" y="653554"/>
                </a:cubicBezTo>
                <a:cubicBezTo>
                  <a:pt x="3226403" y="659434"/>
                  <a:pt x="3227243" y="665734"/>
                  <a:pt x="3226823" y="671614"/>
                </a:cubicBezTo>
                <a:cubicBezTo>
                  <a:pt x="3226403" y="677493"/>
                  <a:pt x="3225983" y="683793"/>
                  <a:pt x="3225563" y="689673"/>
                </a:cubicBezTo>
                <a:cubicBezTo>
                  <a:pt x="3225143" y="695553"/>
                  <a:pt x="3224723" y="701852"/>
                  <a:pt x="3224303" y="708152"/>
                </a:cubicBezTo>
                <a:cubicBezTo>
                  <a:pt x="3224303" y="714452"/>
                  <a:pt x="3225563" y="720332"/>
                  <a:pt x="3228503" y="726211"/>
                </a:cubicBezTo>
                <a:cubicBezTo>
                  <a:pt x="3230603" y="730411"/>
                  <a:pt x="3232702" y="735871"/>
                  <a:pt x="3235222" y="742171"/>
                </a:cubicBezTo>
                <a:cubicBezTo>
                  <a:pt x="3237742" y="748890"/>
                  <a:pt x="3241102" y="755190"/>
                  <a:pt x="3245302" y="760650"/>
                </a:cubicBezTo>
                <a:cubicBezTo>
                  <a:pt x="3249502" y="766530"/>
                  <a:pt x="3254122" y="771149"/>
                  <a:pt x="3260001" y="774089"/>
                </a:cubicBezTo>
                <a:cubicBezTo>
                  <a:pt x="3265461" y="777449"/>
                  <a:pt x="3272181" y="777449"/>
                  <a:pt x="3280161" y="774509"/>
                </a:cubicBezTo>
                <a:cubicBezTo>
                  <a:pt x="3282261" y="774089"/>
                  <a:pt x="3284780" y="772409"/>
                  <a:pt x="3287720" y="769889"/>
                </a:cubicBezTo>
                <a:cubicBezTo>
                  <a:pt x="3290660" y="767370"/>
                  <a:pt x="3293600" y="764010"/>
                  <a:pt x="3295700" y="759810"/>
                </a:cubicBezTo>
                <a:cubicBezTo>
                  <a:pt x="3298220" y="755610"/>
                  <a:pt x="3299900" y="750570"/>
                  <a:pt x="3301160" y="744271"/>
                </a:cubicBezTo>
                <a:cubicBezTo>
                  <a:pt x="3302420" y="738391"/>
                  <a:pt x="3302420" y="731251"/>
                  <a:pt x="3301160" y="723691"/>
                </a:cubicBezTo>
                <a:cubicBezTo>
                  <a:pt x="3299900" y="714872"/>
                  <a:pt x="3298640" y="707312"/>
                  <a:pt x="3298220" y="701432"/>
                </a:cubicBezTo>
                <a:cubicBezTo>
                  <a:pt x="3297380" y="695553"/>
                  <a:pt x="3296960" y="690093"/>
                  <a:pt x="3296540" y="685053"/>
                </a:cubicBezTo>
                <a:cubicBezTo>
                  <a:pt x="3296120" y="680013"/>
                  <a:pt x="3296120" y="674974"/>
                  <a:pt x="3295700" y="669514"/>
                </a:cubicBezTo>
                <a:cubicBezTo>
                  <a:pt x="3295700" y="664054"/>
                  <a:pt x="3295700" y="657754"/>
                  <a:pt x="3295700" y="650195"/>
                </a:cubicBezTo>
                <a:cubicBezTo>
                  <a:pt x="3295700" y="640535"/>
                  <a:pt x="3295280" y="631295"/>
                  <a:pt x="3294440" y="622056"/>
                </a:cubicBezTo>
                <a:cubicBezTo>
                  <a:pt x="3293600" y="612816"/>
                  <a:pt x="3292760" y="603157"/>
                  <a:pt x="3291920" y="593917"/>
                </a:cubicBezTo>
                <a:cubicBezTo>
                  <a:pt x="3291080" y="584678"/>
                  <a:pt x="3290660" y="575438"/>
                  <a:pt x="3290240" y="565778"/>
                </a:cubicBezTo>
                <a:cubicBezTo>
                  <a:pt x="3289820" y="556539"/>
                  <a:pt x="3289820" y="547299"/>
                  <a:pt x="3290660" y="537639"/>
                </a:cubicBezTo>
                <a:cubicBezTo>
                  <a:pt x="3290660" y="535120"/>
                  <a:pt x="3290660" y="530080"/>
                  <a:pt x="3290660" y="522940"/>
                </a:cubicBezTo>
                <a:cubicBezTo>
                  <a:pt x="3290660" y="515800"/>
                  <a:pt x="3290660" y="508241"/>
                  <a:pt x="3290240" y="500261"/>
                </a:cubicBezTo>
                <a:cubicBezTo>
                  <a:pt x="3290240" y="492281"/>
                  <a:pt x="3290240" y="484722"/>
                  <a:pt x="3290660" y="478422"/>
                </a:cubicBezTo>
                <a:cubicBezTo>
                  <a:pt x="3291080" y="471702"/>
                  <a:pt x="3291920" y="467923"/>
                  <a:pt x="3293180" y="466662"/>
                </a:cubicBezTo>
                <a:cubicBezTo>
                  <a:pt x="3296540" y="463303"/>
                  <a:pt x="3298640" y="459523"/>
                  <a:pt x="3299900" y="454903"/>
                </a:cubicBezTo>
                <a:cubicBezTo>
                  <a:pt x="3301160" y="450283"/>
                  <a:pt x="3301580" y="445663"/>
                  <a:pt x="3301160" y="441044"/>
                </a:cubicBezTo>
                <a:cubicBezTo>
                  <a:pt x="3300740" y="436424"/>
                  <a:pt x="3299060" y="432224"/>
                  <a:pt x="3296540" y="428864"/>
                </a:cubicBezTo>
                <a:cubicBezTo>
                  <a:pt x="3294020" y="425084"/>
                  <a:pt x="3290660" y="422564"/>
                  <a:pt x="3286040" y="420464"/>
                </a:cubicBezTo>
                <a:cubicBezTo>
                  <a:pt x="3271341" y="415425"/>
                  <a:pt x="3258741" y="415845"/>
                  <a:pt x="3248662" y="421725"/>
                </a:cubicBezTo>
                <a:moveTo>
                  <a:pt x="3685023" y="666994"/>
                </a:moveTo>
                <a:cubicBezTo>
                  <a:pt x="3686703" y="660694"/>
                  <a:pt x="3688383" y="653975"/>
                  <a:pt x="3689643" y="647675"/>
                </a:cubicBezTo>
                <a:cubicBezTo>
                  <a:pt x="3690903" y="641375"/>
                  <a:pt x="3691743" y="634235"/>
                  <a:pt x="3692163" y="626676"/>
                </a:cubicBezTo>
                <a:cubicBezTo>
                  <a:pt x="3693003" y="619116"/>
                  <a:pt x="3693423" y="609876"/>
                  <a:pt x="3693843" y="598957"/>
                </a:cubicBezTo>
                <a:cubicBezTo>
                  <a:pt x="3695523" y="592237"/>
                  <a:pt x="3697203" y="585097"/>
                  <a:pt x="3698463" y="578378"/>
                </a:cubicBezTo>
                <a:cubicBezTo>
                  <a:pt x="3699722" y="571658"/>
                  <a:pt x="3700982" y="564518"/>
                  <a:pt x="3701822" y="557379"/>
                </a:cubicBezTo>
                <a:cubicBezTo>
                  <a:pt x="3702662" y="553179"/>
                  <a:pt x="3702662" y="547719"/>
                  <a:pt x="3703082" y="541419"/>
                </a:cubicBezTo>
                <a:cubicBezTo>
                  <a:pt x="3703082" y="535120"/>
                  <a:pt x="3703502" y="528820"/>
                  <a:pt x="3703502" y="522520"/>
                </a:cubicBezTo>
                <a:cubicBezTo>
                  <a:pt x="3703502" y="516220"/>
                  <a:pt x="3704342" y="509921"/>
                  <a:pt x="3705602" y="504041"/>
                </a:cubicBezTo>
                <a:cubicBezTo>
                  <a:pt x="3706442" y="498161"/>
                  <a:pt x="3708122" y="493121"/>
                  <a:pt x="3710642" y="488922"/>
                </a:cubicBezTo>
                <a:cubicBezTo>
                  <a:pt x="3716522" y="477582"/>
                  <a:pt x="3719462" y="467083"/>
                  <a:pt x="3719042" y="456583"/>
                </a:cubicBezTo>
                <a:cubicBezTo>
                  <a:pt x="3718622" y="446503"/>
                  <a:pt x="3715682" y="437264"/>
                  <a:pt x="3711062" y="429284"/>
                </a:cubicBezTo>
                <a:cubicBezTo>
                  <a:pt x="3706022" y="421304"/>
                  <a:pt x="3699722" y="415425"/>
                  <a:pt x="3692163" y="410385"/>
                </a:cubicBezTo>
                <a:cubicBezTo>
                  <a:pt x="3684603" y="405765"/>
                  <a:pt x="3676623" y="403665"/>
                  <a:pt x="3668644" y="403665"/>
                </a:cubicBezTo>
                <a:cubicBezTo>
                  <a:pt x="3660664" y="404085"/>
                  <a:pt x="3653524" y="407025"/>
                  <a:pt x="3646805" y="412905"/>
                </a:cubicBezTo>
                <a:cubicBezTo>
                  <a:pt x="3640085" y="418785"/>
                  <a:pt x="3635045" y="428024"/>
                  <a:pt x="3632525" y="441044"/>
                </a:cubicBezTo>
                <a:cubicBezTo>
                  <a:pt x="3631685" y="457843"/>
                  <a:pt x="3630006" y="474642"/>
                  <a:pt x="3627485" y="491022"/>
                </a:cubicBezTo>
                <a:cubicBezTo>
                  <a:pt x="3624966" y="507401"/>
                  <a:pt x="3622866" y="524200"/>
                  <a:pt x="3622026" y="540999"/>
                </a:cubicBezTo>
                <a:cubicBezTo>
                  <a:pt x="3621606" y="546039"/>
                  <a:pt x="3621606" y="551079"/>
                  <a:pt x="3621186" y="556539"/>
                </a:cubicBezTo>
                <a:cubicBezTo>
                  <a:pt x="3621186" y="561998"/>
                  <a:pt x="3619926" y="566618"/>
                  <a:pt x="3617826" y="571238"/>
                </a:cubicBezTo>
                <a:cubicBezTo>
                  <a:pt x="3616566" y="574178"/>
                  <a:pt x="3614886" y="577118"/>
                  <a:pt x="3613626" y="579218"/>
                </a:cubicBezTo>
                <a:cubicBezTo>
                  <a:pt x="3612366" y="581738"/>
                  <a:pt x="3611526" y="584257"/>
                  <a:pt x="3611526" y="587617"/>
                </a:cubicBezTo>
                <a:cubicBezTo>
                  <a:pt x="3605226" y="579218"/>
                  <a:pt x="3599767" y="571658"/>
                  <a:pt x="3595147" y="565358"/>
                </a:cubicBezTo>
                <a:cubicBezTo>
                  <a:pt x="3590527" y="559058"/>
                  <a:pt x="3586747" y="553179"/>
                  <a:pt x="3583387" y="548139"/>
                </a:cubicBezTo>
                <a:cubicBezTo>
                  <a:pt x="3580028" y="542679"/>
                  <a:pt x="3576668" y="537220"/>
                  <a:pt x="3574148" y="532180"/>
                </a:cubicBezTo>
                <a:cubicBezTo>
                  <a:pt x="3571208" y="526720"/>
                  <a:pt x="3568688" y="520840"/>
                  <a:pt x="3565748" y="513700"/>
                </a:cubicBezTo>
                <a:cubicBezTo>
                  <a:pt x="3561549" y="504881"/>
                  <a:pt x="3557769" y="495221"/>
                  <a:pt x="3554409" y="485562"/>
                </a:cubicBezTo>
                <a:cubicBezTo>
                  <a:pt x="3551049" y="475902"/>
                  <a:pt x="3546009" y="467083"/>
                  <a:pt x="3539709" y="459103"/>
                </a:cubicBezTo>
                <a:cubicBezTo>
                  <a:pt x="3526690" y="441884"/>
                  <a:pt x="3514090" y="433064"/>
                  <a:pt x="3502331" y="432224"/>
                </a:cubicBezTo>
                <a:cubicBezTo>
                  <a:pt x="3490571" y="431804"/>
                  <a:pt x="3480492" y="436004"/>
                  <a:pt x="3472092" y="445663"/>
                </a:cubicBezTo>
                <a:cubicBezTo>
                  <a:pt x="3463693" y="455323"/>
                  <a:pt x="3457393" y="467923"/>
                  <a:pt x="3452773" y="483462"/>
                </a:cubicBezTo>
                <a:cubicBezTo>
                  <a:pt x="3448573" y="499001"/>
                  <a:pt x="3446893" y="514121"/>
                  <a:pt x="3448573" y="529660"/>
                </a:cubicBezTo>
                <a:cubicBezTo>
                  <a:pt x="3448573" y="533020"/>
                  <a:pt x="3448993" y="536380"/>
                  <a:pt x="3449833" y="539739"/>
                </a:cubicBezTo>
                <a:cubicBezTo>
                  <a:pt x="3450673" y="543099"/>
                  <a:pt x="3451513" y="546879"/>
                  <a:pt x="3451933" y="550239"/>
                </a:cubicBezTo>
                <a:cubicBezTo>
                  <a:pt x="3452353" y="553599"/>
                  <a:pt x="3452353" y="556959"/>
                  <a:pt x="3451513" y="560319"/>
                </a:cubicBezTo>
                <a:cubicBezTo>
                  <a:pt x="3450673" y="563678"/>
                  <a:pt x="3448993" y="566618"/>
                  <a:pt x="3446053" y="569558"/>
                </a:cubicBezTo>
                <a:cubicBezTo>
                  <a:pt x="3442693" y="575018"/>
                  <a:pt x="3441434" y="581318"/>
                  <a:pt x="3441854" y="588037"/>
                </a:cubicBezTo>
                <a:cubicBezTo>
                  <a:pt x="3442693" y="594757"/>
                  <a:pt x="3442274" y="601057"/>
                  <a:pt x="3441854" y="607356"/>
                </a:cubicBezTo>
                <a:cubicBezTo>
                  <a:pt x="3441434" y="610296"/>
                  <a:pt x="3440594" y="616596"/>
                  <a:pt x="3439334" y="626256"/>
                </a:cubicBezTo>
                <a:cubicBezTo>
                  <a:pt x="3438074" y="635915"/>
                  <a:pt x="3436814" y="645995"/>
                  <a:pt x="3435134" y="656494"/>
                </a:cubicBezTo>
                <a:cubicBezTo>
                  <a:pt x="3433454" y="666994"/>
                  <a:pt x="3431774" y="676653"/>
                  <a:pt x="3429674" y="685893"/>
                </a:cubicBezTo>
                <a:cubicBezTo>
                  <a:pt x="3427574" y="694713"/>
                  <a:pt x="3425894" y="700592"/>
                  <a:pt x="3424214" y="702272"/>
                </a:cubicBezTo>
                <a:cubicBezTo>
                  <a:pt x="3421694" y="705212"/>
                  <a:pt x="3420434" y="709412"/>
                  <a:pt x="3419175" y="714872"/>
                </a:cubicBezTo>
                <a:cubicBezTo>
                  <a:pt x="3418335" y="720752"/>
                  <a:pt x="3417494" y="726631"/>
                  <a:pt x="3417494" y="732931"/>
                </a:cubicBezTo>
                <a:cubicBezTo>
                  <a:pt x="3417494" y="739231"/>
                  <a:pt x="3417494" y="745531"/>
                  <a:pt x="3417915" y="751830"/>
                </a:cubicBezTo>
                <a:cubicBezTo>
                  <a:pt x="3418335" y="758130"/>
                  <a:pt x="3418335" y="762750"/>
                  <a:pt x="3418755" y="766530"/>
                </a:cubicBezTo>
                <a:cubicBezTo>
                  <a:pt x="3419175" y="771569"/>
                  <a:pt x="3419594" y="777029"/>
                  <a:pt x="3420855" y="782909"/>
                </a:cubicBezTo>
                <a:cubicBezTo>
                  <a:pt x="3422114" y="788789"/>
                  <a:pt x="3423794" y="794248"/>
                  <a:pt x="3426314" y="798868"/>
                </a:cubicBezTo>
                <a:cubicBezTo>
                  <a:pt x="3428834" y="803488"/>
                  <a:pt x="3432194" y="807268"/>
                  <a:pt x="3436814" y="810208"/>
                </a:cubicBezTo>
                <a:cubicBezTo>
                  <a:pt x="3441434" y="813148"/>
                  <a:pt x="3447313" y="814408"/>
                  <a:pt x="3454033" y="814408"/>
                </a:cubicBezTo>
                <a:cubicBezTo>
                  <a:pt x="3463273" y="813988"/>
                  <a:pt x="3471252" y="811048"/>
                  <a:pt x="3477132" y="805588"/>
                </a:cubicBezTo>
                <a:cubicBezTo>
                  <a:pt x="3483012" y="800128"/>
                  <a:pt x="3486372" y="792569"/>
                  <a:pt x="3486792" y="782909"/>
                </a:cubicBezTo>
                <a:cubicBezTo>
                  <a:pt x="3486792" y="773249"/>
                  <a:pt x="3487632" y="764010"/>
                  <a:pt x="3488891" y="754350"/>
                </a:cubicBezTo>
                <a:cubicBezTo>
                  <a:pt x="3490152" y="745111"/>
                  <a:pt x="3491411" y="735451"/>
                  <a:pt x="3492251" y="725791"/>
                </a:cubicBezTo>
                <a:cubicBezTo>
                  <a:pt x="3493931" y="710252"/>
                  <a:pt x="3497291" y="693873"/>
                  <a:pt x="3501491" y="677074"/>
                </a:cubicBezTo>
                <a:cubicBezTo>
                  <a:pt x="3506111" y="659854"/>
                  <a:pt x="3508631" y="643895"/>
                  <a:pt x="3509471" y="628355"/>
                </a:cubicBezTo>
                <a:cubicBezTo>
                  <a:pt x="3509891" y="621636"/>
                  <a:pt x="3510311" y="614916"/>
                  <a:pt x="3511151" y="608196"/>
                </a:cubicBezTo>
                <a:cubicBezTo>
                  <a:pt x="3511990" y="601057"/>
                  <a:pt x="3512830" y="594337"/>
                  <a:pt x="3514510" y="587617"/>
                </a:cubicBezTo>
                <a:cubicBezTo>
                  <a:pt x="3514090" y="589297"/>
                  <a:pt x="3514510" y="591397"/>
                  <a:pt x="3515770" y="593497"/>
                </a:cubicBezTo>
                <a:cubicBezTo>
                  <a:pt x="3517030" y="595597"/>
                  <a:pt x="3518710" y="598117"/>
                  <a:pt x="3520810" y="600217"/>
                </a:cubicBezTo>
                <a:cubicBezTo>
                  <a:pt x="3522910" y="602317"/>
                  <a:pt x="3525010" y="604417"/>
                  <a:pt x="3527110" y="606517"/>
                </a:cubicBezTo>
                <a:cubicBezTo>
                  <a:pt x="3529210" y="608617"/>
                  <a:pt x="3530890" y="610296"/>
                  <a:pt x="3531730" y="611556"/>
                </a:cubicBezTo>
                <a:cubicBezTo>
                  <a:pt x="3539289" y="621636"/>
                  <a:pt x="3546849" y="633395"/>
                  <a:pt x="3553989" y="647255"/>
                </a:cubicBezTo>
                <a:cubicBezTo>
                  <a:pt x="3561128" y="661114"/>
                  <a:pt x="3569108" y="673714"/>
                  <a:pt x="3578348" y="685893"/>
                </a:cubicBezTo>
                <a:cubicBezTo>
                  <a:pt x="3587167" y="698073"/>
                  <a:pt x="3597247" y="707732"/>
                  <a:pt x="3609006" y="715712"/>
                </a:cubicBezTo>
                <a:cubicBezTo>
                  <a:pt x="3620766" y="723691"/>
                  <a:pt x="3634625" y="726631"/>
                  <a:pt x="3651424" y="724951"/>
                </a:cubicBezTo>
                <a:cubicBezTo>
                  <a:pt x="3656044" y="724531"/>
                  <a:pt x="3659824" y="722851"/>
                  <a:pt x="3662764" y="720332"/>
                </a:cubicBezTo>
                <a:cubicBezTo>
                  <a:pt x="3665704" y="717812"/>
                  <a:pt x="3667804" y="714872"/>
                  <a:pt x="3669904" y="711512"/>
                </a:cubicBezTo>
                <a:cubicBezTo>
                  <a:pt x="3671584" y="708152"/>
                  <a:pt x="3673264" y="704372"/>
                  <a:pt x="3674523" y="700592"/>
                </a:cubicBezTo>
                <a:cubicBezTo>
                  <a:pt x="3675783" y="696813"/>
                  <a:pt x="3677044" y="693033"/>
                  <a:pt x="3678303" y="689673"/>
                </a:cubicBezTo>
                <a:cubicBezTo>
                  <a:pt x="3680823" y="680853"/>
                  <a:pt x="3682923" y="673294"/>
                  <a:pt x="3685023" y="666994"/>
                </a:cubicBezTo>
                <a:moveTo>
                  <a:pt x="3998330" y="336468"/>
                </a:moveTo>
                <a:cubicBezTo>
                  <a:pt x="3995390" y="336888"/>
                  <a:pt x="3992870" y="336888"/>
                  <a:pt x="3990350" y="337308"/>
                </a:cubicBezTo>
                <a:cubicBezTo>
                  <a:pt x="3979431" y="338568"/>
                  <a:pt x="3970611" y="340248"/>
                  <a:pt x="3963051" y="342768"/>
                </a:cubicBezTo>
                <a:cubicBezTo>
                  <a:pt x="3955491" y="345288"/>
                  <a:pt x="3948772" y="348648"/>
                  <a:pt x="3942052" y="352007"/>
                </a:cubicBezTo>
                <a:cubicBezTo>
                  <a:pt x="3935332" y="355787"/>
                  <a:pt x="3928613" y="359567"/>
                  <a:pt x="3921473" y="363767"/>
                </a:cubicBezTo>
                <a:cubicBezTo>
                  <a:pt x="3914333" y="367967"/>
                  <a:pt x="3905514" y="372166"/>
                  <a:pt x="3895014" y="376786"/>
                </a:cubicBezTo>
                <a:cubicBezTo>
                  <a:pt x="3892074" y="378046"/>
                  <a:pt x="3889134" y="378886"/>
                  <a:pt x="3885774" y="378886"/>
                </a:cubicBezTo>
                <a:cubicBezTo>
                  <a:pt x="3882415" y="378886"/>
                  <a:pt x="3879055" y="378886"/>
                  <a:pt x="3875695" y="379306"/>
                </a:cubicBezTo>
                <a:cubicBezTo>
                  <a:pt x="3872335" y="379726"/>
                  <a:pt x="3869395" y="380566"/>
                  <a:pt x="3866035" y="381406"/>
                </a:cubicBezTo>
                <a:cubicBezTo>
                  <a:pt x="3863095" y="382666"/>
                  <a:pt x="3860156" y="384766"/>
                  <a:pt x="3858056" y="387706"/>
                </a:cubicBezTo>
                <a:cubicBezTo>
                  <a:pt x="3847976" y="421725"/>
                  <a:pt x="3839996" y="455743"/>
                  <a:pt x="3834957" y="489342"/>
                </a:cubicBezTo>
                <a:cubicBezTo>
                  <a:pt x="3829917" y="522940"/>
                  <a:pt x="3829077" y="557379"/>
                  <a:pt x="3832437" y="592237"/>
                </a:cubicBezTo>
                <a:cubicBezTo>
                  <a:pt x="3833277" y="601477"/>
                  <a:pt x="3834957" y="610716"/>
                  <a:pt x="3836637" y="619956"/>
                </a:cubicBezTo>
                <a:cubicBezTo>
                  <a:pt x="3838316" y="629195"/>
                  <a:pt x="3840416" y="638435"/>
                  <a:pt x="3842936" y="647675"/>
                </a:cubicBezTo>
                <a:cubicBezTo>
                  <a:pt x="3847556" y="662794"/>
                  <a:pt x="3854276" y="676653"/>
                  <a:pt x="3862675" y="688413"/>
                </a:cubicBezTo>
                <a:cubicBezTo>
                  <a:pt x="3871495" y="700592"/>
                  <a:pt x="3882835" y="709832"/>
                  <a:pt x="3897534" y="716972"/>
                </a:cubicBezTo>
                <a:cubicBezTo>
                  <a:pt x="3913913" y="724951"/>
                  <a:pt x="3931133" y="728311"/>
                  <a:pt x="3949192" y="726211"/>
                </a:cubicBezTo>
                <a:cubicBezTo>
                  <a:pt x="3959271" y="724951"/>
                  <a:pt x="3969351" y="722432"/>
                  <a:pt x="3979431" y="718232"/>
                </a:cubicBezTo>
                <a:cubicBezTo>
                  <a:pt x="3989510" y="714032"/>
                  <a:pt x="3998750" y="709412"/>
                  <a:pt x="4006729" y="703112"/>
                </a:cubicBezTo>
                <a:cubicBezTo>
                  <a:pt x="4014709" y="696813"/>
                  <a:pt x="4020588" y="688413"/>
                  <a:pt x="4024368" y="677493"/>
                </a:cubicBezTo>
                <a:cubicBezTo>
                  <a:pt x="4026888" y="672034"/>
                  <a:pt x="4029408" y="665734"/>
                  <a:pt x="4032348" y="659014"/>
                </a:cubicBezTo>
                <a:cubicBezTo>
                  <a:pt x="4035288" y="651875"/>
                  <a:pt x="4036548" y="645155"/>
                  <a:pt x="4035708" y="638015"/>
                </a:cubicBezTo>
                <a:cubicBezTo>
                  <a:pt x="4034868" y="630036"/>
                  <a:pt x="4031088" y="623316"/>
                  <a:pt x="4024788" y="618276"/>
                </a:cubicBezTo>
                <a:cubicBezTo>
                  <a:pt x="4018489" y="612816"/>
                  <a:pt x="4010509" y="610296"/>
                  <a:pt x="4001689" y="609876"/>
                </a:cubicBezTo>
                <a:cubicBezTo>
                  <a:pt x="3997489" y="609876"/>
                  <a:pt x="3993710" y="610296"/>
                  <a:pt x="3991190" y="611136"/>
                </a:cubicBezTo>
                <a:cubicBezTo>
                  <a:pt x="3988670" y="611976"/>
                  <a:pt x="3986150" y="613236"/>
                  <a:pt x="3984890" y="614916"/>
                </a:cubicBezTo>
                <a:cubicBezTo>
                  <a:pt x="3983210" y="616596"/>
                  <a:pt x="3981950" y="619116"/>
                  <a:pt x="3980690" y="621216"/>
                </a:cubicBezTo>
                <a:cubicBezTo>
                  <a:pt x="3979431" y="623736"/>
                  <a:pt x="3977751" y="626676"/>
                  <a:pt x="3975651" y="629616"/>
                </a:cubicBezTo>
                <a:cubicBezTo>
                  <a:pt x="3972711" y="634235"/>
                  <a:pt x="3968931" y="637175"/>
                  <a:pt x="3964731" y="639695"/>
                </a:cubicBezTo>
                <a:cubicBezTo>
                  <a:pt x="3960531" y="641795"/>
                  <a:pt x="3956332" y="643475"/>
                  <a:pt x="3951291" y="643895"/>
                </a:cubicBezTo>
                <a:cubicBezTo>
                  <a:pt x="3940792" y="645155"/>
                  <a:pt x="3931133" y="642215"/>
                  <a:pt x="3922313" y="635495"/>
                </a:cubicBezTo>
                <a:cubicBezTo>
                  <a:pt x="3913493" y="628776"/>
                  <a:pt x="3909294" y="619116"/>
                  <a:pt x="3909713" y="606096"/>
                </a:cubicBezTo>
                <a:cubicBezTo>
                  <a:pt x="3914753" y="601057"/>
                  <a:pt x="3920213" y="596857"/>
                  <a:pt x="3926933" y="593497"/>
                </a:cubicBezTo>
                <a:cubicBezTo>
                  <a:pt x="3933652" y="589717"/>
                  <a:pt x="3939952" y="586357"/>
                  <a:pt x="3947092" y="582578"/>
                </a:cubicBezTo>
                <a:cubicBezTo>
                  <a:pt x="3953812" y="578798"/>
                  <a:pt x="3960531" y="575018"/>
                  <a:pt x="3966831" y="570398"/>
                </a:cubicBezTo>
                <a:cubicBezTo>
                  <a:pt x="3973131" y="566198"/>
                  <a:pt x="3978590" y="560738"/>
                  <a:pt x="3982790" y="554439"/>
                </a:cubicBezTo>
                <a:cubicBezTo>
                  <a:pt x="3986150" y="549819"/>
                  <a:pt x="3989090" y="544359"/>
                  <a:pt x="3991190" y="538059"/>
                </a:cubicBezTo>
                <a:cubicBezTo>
                  <a:pt x="3993290" y="531760"/>
                  <a:pt x="3994130" y="525880"/>
                  <a:pt x="3993290" y="519580"/>
                </a:cubicBezTo>
                <a:cubicBezTo>
                  <a:pt x="3992450" y="512441"/>
                  <a:pt x="3989510" y="506561"/>
                  <a:pt x="3983630" y="501521"/>
                </a:cubicBezTo>
                <a:cubicBezTo>
                  <a:pt x="3978170" y="496901"/>
                  <a:pt x="3971031" y="494801"/>
                  <a:pt x="3962631" y="495641"/>
                </a:cubicBezTo>
                <a:cubicBezTo>
                  <a:pt x="3955912" y="496481"/>
                  <a:pt x="3948772" y="498161"/>
                  <a:pt x="3942052" y="500681"/>
                </a:cubicBezTo>
                <a:cubicBezTo>
                  <a:pt x="3934913" y="503201"/>
                  <a:pt x="3929033" y="505721"/>
                  <a:pt x="3924413" y="508661"/>
                </a:cubicBezTo>
                <a:cubicBezTo>
                  <a:pt x="3920213" y="511181"/>
                  <a:pt x="3916433" y="512860"/>
                  <a:pt x="3914333" y="512860"/>
                </a:cubicBezTo>
                <a:cubicBezTo>
                  <a:pt x="3911813" y="513281"/>
                  <a:pt x="3910134" y="512860"/>
                  <a:pt x="3909294" y="511601"/>
                </a:cubicBezTo>
                <a:cubicBezTo>
                  <a:pt x="3908453" y="510341"/>
                  <a:pt x="3907613" y="508661"/>
                  <a:pt x="3907613" y="506561"/>
                </a:cubicBezTo>
                <a:cubicBezTo>
                  <a:pt x="3907194" y="504461"/>
                  <a:pt x="3907194" y="502361"/>
                  <a:pt x="3906773" y="500261"/>
                </a:cubicBezTo>
                <a:cubicBezTo>
                  <a:pt x="3906354" y="496481"/>
                  <a:pt x="3906773" y="492281"/>
                  <a:pt x="3907613" y="487242"/>
                </a:cubicBezTo>
                <a:cubicBezTo>
                  <a:pt x="3908453" y="482202"/>
                  <a:pt x="3909713" y="477162"/>
                  <a:pt x="3910973" y="472542"/>
                </a:cubicBezTo>
                <a:cubicBezTo>
                  <a:pt x="3912233" y="467923"/>
                  <a:pt x="3913493" y="463723"/>
                  <a:pt x="3914753" y="459523"/>
                </a:cubicBezTo>
                <a:cubicBezTo>
                  <a:pt x="3916013" y="455323"/>
                  <a:pt x="3916853" y="452803"/>
                  <a:pt x="3917273" y="450703"/>
                </a:cubicBezTo>
                <a:cubicBezTo>
                  <a:pt x="3918533" y="446083"/>
                  <a:pt x="3922313" y="441884"/>
                  <a:pt x="3928613" y="437684"/>
                </a:cubicBezTo>
                <a:cubicBezTo>
                  <a:pt x="3934913" y="433484"/>
                  <a:pt x="3942052" y="429284"/>
                  <a:pt x="3949612" y="425504"/>
                </a:cubicBezTo>
                <a:cubicBezTo>
                  <a:pt x="3957591" y="421725"/>
                  <a:pt x="3965151" y="418364"/>
                  <a:pt x="3973131" y="415425"/>
                </a:cubicBezTo>
                <a:cubicBezTo>
                  <a:pt x="3980690" y="412485"/>
                  <a:pt x="3986990" y="410385"/>
                  <a:pt x="3991190" y="408705"/>
                </a:cubicBezTo>
                <a:cubicBezTo>
                  <a:pt x="4003369" y="404925"/>
                  <a:pt x="4014289" y="399885"/>
                  <a:pt x="4023529" y="393586"/>
                </a:cubicBezTo>
                <a:cubicBezTo>
                  <a:pt x="4032768" y="387286"/>
                  <a:pt x="4037808" y="376786"/>
                  <a:pt x="4038648" y="361667"/>
                </a:cubicBezTo>
                <a:cubicBezTo>
                  <a:pt x="4039068" y="357887"/>
                  <a:pt x="4037808" y="354527"/>
                  <a:pt x="4035708" y="351588"/>
                </a:cubicBezTo>
                <a:cubicBezTo>
                  <a:pt x="4033188" y="348648"/>
                  <a:pt x="4030668" y="345708"/>
                  <a:pt x="4027309" y="343608"/>
                </a:cubicBezTo>
                <a:cubicBezTo>
                  <a:pt x="4023949" y="341508"/>
                  <a:pt x="4020169" y="339408"/>
                  <a:pt x="4016389" y="338148"/>
                </a:cubicBezTo>
                <a:cubicBezTo>
                  <a:pt x="4012609" y="336888"/>
                  <a:pt x="4008829" y="336468"/>
                  <a:pt x="4006309" y="336468"/>
                </a:cubicBezTo>
                <a:cubicBezTo>
                  <a:pt x="4003789" y="336048"/>
                  <a:pt x="4000850" y="336048"/>
                  <a:pt x="3998330" y="336468"/>
                </a:cubicBezTo>
                <a:moveTo>
                  <a:pt x="4295677" y="480522"/>
                </a:moveTo>
                <a:cubicBezTo>
                  <a:pt x="4291477" y="490601"/>
                  <a:pt x="4286857" y="500681"/>
                  <a:pt x="4281818" y="511601"/>
                </a:cubicBezTo>
                <a:cubicBezTo>
                  <a:pt x="4276778" y="522520"/>
                  <a:pt x="4271738" y="532180"/>
                  <a:pt x="4266278" y="540999"/>
                </a:cubicBezTo>
                <a:cubicBezTo>
                  <a:pt x="4260819" y="549819"/>
                  <a:pt x="4256619" y="555279"/>
                  <a:pt x="4252839" y="557379"/>
                </a:cubicBezTo>
                <a:cubicBezTo>
                  <a:pt x="4251159" y="546879"/>
                  <a:pt x="4249479" y="536380"/>
                  <a:pt x="4247799" y="525460"/>
                </a:cubicBezTo>
                <a:cubicBezTo>
                  <a:pt x="4246119" y="514540"/>
                  <a:pt x="4245279" y="504041"/>
                  <a:pt x="4245279" y="494381"/>
                </a:cubicBezTo>
                <a:cubicBezTo>
                  <a:pt x="4245279" y="486402"/>
                  <a:pt x="4244439" y="478002"/>
                  <a:pt x="4242759" y="469182"/>
                </a:cubicBezTo>
                <a:cubicBezTo>
                  <a:pt x="4241079" y="460363"/>
                  <a:pt x="4239819" y="451543"/>
                  <a:pt x="4238559" y="443144"/>
                </a:cubicBezTo>
                <a:cubicBezTo>
                  <a:pt x="4236879" y="434744"/>
                  <a:pt x="4236040" y="426344"/>
                  <a:pt x="4234779" y="418785"/>
                </a:cubicBezTo>
                <a:cubicBezTo>
                  <a:pt x="4233940" y="411225"/>
                  <a:pt x="4233520" y="404085"/>
                  <a:pt x="4233940" y="397786"/>
                </a:cubicBezTo>
                <a:cubicBezTo>
                  <a:pt x="4231840" y="391066"/>
                  <a:pt x="4230160" y="383086"/>
                  <a:pt x="4229320" y="373847"/>
                </a:cubicBezTo>
                <a:cubicBezTo>
                  <a:pt x="4228480" y="364607"/>
                  <a:pt x="4227640" y="355367"/>
                  <a:pt x="4226800" y="345288"/>
                </a:cubicBezTo>
                <a:cubicBezTo>
                  <a:pt x="4225960" y="335628"/>
                  <a:pt x="4224700" y="325968"/>
                  <a:pt x="4223020" y="317149"/>
                </a:cubicBezTo>
                <a:cubicBezTo>
                  <a:pt x="4221340" y="307909"/>
                  <a:pt x="4218820" y="299930"/>
                  <a:pt x="4214621" y="293210"/>
                </a:cubicBezTo>
                <a:cubicBezTo>
                  <a:pt x="4210841" y="286490"/>
                  <a:pt x="4205381" y="281450"/>
                  <a:pt x="4198661" y="278511"/>
                </a:cubicBezTo>
                <a:cubicBezTo>
                  <a:pt x="4191941" y="275571"/>
                  <a:pt x="4182702" y="274731"/>
                  <a:pt x="4171782" y="276831"/>
                </a:cubicBezTo>
                <a:cubicBezTo>
                  <a:pt x="4167582" y="278091"/>
                  <a:pt x="4163382" y="279351"/>
                  <a:pt x="4160023" y="280610"/>
                </a:cubicBezTo>
                <a:cubicBezTo>
                  <a:pt x="4156243" y="281870"/>
                  <a:pt x="4152883" y="283550"/>
                  <a:pt x="4150363" y="285650"/>
                </a:cubicBezTo>
                <a:cubicBezTo>
                  <a:pt x="4147843" y="287750"/>
                  <a:pt x="4145743" y="290270"/>
                  <a:pt x="4144483" y="293630"/>
                </a:cubicBezTo>
                <a:cubicBezTo>
                  <a:pt x="4143224" y="296990"/>
                  <a:pt x="4142804" y="301190"/>
                  <a:pt x="4143643" y="306649"/>
                </a:cubicBezTo>
                <a:cubicBezTo>
                  <a:pt x="4144904" y="317569"/>
                  <a:pt x="4147003" y="328489"/>
                  <a:pt x="4150363" y="339408"/>
                </a:cubicBezTo>
                <a:cubicBezTo>
                  <a:pt x="4153723" y="350328"/>
                  <a:pt x="4156243" y="361667"/>
                  <a:pt x="4158343" y="373847"/>
                </a:cubicBezTo>
                <a:cubicBezTo>
                  <a:pt x="4158763" y="376786"/>
                  <a:pt x="4159603" y="383926"/>
                  <a:pt x="4160863" y="394006"/>
                </a:cubicBezTo>
                <a:cubicBezTo>
                  <a:pt x="4162123" y="404085"/>
                  <a:pt x="4163382" y="416685"/>
                  <a:pt x="4165062" y="430964"/>
                </a:cubicBezTo>
                <a:cubicBezTo>
                  <a:pt x="4166742" y="445243"/>
                  <a:pt x="4168842" y="461203"/>
                  <a:pt x="4170942" y="478002"/>
                </a:cubicBezTo>
                <a:cubicBezTo>
                  <a:pt x="4173042" y="494801"/>
                  <a:pt x="4175142" y="511601"/>
                  <a:pt x="4177662" y="528820"/>
                </a:cubicBezTo>
                <a:cubicBezTo>
                  <a:pt x="4180182" y="545619"/>
                  <a:pt x="4182702" y="561579"/>
                  <a:pt x="4185222" y="577118"/>
                </a:cubicBezTo>
                <a:cubicBezTo>
                  <a:pt x="4187741" y="592237"/>
                  <a:pt x="4190681" y="605256"/>
                  <a:pt x="4193201" y="616176"/>
                </a:cubicBezTo>
                <a:cubicBezTo>
                  <a:pt x="4194881" y="626256"/>
                  <a:pt x="4196141" y="636335"/>
                  <a:pt x="4196981" y="646415"/>
                </a:cubicBezTo>
                <a:cubicBezTo>
                  <a:pt x="4197821" y="656914"/>
                  <a:pt x="4199921" y="666994"/>
                  <a:pt x="4204121" y="677074"/>
                </a:cubicBezTo>
                <a:cubicBezTo>
                  <a:pt x="4208741" y="685473"/>
                  <a:pt x="4214621" y="690513"/>
                  <a:pt x="4222180" y="691353"/>
                </a:cubicBezTo>
                <a:cubicBezTo>
                  <a:pt x="4229740" y="692193"/>
                  <a:pt x="4237300" y="691773"/>
                  <a:pt x="4245699" y="690093"/>
                </a:cubicBezTo>
                <a:cubicBezTo>
                  <a:pt x="4251999" y="688833"/>
                  <a:pt x="4258719" y="684633"/>
                  <a:pt x="4266278" y="677493"/>
                </a:cubicBezTo>
                <a:cubicBezTo>
                  <a:pt x="4273838" y="670354"/>
                  <a:pt x="4280977" y="661954"/>
                  <a:pt x="4287698" y="651875"/>
                </a:cubicBezTo>
                <a:cubicBezTo>
                  <a:pt x="4294837" y="641795"/>
                  <a:pt x="4301557" y="630455"/>
                  <a:pt x="4308276" y="618276"/>
                </a:cubicBezTo>
                <a:cubicBezTo>
                  <a:pt x="4314996" y="605677"/>
                  <a:pt x="4320876" y="593917"/>
                  <a:pt x="4326336" y="581738"/>
                </a:cubicBezTo>
                <a:cubicBezTo>
                  <a:pt x="4331375" y="569978"/>
                  <a:pt x="4335995" y="558639"/>
                  <a:pt x="4339775" y="548559"/>
                </a:cubicBezTo>
                <a:cubicBezTo>
                  <a:pt x="4343555" y="538059"/>
                  <a:pt x="4345655" y="529660"/>
                  <a:pt x="4346915" y="523780"/>
                </a:cubicBezTo>
                <a:cubicBezTo>
                  <a:pt x="4348175" y="514960"/>
                  <a:pt x="4350695" y="505301"/>
                  <a:pt x="4354895" y="495641"/>
                </a:cubicBezTo>
                <a:cubicBezTo>
                  <a:pt x="4359094" y="485982"/>
                  <a:pt x="4363294" y="476322"/>
                  <a:pt x="4367914" y="466662"/>
                </a:cubicBezTo>
                <a:cubicBezTo>
                  <a:pt x="4372534" y="457003"/>
                  <a:pt x="4377153" y="447763"/>
                  <a:pt x="4382193" y="438104"/>
                </a:cubicBezTo>
                <a:cubicBezTo>
                  <a:pt x="4386813" y="428864"/>
                  <a:pt x="4391013" y="419625"/>
                  <a:pt x="4393953" y="410805"/>
                </a:cubicBezTo>
                <a:cubicBezTo>
                  <a:pt x="4395633" y="404925"/>
                  <a:pt x="4398572" y="399885"/>
                  <a:pt x="4401932" y="394846"/>
                </a:cubicBezTo>
                <a:cubicBezTo>
                  <a:pt x="4405292" y="389806"/>
                  <a:pt x="4409072" y="384766"/>
                  <a:pt x="4412852" y="380146"/>
                </a:cubicBezTo>
                <a:cubicBezTo>
                  <a:pt x="4416632" y="375106"/>
                  <a:pt x="4419992" y="370067"/>
                  <a:pt x="4423351" y="365027"/>
                </a:cubicBezTo>
                <a:cubicBezTo>
                  <a:pt x="4426711" y="359987"/>
                  <a:pt x="4428811" y="354527"/>
                  <a:pt x="4430491" y="349067"/>
                </a:cubicBezTo>
                <a:cubicBezTo>
                  <a:pt x="4433011" y="340668"/>
                  <a:pt x="4433851" y="331428"/>
                  <a:pt x="4433431" y="322189"/>
                </a:cubicBezTo>
                <a:cubicBezTo>
                  <a:pt x="4433011" y="312949"/>
                  <a:pt x="4430911" y="304549"/>
                  <a:pt x="4427131" y="297410"/>
                </a:cubicBezTo>
                <a:cubicBezTo>
                  <a:pt x="4423351" y="289850"/>
                  <a:pt x="4417892" y="283970"/>
                  <a:pt x="4410332" y="279770"/>
                </a:cubicBezTo>
                <a:cubicBezTo>
                  <a:pt x="4403193" y="275571"/>
                  <a:pt x="4393533" y="273891"/>
                  <a:pt x="4382193" y="275151"/>
                </a:cubicBezTo>
                <a:cubicBezTo>
                  <a:pt x="4376733" y="275571"/>
                  <a:pt x="4372114" y="277671"/>
                  <a:pt x="4367914" y="280610"/>
                </a:cubicBezTo>
                <a:cubicBezTo>
                  <a:pt x="4363714" y="283550"/>
                  <a:pt x="4360354" y="287330"/>
                  <a:pt x="4357834" y="291530"/>
                </a:cubicBezTo>
                <a:cubicBezTo>
                  <a:pt x="4354895" y="295730"/>
                  <a:pt x="4352374" y="300770"/>
                  <a:pt x="4350695" y="305809"/>
                </a:cubicBezTo>
                <a:cubicBezTo>
                  <a:pt x="4348595" y="311269"/>
                  <a:pt x="4346915" y="316309"/>
                  <a:pt x="4345235" y="320929"/>
                </a:cubicBezTo>
                <a:cubicBezTo>
                  <a:pt x="4340195" y="344868"/>
                  <a:pt x="4333896" y="367967"/>
                  <a:pt x="4326756" y="390226"/>
                </a:cubicBezTo>
                <a:cubicBezTo>
                  <a:pt x="4319616" y="412905"/>
                  <a:pt x="4312056" y="436004"/>
                  <a:pt x="4304497" y="459523"/>
                </a:cubicBezTo>
                <a:cubicBezTo>
                  <a:pt x="4302817" y="463303"/>
                  <a:pt x="4300297" y="470442"/>
                  <a:pt x="4295677" y="480522"/>
                </a:cubicBezTo>
                <a:moveTo>
                  <a:pt x="4768156" y="305809"/>
                </a:moveTo>
                <a:cubicBezTo>
                  <a:pt x="4773197" y="303290"/>
                  <a:pt x="4777816" y="300350"/>
                  <a:pt x="4781596" y="296570"/>
                </a:cubicBezTo>
                <a:cubicBezTo>
                  <a:pt x="4785796" y="292790"/>
                  <a:pt x="4788736" y="288590"/>
                  <a:pt x="4790836" y="283970"/>
                </a:cubicBezTo>
                <a:cubicBezTo>
                  <a:pt x="4792935" y="279351"/>
                  <a:pt x="4793776" y="273891"/>
                  <a:pt x="4793355" y="268011"/>
                </a:cubicBezTo>
                <a:cubicBezTo>
                  <a:pt x="4792516" y="259611"/>
                  <a:pt x="4790416" y="253312"/>
                  <a:pt x="4787056" y="249532"/>
                </a:cubicBezTo>
                <a:cubicBezTo>
                  <a:pt x="4783696" y="245752"/>
                  <a:pt x="4779496" y="243652"/>
                  <a:pt x="4774877" y="242812"/>
                </a:cubicBezTo>
                <a:cubicBezTo>
                  <a:pt x="4770256" y="241972"/>
                  <a:pt x="4764797" y="242392"/>
                  <a:pt x="4758917" y="243652"/>
                </a:cubicBezTo>
                <a:cubicBezTo>
                  <a:pt x="4753037" y="244912"/>
                  <a:pt x="4747157" y="246172"/>
                  <a:pt x="4740858" y="247852"/>
                </a:cubicBezTo>
                <a:cubicBezTo>
                  <a:pt x="4726579" y="252052"/>
                  <a:pt x="4711879" y="255412"/>
                  <a:pt x="4696340" y="257511"/>
                </a:cubicBezTo>
                <a:cubicBezTo>
                  <a:pt x="4680801" y="259611"/>
                  <a:pt x="4665261" y="262971"/>
                  <a:pt x="4650142" y="267171"/>
                </a:cubicBezTo>
                <a:cubicBezTo>
                  <a:pt x="4643422" y="269271"/>
                  <a:pt x="4637542" y="270111"/>
                  <a:pt x="4632083" y="269271"/>
                </a:cubicBezTo>
                <a:cubicBezTo>
                  <a:pt x="4626623" y="268851"/>
                  <a:pt x="4621583" y="267591"/>
                  <a:pt x="4616543" y="266751"/>
                </a:cubicBezTo>
                <a:cubicBezTo>
                  <a:pt x="4611503" y="265491"/>
                  <a:pt x="4606463" y="265071"/>
                  <a:pt x="4601424" y="265071"/>
                </a:cubicBezTo>
                <a:cubicBezTo>
                  <a:pt x="4596384" y="265071"/>
                  <a:pt x="4590924" y="266751"/>
                  <a:pt x="4585044" y="269691"/>
                </a:cubicBezTo>
                <a:cubicBezTo>
                  <a:pt x="4579585" y="275571"/>
                  <a:pt x="4575805" y="282710"/>
                  <a:pt x="4573285" y="290270"/>
                </a:cubicBezTo>
                <a:cubicBezTo>
                  <a:pt x="4570765" y="297830"/>
                  <a:pt x="4569505" y="305809"/>
                  <a:pt x="4568245" y="314209"/>
                </a:cubicBezTo>
                <a:cubicBezTo>
                  <a:pt x="4566986" y="322609"/>
                  <a:pt x="4566145" y="331008"/>
                  <a:pt x="4564886" y="339408"/>
                </a:cubicBezTo>
                <a:cubicBezTo>
                  <a:pt x="4563625" y="347808"/>
                  <a:pt x="4561526" y="355787"/>
                  <a:pt x="4558586" y="363767"/>
                </a:cubicBezTo>
                <a:cubicBezTo>
                  <a:pt x="4556066" y="369227"/>
                  <a:pt x="4554386" y="377626"/>
                  <a:pt x="4552706" y="388966"/>
                </a:cubicBezTo>
                <a:cubicBezTo>
                  <a:pt x="4551026" y="400725"/>
                  <a:pt x="4549766" y="413745"/>
                  <a:pt x="4548506" y="428024"/>
                </a:cubicBezTo>
                <a:cubicBezTo>
                  <a:pt x="4547246" y="442304"/>
                  <a:pt x="4546826" y="457423"/>
                  <a:pt x="4546406" y="472962"/>
                </a:cubicBezTo>
                <a:cubicBezTo>
                  <a:pt x="4545986" y="488502"/>
                  <a:pt x="4545986" y="503201"/>
                  <a:pt x="4545986" y="517060"/>
                </a:cubicBezTo>
                <a:cubicBezTo>
                  <a:pt x="4545986" y="530920"/>
                  <a:pt x="4546406" y="542679"/>
                  <a:pt x="4546826" y="553179"/>
                </a:cubicBezTo>
                <a:cubicBezTo>
                  <a:pt x="4547246" y="563258"/>
                  <a:pt x="4548086" y="570398"/>
                  <a:pt x="4549346" y="573338"/>
                </a:cubicBezTo>
                <a:cubicBezTo>
                  <a:pt x="4553966" y="591817"/>
                  <a:pt x="4561945" y="605256"/>
                  <a:pt x="4573285" y="614076"/>
                </a:cubicBezTo>
                <a:cubicBezTo>
                  <a:pt x="4584205" y="622896"/>
                  <a:pt x="4597224" y="627936"/>
                  <a:pt x="4611084" y="629616"/>
                </a:cubicBezTo>
                <a:cubicBezTo>
                  <a:pt x="4625363" y="631295"/>
                  <a:pt x="4640482" y="630036"/>
                  <a:pt x="4656021" y="625416"/>
                </a:cubicBezTo>
                <a:cubicBezTo>
                  <a:pt x="4671981" y="621216"/>
                  <a:pt x="4687100" y="615336"/>
                  <a:pt x="4701380" y="607777"/>
                </a:cubicBezTo>
                <a:cubicBezTo>
                  <a:pt x="4716079" y="600217"/>
                  <a:pt x="4729098" y="591817"/>
                  <a:pt x="4740858" y="582578"/>
                </a:cubicBezTo>
                <a:cubicBezTo>
                  <a:pt x="4753037" y="573338"/>
                  <a:pt x="4761857" y="564518"/>
                  <a:pt x="4768156" y="555699"/>
                </a:cubicBezTo>
                <a:cubicBezTo>
                  <a:pt x="4771097" y="551919"/>
                  <a:pt x="4774036" y="548559"/>
                  <a:pt x="4777396" y="545619"/>
                </a:cubicBezTo>
                <a:cubicBezTo>
                  <a:pt x="4780336" y="542679"/>
                  <a:pt x="4783276" y="539320"/>
                  <a:pt x="4785376" y="535540"/>
                </a:cubicBezTo>
                <a:cubicBezTo>
                  <a:pt x="4787476" y="532180"/>
                  <a:pt x="4788736" y="527980"/>
                  <a:pt x="4789156" y="523360"/>
                </a:cubicBezTo>
                <a:cubicBezTo>
                  <a:pt x="4789576" y="518740"/>
                  <a:pt x="4788736" y="512860"/>
                  <a:pt x="4786636" y="505721"/>
                </a:cubicBezTo>
                <a:cubicBezTo>
                  <a:pt x="4781596" y="490601"/>
                  <a:pt x="4771097" y="484302"/>
                  <a:pt x="4755137" y="485982"/>
                </a:cubicBezTo>
                <a:cubicBezTo>
                  <a:pt x="4747157" y="491861"/>
                  <a:pt x="4737918" y="499841"/>
                  <a:pt x="4728258" y="509501"/>
                </a:cubicBezTo>
                <a:cubicBezTo>
                  <a:pt x="4718599" y="519160"/>
                  <a:pt x="4708099" y="527980"/>
                  <a:pt x="4697600" y="535959"/>
                </a:cubicBezTo>
                <a:cubicBezTo>
                  <a:pt x="4686680" y="543939"/>
                  <a:pt x="4675341" y="549819"/>
                  <a:pt x="4663581" y="553599"/>
                </a:cubicBezTo>
                <a:cubicBezTo>
                  <a:pt x="4651822" y="557379"/>
                  <a:pt x="4639222" y="556119"/>
                  <a:pt x="4626203" y="550239"/>
                </a:cubicBezTo>
                <a:cubicBezTo>
                  <a:pt x="4622003" y="548559"/>
                  <a:pt x="4619063" y="544359"/>
                  <a:pt x="4616963" y="538479"/>
                </a:cubicBezTo>
                <a:cubicBezTo>
                  <a:pt x="4615283" y="532600"/>
                  <a:pt x="4614023" y="525460"/>
                  <a:pt x="4613184" y="517900"/>
                </a:cubicBezTo>
                <a:cubicBezTo>
                  <a:pt x="4612343" y="510341"/>
                  <a:pt x="4612763" y="502781"/>
                  <a:pt x="4613184" y="495641"/>
                </a:cubicBezTo>
                <a:cubicBezTo>
                  <a:pt x="4613603" y="488502"/>
                  <a:pt x="4614863" y="483042"/>
                  <a:pt x="4616123" y="479682"/>
                </a:cubicBezTo>
                <a:cubicBezTo>
                  <a:pt x="4617803" y="475902"/>
                  <a:pt x="4622003" y="472962"/>
                  <a:pt x="4627883" y="470442"/>
                </a:cubicBezTo>
                <a:cubicBezTo>
                  <a:pt x="4634183" y="468342"/>
                  <a:pt x="4640902" y="466243"/>
                  <a:pt x="4648882" y="464983"/>
                </a:cubicBezTo>
                <a:cubicBezTo>
                  <a:pt x="4656861" y="463723"/>
                  <a:pt x="4664421" y="462463"/>
                  <a:pt x="4671561" y="461203"/>
                </a:cubicBezTo>
                <a:cubicBezTo>
                  <a:pt x="4679120" y="460363"/>
                  <a:pt x="4684580" y="459523"/>
                  <a:pt x="4689200" y="458683"/>
                </a:cubicBezTo>
                <a:cubicBezTo>
                  <a:pt x="4695080" y="457843"/>
                  <a:pt x="4700120" y="456583"/>
                  <a:pt x="4704739" y="455323"/>
                </a:cubicBezTo>
                <a:cubicBezTo>
                  <a:pt x="4709359" y="453643"/>
                  <a:pt x="4713559" y="451543"/>
                  <a:pt x="4717339" y="449023"/>
                </a:cubicBezTo>
                <a:cubicBezTo>
                  <a:pt x="4720699" y="446083"/>
                  <a:pt x="4723638" y="442724"/>
                  <a:pt x="4725318" y="438104"/>
                </a:cubicBezTo>
                <a:cubicBezTo>
                  <a:pt x="4726999" y="433484"/>
                  <a:pt x="4727418" y="427604"/>
                  <a:pt x="4726579" y="420464"/>
                </a:cubicBezTo>
                <a:cubicBezTo>
                  <a:pt x="4726158" y="415005"/>
                  <a:pt x="4724479" y="409965"/>
                  <a:pt x="4722379" y="405345"/>
                </a:cubicBezTo>
                <a:cubicBezTo>
                  <a:pt x="4719859" y="400725"/>
                  <a:pt x="4716919" y="397365"/>
                  <a:pt x="4712719" y="395265"/>
                </a:cubicBezTo>
                <a:cubicBezTo>
                  <a:pt x="4704319" y="391066"/>
                  <a:pt x="4695500" y="389806"/>
                  <a:pt x="4687100" y="391486"/>
                </a:cubicBezTo>
                <a:cubicBezTo>
                  <a:pt x="4678281" y="393166"/>
                  <a:pt x="4669041" y="394846"/>
                  <a:pt x="4658961" y="395686"/>
                </a:cubicBezTo>
                <a:cubicBezTo>
                  <a:pt x="4656021" y="396105"/>
                  <a:pt x="4652242" y="396526"/>
                  <a:pt x="4646782" y="397786"/>
                </a:cubicBezTo>
                <a:cubicBezTo>
                  <a:pt x="4641742" y="398626"/>
                  <a:pt x="4637122" y="398626"/>
                  <a:pt x="4632922" y="396946"/>
                </a:cubicBezTo>
                <a:cubicBezTo>
                  <a:pt x="4629143" y="395265"/>
                  <a:pt x="4626203" y="391906"/>
                  <a:pt x="4625363" y="386446"/>
                </a:cubicBezTo>
                <a:cubicBezTo>
                  <a:pt x="4624103" y="380986"/>
                  <a:pt x="4626203" y="371327"/>
                  <a:pt x="4631242" y="358307"/>
                </a:cubicBezTo>
                <a:cubicBezTo>
                  <a:pt x="4636702" y="344448"/>
                  <a:pt x="4644262" y="335628"/>
                  <a:pt x="4653922" y="331848"/>
                </a:cubicBezTo>
                <a:cubicBezTo>
                  <a:pt x="4663581" y="328068"/>
                  <a:pt x="4674081" y="325549"/>
                  <a:pt x="4685420" y="325129"/>
                </a:cubicBezTo>
                <a:cubicBezTo>
                  <a:pt x="4696760" y="324289"/>
                  <a:pt x="4708519" y="323869"/>
                  <a:pt x="4720279" y="323029"/>
                </a:cubicBezTo>
                <a:cubicBezTo>
                  <a:pt x="4732038" y="322189"/>
                  <a:pt x="4742958" y="317989"/>
                  <a:pt x="4752617" y="310009"/>
                </a:cubicBezTo>
                <a:cubicBezTo>
                  <a:pt x="4758077" y="309589"/>
                  <a:pt x="4763117" y="307909"/>
                  <a:pt x="4768156" y="305809"/>
                </a:cubicBezTo>
                <a:moveTo>
                  <a:pt x="4989067" y="488502"/>
                </a:moveTo>
                <a:cubicBezTo>
                  <a:pt x="4993267" y="489342"/>
                  <a:pt x="4997047" y="490182"/>
                  <a:pt x="5000407" y="491861"/>
                </a:cubicBezTo>
                <a:cubicBezTo>
                  <a:pt x="5009226" y="494801"/>
                  <a:pt x="5019726" y="498581"/>
                  <a:pt x="5031066" y="503201"/>
                </a:cubicBezTo>
                <a:cubicBezTo>
                  <a:pt x="5042405" y="507821"/>
                  <a:pt x="5052065" y="513700"/>
                  <a:pt x="5059204" y="521260"/>
                </a:cubicBezTo>
                <a:cubicBezTo>
                  <a:pt x="5065924" y="527980"/>
                  <a:pt x="5073484" y="534280"/>
                  <a:pt x="5081883" y="540579"/>
                </a:cubicBezTo>
                <a:cubicBezTo>
                  <a:pt x="5090283" y="546879"/>
                  <a:pt x="5099102" y="552759"/>
                  <a:pt x="5108342" y="557379"/>
                </a:cubicBezTo>
                <a:cubicBezTo>
                  <a:pt x="5118002" y="561998"/>
                  <a:pt x="5127661" y="565778"/>
                  <a:pt x="5137741" y="568298"/>
                </a:cubicBezTo>
                <a:cubicBezTo>
                  <a:pt x="5147820" y="570818"/>
                  <a:pt x="5158320" y="571658"/>
                  <a:pt x="5169239" y="570398"/>
                </a:cubicBezTo>
                <a:cubicBezTo>
                  <a:pt x="5178479" y="569558"/>
                  <a:pt x="5187299" y="566618"/>
                  <a:pt x="5195278" y="561998"/>
                </a:cubicBezTo>
                <a:cubicBezTo>
                  <a:pt x="5202838" y="557799"/>
                  <a:pt x="5208298" y="552759"/>
                  <a:pt x="5211658" y="547299"/>
                </a:cubicBezTo>
                <a:cubicBezTo>
                  <a:pt x="5214597" y="541419"/>
                  <a:pt x="5215858" y="535540"/>
                  <a:pt x="5215017" y="530080"/>
                </a:cubicBezTo>
                <a:cubicBezTo>
                  <a:pt x="5214178" y="524200"/>
                  <a:pt x="5211237" y="518740"/>
                  <a:pt x="5206618" y="513700"/>
                </a:cubicBezTo>
                <a:cubicBezTo>
                  <a:pt x="5201998" y="508661"/>
                  <a:pt x="5196118" y="504461"/>
                  <a:pt x="5188138" y="501101"/>
                </a:cubicBezTo>
                <a:cubicBezTo>
                  <a:pt x="5184779" y="499841"/>
                  <a:pt x="5180999" y="499841"/>
                  <a:pt x="5177639" y="500261"/>
                </a:cubicBezTo>
                <a:cubicBezTo>
                  <a:pt x="5173859" y="500681"/>
                  <a:pt x="5170499" y="499841"/>
                  <a:pt x="5167560" y="497321"/>
                </a:cubicBezTo>
                <a:cubicBezTo>
                  <a:pt x="5158320" y="490182"/>
                  <a:pt x="5149080" y="483882"/>
                  <a:pt x="5139001" y="478002"/>
                </a:cubicBezTo>
                <a:cubicBezTo>
                  <a:pt x="5128921" y="472122"/>
                  <a:pt x="5118841" y="466662"/>
                  <a:pt x="5108762" y="461203"/>
                </a:cubicBezTo>
                <a:cubicBezTo>
                  <a:pt x="5098263" y="455743"/>
                  <a:pt x="5088183" y="450703"/>
                  <a:pt x="5077683" y="445243"/>
                </a:cubicBezTo>
                <a:cubicBezTo>
                  <a:pt x="5067604" y="439784"/>
                  <a:pt x="5057944" y="433904"/>
                  <a:pt x="5048285" y="427184"/>
                </a:cubicBezTo>
                <a:cubicBezTo>
                  <a:pt x="5060464" y="426764"/>
                  <a:pt x="5070964" y="422144"/>
                  <a:pt x="5080623" y="413745"/>
                </a:cubicBezTo>
                <a:cubicBezTo>
                  <a:pt x="5090283" y="405345"/>
                  <a:pt x="5098263" y="394846"/>
                  <a:pt x="5104982" y="381406"/>
                </a:cubicBezTo>
                <a:cubicBezTo>
                  <a:pt x="5111702" y="368387"/>
                  <a:pt x="5116741" y="353687"/>
                  <a:pt x="5120102" y="337308"/>
                </a:cubicBezTo>
                <a:cubicBezTo>
                  <a:pt x="5123881" y="321349"/>
                  <a:pt x="5125561" y="305390"/>
                  <a:pt x="5125981" y="289430"/>
                </a:cubicBezTo>
                <a:cubicBezTo>
                  <a:pt x="5126401" y="273471"/>
                  <a:pt x="5124721" y="258771"/>
                  <a:pt x="5121362" y="244912"/>
                </a:cubicBezTo>
                <a:cubicBezTo>
                  <a:pt x="5118002" y="231053"/>
                  <a:pt x="5112122" y="219713"/>
                  <a:pt x="5104562" y="211313"/>
                </a:cubicBezTo>
                <a:cubicBezTo>
                  <a:pt x="5097003" y="202914"/>
                  <a:pt x="5086923" y="197874"/>
                  <a:pt x="5075164" y="196194"/>
                </a:cubicBezTo>
                <a:cubicBezTo>
                  <a:pt x="5062984" y="194934"/>
                  <a:pt x="5048705" y="198294"/>
                  <a:pt x="5032325" y="207534"/>
                </a:cubicBezTo>
                <a:cubicBezTo>
                  <a:pt x="5028966" y="207114"/>
                  <a:pt x="5025606" y="208374"/>
                  <a:pt x="5021826" y="211313"/>
                </a:cubicBezTo>
                <a:cubicBezTo>
                  <a:pt x="5018046" y="214253"/>
                  <a:pt x="5014266" y="218033"/>
                  <a:pt x="5010486" y="222233"/>
                </a:cubicBezTo>
                <a:cubicBezTo>
                  <a:pt x="5007126" y="226433"/>
                  <a:pt x="5003346" y="231053"/>
                  <a:pt x="4999987" y="235672"/>
                </a:cubicBezTo>
                <a:cubicBezTo>
                  <a:pt x="4996627" y="240292"/>
                  <a:pt x="4993267" y="244072"/>
                  <a:pt x="4990747" y="246592"/>
                </a:cubicBezTo>
                <a:cubicBezTo>
                  <a:pt x="4987807" y="249532"/>
                  <a:pt x="4984447" y="251632"/>
                  <a:pt x="4980668" y="252892"/>
                </a:cubicBezTo>
                <a:cubicBezTo>
                  <a:pt x="4976888" y="254152"/>
                  <a:pt x="4973528" y="255832"/>
                  <a:pt x="4970588" y="257511"/>
                </a:cubicBezTo>
                <a:cubicBezTo>
                  <a:pt x="4967648" y="259191"/>
                  <a:pt x="4964708" y="260871"/>
                  <a:pt x="4962188" y="263391"/>
                </a:cubicBezTo>
                <a:cubicBezTo>
                  <a:pt x="4959669" y="265491"/>
                  <a:pt x="4957989" y="269271"/>
                  <a:pt x="4957569" y="273891"/>
                </a:cubicBezTo>
                <a:cubicBezTo>
                  <a:pt x="4955469" y="285650"/>
                  <a:pt x="4952949" y="296990"/>
                  <a:pt x="4949589" y="307489"/>
                </a:cubicBezTo>
                <a:cubicBezTo>
                  <a:pt x="4946229" y="317989"/>
                  <a:pt x="4942869" y="328489"/>
                  <a:pt x="4939089" y="338988"/>
                </a:cubicBezTo>
                <a:cubicBezTo>
                  <a:pt x="4935309" y="349488"/>
                  <a:pt x="4931530" y="359987"/>
                  <a:pt x="4927750" y="370067"/>
                </a:cubicBezTo>
                <a:cubicBezTo>
                  <a:pt x="4923970" y="380566"/>
                  <a:pt x="4920610" y="391486"/>
                  <a:pt x="4917250" y="403245"/>
                </a:cubicBezTo>
                <a:cubicBezTo>
                  <a:pt x="4912630" y="416685"/>
                  <a:pt x="4909691" y="430964"/>
                  <a:pt x="4907591" y="445243"/>
                </a:cubicBezTo>
                <a:cubicBezTo>
                  <a:pt x="4905491" y="459523"/>
                  <a:pt x="4902971" y="473382"/>
                  <a:pt x="4899191" y="486402"/>
                </a:cubicBezTo>
                <a:cubicBezTo>
                  <a:pt x="4897931" y="491022"/>
                  <a:pt x="4895831" y="499001"/>
                  <a:pt x="4892891" y="509921"/>
                </a:cubicBezTo>
                <a:cubicBezTo>
                  <a:pt x="4889951" y="521260"/>
                  <a:pt x="4886592" y="533860"/>
                  <a:pt x="4883651" y="548139"/>
                </a:cubicBezTo>
                <a:cubicBezTo>
                  <a:pt x="4880292" y="562419"/>
                  <a:pt x="4877772" y="577118"/>
                  <a:pt x="4875672" y="592237"/>
                </a:cubicBezTo>
                <a:cubicBezTo>
                  <a:pt x="4873572" y="607356"/>
                  <a:pt x="4873152" y="621216"/>
                  <a:pt x="4874412" y="633395"/>
                </a:cubicBezTo>
                <a:cubicBezTo>
                  <a:pt x="4875672" y="645575"/>
                  <a:pt x="4878612" y="655654"/>
                  <a:pt x="4883651" y="662794"/>
                </a:cubicBezTo>
                <a:cubicBezTo>
                  <a:pt x="4888692" y="670354"/>
                  <a:pt x="4897091" y="673294"/>
                  <a:pt x="4908011" y="672454"/>
                </a:cubicBezTo>
                <a:cubicBezTo>
                  <a:pt x="4916410" y="671614"/>
                  <a:pt x="4923130" y="668674"/>
                  <a:pt x="4928170" y="663634"/>
                </a:cubicBezTo>
                <a:cubicBezTo>
                  <a:pt x="4933210" y="658594"/>
                  <a:pt x="4936990" y="652715"/>
                  <a:pt x="4939509" y="645575"/>
                </a:cubicBezTo>
                <a:cubicBezTo>
                  <a:pt x="4942029" y="638435"/>
                  <a:pt x="4944129" y="630455"/>
                  <a:pt x="4944549" y="622056"/>
                </a:cubicBezTo>
                <a:cubicBezTo>
                  <a:pt x="4945389" y="613656"/>
                  <a:pt x="4945809" y="605256"/>
                  <a:pt x="4945389" y="597697"/>
                </a:cubicBezTo>
                <a:cubicBezTo>
                  <a:pt x="4945389" y="590977"/>
                  <a:pt x="4946649" y="582157"/>
                  <a:pt x="4948749" y="571658"/>
                </a:cubicBezTo>
                <a:cubicBezTo>
                  <a:pt x="4951269" y="561158"/>
                  <a:pt x="4953789" y="550239"/>
                  <a:pt x="4957569" y="539320"/>
                </a:cubicBezTo>
                <a:cubicBezTo>
                  <a:pt x="4960928" y="528400"/>
                  <a:pt x="4964708" y="517480"/>
                  <a:pt x="4968908" y="506561"/>
                </a:cubicBezTo>
                <a:cubicBezTo>
                  <a:pt x="4973108" y="496061"/>
                  <a:pt x="4976888" y="486822"/>
                  <a:pt x="4980668" y="479682"/>
                </a:cubicBezTo>
                <a:cubicBezTo>
                  <a:pt x="4982347" y="485562"/>
                  <a:pt x="4984868" y="487662"/>
                  <a:pt x="4989067" y="488502"/>
                </a:cubicBezTo>
                <a:moveTo>
                  <a:pt x="5020986" y="380146"/>
                </a:moveTo>
                <a:cubicBezTo>
                  <a:pt x="5018466" y="383926"/>
                  <a:pt x="5015526" y="387286"/>
                  <a:pt x="5013006" y="390226"/>
                </a:cubicBezTo>
                <a:cubicBezTo>
                  <a:pt x="5010066" y="392746"/>
                  <a:pt x="5007126" y="394846"/>
                  <a:pt x="5004606" y="395686"/>
                </a:cubicBezTo>
                <a:cubicBezTo>
                  <a:pt x="5001667" y="396946"/>
                  <a:pt x="4999567" y="396105"/>
                  <a:pt x="4997887" y="394426"/>
                </a:cubicBezTo>
                <a:cubicBezTo>
                  <a:pt x="4994107" y="390226"/>
                  <a:pt x="4993267" y="384766"/>
                  <a:pt x="4994947" y="377206"/>
                </a:cubicBezTo>
                <a:cubicBezTo>
                  <a:pt x="4996627" y="369647"/>
                  <a:pt x="4999567" y="362087"/>
                  <a:pt x="5004187" y="353687"/>
                </a:cubicBezTo>
                <a:cubicBezTo>
                  <a:pt x="5008806" y="345708"/>
                  <a:pt x="5013426" y="338148"/>
                  <a:pt x="5018886" y="331428"/>
                </a:cubicBezTo>
                <a:cubicBezTo>
                  <a:pt x="5024345" y="324709"/>
                  <a:pt x="5028966" y="320089"/>
                  <a:pt x="5032745" y="317149"/>
                </a:cubicBezTo>
                <a:cubicBezTo>
                  <a:pt x="5033165" y="326389"/>
                  <a:pt x="5033165" y="334788"/>
                  <a:pt x="5033585" y="343188"/>
                </a:cubicBezTo>
                <a:cubicBezTo>
                  <a:pt x="5034005" y="351167"/>
                  <a:pt x="5031905" y="359567"/>
                  <a:pt x="5027705" y="368387"/>
                </a:cubicBezTo>
                <a:cubicBezTo>
                  <a:pt x="5026025" y="372166"/>
                  <a:pt x="5023926" y="376366"/>
                  <a:pt x="5020986" y="380146"/>
                </a:cubicBezTo>
                <a:moveTo>
                  <a:pt x="5336392" y="237352"/>
                </a:moveTo>
                <a:cubicBezTo>
                  <a:pt x="5331773" y="252892"/>
                  <a:pt x="5330932" y="269271"/>
                  <a:pt x="5333872" y="285230"/>
                </a:cubicBezTo>
                <a:cubicBezTo>
                  <a:pt x="5337232" y="301190"/>
                  <a:pt x="5342272" y="318409"/>
                  <a:pt x="5349831" y="336048"/>
                </a:cubicBezTo>
                <a:cubicBezTo>
                  <a:pt x="5357391" y="353687"/>
                  <a:pt x="5364111" y="373427"/>
                  <a:pt x="5369991" y="395265"/>
                </a:cubicBezTo>
                <a:cubicBezTo>
                  <a:pt x="5370831" y="398205"/>
                  <a:pt x="5372091" y="402405"/>
                  <a:pt x="5374191" y="408285"/>
                </a:cubicBezTo>
                <a:cubicBezTo>
                  <a:pt x="5376291" y="414165"/>
                  <a:pt x="5378810" y="420464"/>
                  <a:pt x="5380490" y="428024"/>
                </a:cubicBezTo>
                <a:cubicBezTo>
                  <a:pt x="5382590" y="435584"/>
                  <a:pt x="5384690" y="443144"/>
                  <a:pt x="5386370" y="451543"/>
                </a:cubicBezTo>
                <a:cubicBezTo>
                  <a:pt x="5388050" y="459523"/>
                  <a:pt x="5388890" y="467502"/>
                  <a:pt x="5389310" y="474642"/>
                </a:cubicBezTo>
                <a:cubicBezTo>
                  <a:pt x="5389730" y="481782"/>
                  <a:pt x="5388890" y="488082"/>
                  <a:pt x="5386790" y="493121"/>
                </a:cubicBezTo>
                <a:cubicBezTo>
                  <a:pt x="5385110" y="498581"/>
                  <a:pt x="5381330" y="501941"/>
                  <a:pt x="5376291" y="503621"/>
                </a:cubicBezTo>
                <a:cubicBezTo>
                  <a:pt x="5372930" y="504461"/>
                  <a:pt x="5369571" y="504461"/>
                  <a:pt x="5366631" y="503621"/>
                </a:cubicBezTo>
                <a:cubicBezTo>
                  <a:pt x="5363691" y="502361"/>
                  <a:pt x="5361171" y="500681"/>
                  <a:pt x="5358231" y="498161"/>
                </a:cubicBezTo>
                <a:cubicBezTo>
                  <a:pt x="5355711" y="495641"/>
                  <a:pt x="5353192" y="493121"/>
                  <a:pt x="5351092" y="490182"/>
                </a:cubicBezTo>
                <a:cubicBezTo>
                  <a:pt x="5348572" y="487242"/>
                  <a:pt x="5346472" y="485142"/>
                  <a:pt x="5344792" y="483042"/>
                </a:cubicBezTo>
                <a:cubicBezTo>
                  <a:pt x="5338492" y="476322"/>
                  <a:pt x="5332612" y="473382"/>
                  <a:pt x="5326732" y="473382"/>
                </a:cubicBezTo>
                <a:cubicBezTo>
                  <a:pt x="5320853" y="473802"/>
                  <a:pt x="5315393" y="475902"/>
                  <a:pt x="5310773" y="480102"/>
                </a:cubicBezTo>
                <a:cubicBezTo>
                  <a:pt x="5306154" y="484302"/>
                  <a:pt x="5302374" y="490182"/>
                  <a:pt x="5299854" y="497321"/>
                </a:cubicBezTo>
                <a:cubicBezTo>
                  <a:pt x="5296914" y="504461"/>
                  <a:pt x="5296074" y="511181"/>
                  <a:pt x="5296914" y="517900"/>
                </a:cubicBezTo>
                <a:cubicBezTo>
                  <a:pt x="5297754" y="525460"/>
                  <a:pt x="5299854" y="533440"/>
                  <a:pt x="5303214" y="541419"/>
                </a:cubicBezTo>
                <a:cubicBezTo>
                  <a:pt x="5306574" y="549399"/>
                  <a:pt x="5311193" y="556959"/>
                  <a:pt x="5316653" y="563678"/>
                </a:cubicBezTo>
                <a:cubicBezTo>
                  <a:pt x="5322113" y="570398"/>
                  <a:pt x="5328832" y="575858"/>
                  <a:pt x="5336392" y="579638"/>
                </a:cubicBezTo>
                <a:cubicBezTo>
                  <a:pt x="5343952" y="583837"/>
                  <a:pt x="5352352" y="585518"/>
                  <a:pt x="5361171" y="585518"/>
                </a:cubicBezTo>
                <a:cubicBezTo>
                  <a:pt x="5384270" y="585097"/>
                  <a:pt x="5402750" y="579638"/>
                  <a:pt x="5416609" y="569558"/>
                </a:cubicBezTo>
                <a:cubicBezTo>
                  <a:pt x="5430468" y="559479"/>
                  <a:pt x="5441388" y="546879"/>
                  <a:pt x="5448527" y="532180"/>
                </a:cubicBezTo>
                <a:cubicBezTo>
                  <a:pt x="5455667" y="517480"/>
                  <a:pt x="5459447" y="501521"/>
                  <a:pt x="5460287" y="484302"/>
                </a:cubicBezTo>
                <a:cubicBezTo>
                  <a:pt x="5461127" y="467083"/>
                  <a:pt x="5459447" y="450703"/>
                  <a:pt x="5455247" y="435584"/>
                </a:cubicBezTo>
                <a:cubicBezTo>
                  <a:pt x="5452307" y="423824"/>
                  <a:pt x="5448107" y="412065"/>
                  <a:pt x="5442648" y="400305"/>
                </a:cubicBezTo>
                <a:cubicBezTo>
                  <a:pt x="5437188" y="388546"/>
                  <a:pt x="5431728" y="376786"/>
                  <a:pt x="5426688" y="364607"/>
                </a:cubicBezTo>
                <a:cubicBezTo>
                  <a:pt x="5421228" y="352428"/>
                  <a:pt x="5416609" y="340668"/>
                  <a:pt x="5412829" y="328489"/>
                </a:cubicBezTo>
                <a:cubicBezTo>
                  <a:pt x="5408629" y="316309"/>
                  <a:pt x="5406529" y="304130"/>
                  <a:pt x="5406109" y="292370"/>
                </a:cubicBezTo>
                <a:cubicBezTo>
                  <a:pt x="5405269" y="274731"/>
                  <a:pt x="5406529" y="262131"/>
                  <a:pt x="5409889" y="254152"/>
                </a:cubicBezTo>
                <a:cubicBezTo>
                  <a:pt x="5412829" y="246172"/>
                  <a:pt x="5417869" y="239872"/>
                  <a:pt x="5424588" y="236512"/>
                </a:cubicBezTo>
                <a:cubicBezTo>
                  <a:pt x="5431308" y="232733"/>
                  <a:pt x="5439708" y="229793"/>
                  <a:pt x="5449787" y="227693"/>
                </a:cubicBezTo>
                <a:cubicBezTo>
                  <a:pt x="5459867" y="225593"/>
                  <a:pt x="5471626" y="222233"/>
                  <a:pt x="5485066" y="217193"/>
                </a:cubicBezTo>
                <a:cubicBezTo>
                  <a:pt x="5490106" y="215513"/>
                  <a:pt x="5495565" y="212993"/>
                  <a:pt x="5500605" y="209214"/>
                </a:cubicBezTo>
                <a:cubicBezTo>
                  <a:pt x="5505645" y="205434"/>
                  <a:pt x="5508585" y="200394"/>
                  <a:pt x="5509845" y="194094"/>
                </a:cubicBezTo>
                <a:cubicBezTo>
                  <a:pt x="5508585" y="187795"/>
                  <a:pt x="5506905" y="181915"/>
                  <a:pt x="5504805" y="176875"/>
                </a:cubicBezTo>
                <a:cubicBezTo>
                  <a:pt x="5502705" y="171835"/>
                  <a:pt x="5500185" y="167635"/>
                  <a:pt x="5496405" y="164275"/>
                </a:cubicBezTo>
                <a:cubicBezTo>
                  <a:pt x="5493046" y="160916"/>
                  <a:pt x="5488425" y="158396"/>
                  <a:pt x="5482966" y="156716"/>
                </a:cubicBezTo>
                <a:cubicBezTo>
                  <a:pt x="5477506" y="155036"/>
                  <a:pt x="5470786" y="155036"/>
                  <a:pt x="5462387" y="155876"/>
                </a:cubicBezTo>
                <a:cubicBezTo>
                  <a:pt x="5455247" y="156716"/>
                  <a:pt x="5447268" y="157976"/>
                  <a:pt x="5438868" y="159236"/>
                </a:cubicBezTo>
                <a:cubicBezTo>
                  <a:pt x="5430468" y="160916"/>
                  <a:pt x="5422069" y="163016"/>
                  <a:pt x="5413669" y="165536"/>
                </a:cubicBezTo>
                <a:cubicBezTo>
                  <a:pt x="5405269" y="168055"/>
                  <a:pt x="5397709" y="171415"/>
                  <a:pt x="5390150" y="175195"/>
                </a:cubicBezTo>
                <a:cubicBezTo>
                  <a:pt x="5382590" y="178975"/>
                  <a:pt x="5376291" y="183595"/>
                  <a:pt x="5370831" y="189054"/>
                </a:cubicBezTo>
                <a:cubicBezTo>
                  <a:pt x="5352352" y="205014"/>
                  <a:pt x="5341012" y="221393"/>
                  <a:pt x="5336392" y="237352"/>
                </a:cubicBezTo>
                <a:moveTo>
                  <a:pt x="5839951" y="119757"/>
                </a:moveTo>
                <a:cubicBezTo>
                  <a:pt x="5836171" y="118917"/>
                  <a:pt x="5831971" y="118498"/>
                  <a:pt x="5827771" y="118498"/>
                </a:cubicBezTo>
                <a:cubicBezTo>
                  <a:pt x="5823571" y="118498"/>
                  <a:pt x="5818952" y="118917"/>
                  <a:pt x="5814332" y="119757"/>
                </a:cubicBezTo>
                <a:cubicBezTo>
                  <a:pt x="5809712" y="120597"/>
                  <a:pt x="5805512" y="121017"/>
                  <a:pt x="5802152" y="121437"/>
                </a:cubicBezTo>
                <a:cubicBezTo>
                  <a:pt x="5782833" y="123117"/>
                  <a:pt x="5763514" y="125637"/>
                  <a:pt x="5743775" y="129417"/>
                </a:cubicBezTo>
                <a:cubicBezTo>
                  <a:pt x="5724036" y="133197"/>
                  <a:pt x="5704296" y="137817"/>
                  <a:pt x="5684977" y="142856"/>
                </a:cubicBezTo>
                <a:cubicBezTo>
                  <a:pt x="5665658" y="148316"/>
                  <a:pt x="5647179" y="154196"/>
                  <a:pt x="5629540" y="160916"/>
                </a:cubicBezTo>
                <a:cubicBezTo>
                  <a:pt x="5611900" y="167635"/>
                  <a:pt x="5595521" y="175195"/>
                  <a:pt x="5580822" y="183175"/>
                </a:cubicBezTo>
                <a:cubicBezTo>
                  <a:pt x="5577042" y="185275"/>
                  <a:pt x="5574522" y="186955"/>
                  <a:pt x="5572842" y="188635"/>
                </a:cubicBezTo>
                <a:cubicBezTo>
                  <a:pt x="5571162" y="189894"/>
                  <a:pt x="5570742" y="193254"/>
                  <a:pt x="5571162" y="198294"/>
                </a:cubicBezTo>
                <a:cubicBezTo>
                  <a:pt x="5571582" y="202074"/>
                  <a:pt x="5572002" y="205854"/>
                  <a:pt x="5572842" y="209634"/>
                </a:cubicBezTo>
                <a:cubicBezTo>
                  <a:pt x="5573682" y="213833"/>
                  <a:pt x="5574942" y="217613"/>
                  <a:pt x="5576622" y="221393"/>
                </a:cubicBezTo>
                <a:cubicBezTo>
                  <a:pt x="5578302" y="225173"/>
                  <a:pt x="5580402" y="228533"/>
                  <a:pt x="5582921" y="231473"/>
                </a:cubicBezTo>
                <a:cubicBezTo>
                  <a:pt x="5585442" y="234412"/>
                  <a:pt x="5588381" y="236512"/>
                  <a:pt x="5592161" y="237352"/>
                </a:cubicBezTo>
                <a:cubicBezTo>
                  <a:pt x="5598881" y="239452"/>
                  <a:pt x="5606020" y="240292"/>
                  <a:pt x="5614420" y="239032"/>
                </a:cubicBezTo>
                <a:cubicBezTo>
                  <a:pt x="5622400" y="238192"/>
                  <a:pt x="5630380" y="236092"/>
                  <a:pt x="5638359" y="233572"/>
                </a:cubicBezTo>
                <a:cubicBezTo>
                  <a:pt x="5646339" y="231053"/>
                  <a:pt x="5654318" y="227693"/>
                  <a:pt x="5661878" y="224333"/>
                </a:cubicBezTo>
                <a:cubicBezTo>
                  <a:pt x="5669438" y="220973"/>
                  <a:pt x="5676158" y="218033"/>
                  <a:pt x="5682038" y="215093"/>
                </a:cubicBezTo>
                <a:cubicBezTo>
                  <a:pt x="5681197" y="240292"/>
                  <a:pt x="5679938" y="264231"/>
                  <a:pt x="5677417" y="286910"/>
                </a:cubicBezTo>
                <a:cubicBezTo>
                  <a:pt x="5675317" y="309589"/>
                  <a:pt x="5672798" y="332268"/>
                  <a:pt x="5670278" y="354527"/>
                </a:cubicBezTo>
                <a:cubicBezTo>
                  <a:pt x="5667758" y="376786"/>
                  <a:pt x="5666078" y="399465"/>
                  <a:pt x="5664818" y="421725"/>
                </a:cubicBezTo>
                <a:cubicBezTo>
                  <a:pt x="5663558" y="444403"/>
                  <a:pt x="5663558" y="467923"/>
                  <a:pt x="5665238" y="492281"/>
                </a:cubicBezTo>
                <a:cubicBezTo>
                  <a:pt x="5666078" y="498581"/>
                  <a:pt x="5667758" y="505301"/>
                  <a:pt x="5670278" y="512021"/>
                </a:cubicBezTo>
                <a:cubicBezTo>
                  <a:pt x="5673218" y="518740"/>
                  <a:pt x="5676578" y="524620"/>
                  <a:pt x="5680777" y="529240"/>
                </a:cubicBezTo>
                <a:cubicBezTo>
                  <a:pt x="5684977" y="533860"/>
                  <a:pt x="5690437" y="537220"/>
                  <a:pt x="5696317" y="538899"/>
                </a:cubicBezTo>
                <a:cubicBezTo>
                  <a:pt x="5702196" y="540999"/>
                  <a:pt x="5708916" y="540159"/>
                  <a:pt x="5715636" y="536799"/>
                </a:cubicBezTo>
                <a:cubicBezTo>
                  <a:pt x="5727815" y="531340"/>
                  <a:pt x="5735795" y="525040"/>
                  <a:pt x="5739575" y="518740"/>
                </a:cubicBezTo>
                <a:cubicBezTo>
                  <a:pt x="5743355" y="512441"/>
                  <a:pt x="5745035" y="505301"/>
                  <a:pt x="5744614" y="497321"/>
                </a:cubicBezTo>
                <a:cubicBezTo>
                  <a:pt x="5744195" y="489342"/>
                  <a:pt x="5742515" y="481362"/>
                  <a:pt x="5739995" y="472542"/>
                </a:cubicBezTo>
                <a:cubicBezTo>
                  <a:pt x="5737055" y="463723"/>
                  <a:pt x="5735375" y="454483"/>
                  <a:pt x="5734115" y="444403"/>
                </a:cubicBezTo>
                <a:cubicBezTo>
                  <a:pt x="5732015" y="425084"/>
                  <a:pt x="5732015" y="406185"/>
                  <a:pt x="5733275" y="386866"/>
                </a:cubicBezTo>
                <a:cubicBezTo>
                  <a:pt x="5734955" y="367547"/>
                  <a:pt x="5736635" y="348228"/>
                  <a:pt x="5738735" y="328908"/>
                </a:cubicBezTo>
                <a:cubicBezTo>
                  <a:pt x="5741255" y="309169"/>
                  <a:pt x="5743355" y="289850"/>
                  <a:pt x="5745455" y="270111"/>
                </a:cubicBezTo>
                <a:cubicBezTo>
                  <a:pt x="5747555" y="250372"/>
                  <a:pt x="5748814" y="230213"/>
                  <a:pt x="5748394" y="210054"/>
                </a:cubicBezTo>
                <a:cubicBezTo>
                  <a:pt x="5748394" y="205434"/>
                  <a:pt x="5749235" y="202074"/>
                  <a:pt x="5750494" y="199134"/>
                </a:cubicBezTo>
                <a:cubicBezTo>
                  <a:pt x="5752174" y="196614"/>
                  <a:pt x="5754274" y="194514"/>
                  <a:pt x="5756374" y="192834"/>
                </a:cubicBezTo>
                <a:cubicBezTo>
                  <a:pt x="5758894" y="191154"/>
                  <a:pt x="5761834" y="189894"/>
                  <a:pt x="5765194" y="189054"/>
                </a:cubicBezTo>
                <a:cubicBezTo>
                  <a:pt x="5768134" y="188214"/>
                  <a:pt x="5771493" y="187374"/>
                  <a:pt x="5774853" y="186535"/>
                </a:cubicBezTo>
                <a:cubicBezTo>
                  <a:pt x="5785773" y="183595"/>
                  <a:pt x="5797533" y="181915"/>
                  <a:pt x="5809712" y="181075"/>
                </a:cubicBezTo>
                <a:cubicBezTo>
                  <a:pt x="5821891" y="180655"/>
                  <a:pt x="5833651" y="178135"/>
                  <a:pt x="5844151" y="174775"/>
                </a:cubicBezTo>
                <a:cubicBezTo>
                  <a:pt x="5850030" y="172675"/>
                  <a:pt x="5853810" y="169735"/>
                  <a:pt x="5855070" y="165955"/>
                </a:cubicBezTo>
                <a:cubicBezTo>
                  <a:pt x="5856330" y="162175"/>
                  <a:pt x="5856750" y="157976"/>
                  <a:pt x="5855910" y="153356"/>
                </a:cubicBezTo>
                <a:cubicBezTo>
                  <a:pt x="5855070" y="148736"/>
                  <a:pt x="5853810" y="143696"/>
                  <a:pt x="5852130" y="138657"/>
                </a:cubicBezTo>
                <a:cubicBezTo>
                  <a:pt x="5850450" y="133617"/>
                  <a:pt x="5849610" y="128577"/>
                  <a:pt x="5849610" y="123537"/>
                </a:cubicBezTo>
                <a:cubicBezTo>
                  <a:pt x="5847510" y="122277"/>
                  <a:pt x="5843731" y="120597"/>
                  <a:pt x="5839951" y="119757"/>
                </a:cubicBezTo>
                <a:moveTo>
                  <a:pt x="6155357" y="108418"/>
                </a:moveTo>
                <a:cubicBezTo>
                  <a:pt x="6149477" y="107578"/>
                  <a:pt x="6144438" y="106318"/>
                  <a:pt x="6139818" y="104638"/>
                </a:cubicBezTo>
                <a:cubicBezTo>
                  <a:pt x="6130158" y="100858"/>
                  <a:pt x="6121758" y="97078"/>
                  <a:pt x="6114199" y="92459"/>
                </a:cubicBezTo>
                <a:cubicBezTo>
                  <a:pt x="6106639" y="88259"/>
                  <a:pt x="6097820" y="86159"/>
                  <a:pt x="6087320" y="86159"/>
                </a:cubicBezTo>
                <a:cubicBezTo>
                  <a:pt x="6074300" y="87839"/>
                  <a:pt x="6063381" y="92459"/>
                  <a:pt x="6054141" y="100018"/>
                </a:cubicBezTo>
                <a:cubicBezTo>
                  <a:pt x="6044902" y="107998"/>
                  <a:pt x="6036922" y="116817"/>
                  <a:pt x="6029782" y="127737"/>
                </a:cubicBezTo>
                <a:cubicBezTo>
                  <a:pt x="6022643" y="138657"/>
                  <a:pt x="6016343" y="149996"/>
                  <a:pt x="6010883" y="161756"/>
                </a:cubicBezTo>
                <a:cubicBezTo>
                  <a:pt x="6005003" y="173935"/>
                  <a:pt x="5999544" y="185275"/>
                  <a:pt x="5994084" y="195774"/>
                </a:cubicBezTo>
                <a:cubicBezTo>
                  <a:pt x="5988204" y="207534"/>
                  <a:pt x="5982325" y="222233"/>
                  <a:pt x="5975185" y="238612"/>
                </a:cubicBezTo>
                <a:cubicBezTo>
                  <a:pt x="5968465" y="255412"/>
                  <a:pt x="5962165" y="273051"/>
                  <a:pt x="5956285" y="291950"/>
                </a:cubicBezTo>
                <a:cubicBezTo>
                  <a:pt x="5950406" y="310849"/>
                  <a:pt x="5946206" y="330168"/>
                  <a:pt x="5942846" y="349488"/>
                </a:cubicBezTo>
                <a:cubicBezTo>
                  <a:pt x="5939486" y="369227"/>
                  <a:pt x="5938646" y="387706"/>
                  <a:pt x="5940326" y="405345"/>
                </a:cubicBezTo>
                <a:cubicBezTo>
                  <a:pt x="5942006" y="422984"/>
                  <a:pt x="5946626" y="438944"/>
                  <a:pt x="5954605" y="453643"/>
                </a:cubicBezTo>
                <a:cubicBezTo>
                  <a:pt x="5962165" y="467923"/>
                  <a:pt x="5974345" y="479682"/>
                  <a:pt x="5991144" y="488502"/>
                </a:cubicBezTo>
                <a:cubicBezTo>
                  <a:pt x="5998284" y="492281"/>
                  <a:pt x="6005003" y="494381"/>
                  <a:pt x="6011723" y="495641"/>
                </a:cubicBezTo>
                <a:cubicBezTo>
                  <a:pt x="6018443" y="496901"/>
                  <a:pt x="6025163" y="496901"/>
                  <a:pt x="6031882" y="496481"/>
                </a:cubicBezTo>
                <a:cubicBezTo>
                  <a:pt x="6044902" y="495221"/>
                  <a:pt x="6058341" y="490182"/>
                  <a:pt x="6072621" y="482202"/>
                </a:cubicBezTo>
                <a:cubicBezTo>
                  <a:pt x="6086900" y="474222"/>
                  <a:pt x="6100339" y="464143"/>
                  <a:pt x="6113359" y="452803"/>
                </a:cubicBezTo>
                <a:cubicBezTo>
                  <a:pt x="6126378" y="441463"/>
                  <a:pt x="6138138" y="429284"/>
                  <a:pt x="6148637" y="416685"/>
                </a:cubicBezTo>
                <a:cubicBezTo>
                  <a:pt x="6159137" y="404085"/>
                  <a:pt x="6167117" y="392746"/>
                  <a:pt x="6172576" y="382666"/>
                </a:cubicBezTo>
                <a:cubicBezTo>
                  <a:pt x="6177196" y="375106"/>
                  <a:pt x="6181816" y="367967"/>
                  <a:pt x="6186016" y="361667"/>
                </a:cubicBezTo>
                <a:cubicBezTo>
                  <a:pt x="6190216" y="355787"/>
                  <a:pt x="6194416" y="349067"/>
                  <a:pt x="6197775" y="342348"/>
                </a:cubicBezTo>
                <a:cubicBezTo>
                  <a:pt x="6201555" y="335628"/>
                  <a:pt x="6204915" y="328068"/>
                  <a:pt x="6207855" y="319249"/>
                </a:cubicBezTo>
                <a:cubicBezTo>
                  <a:pt x="6210794" y="310849"/>
                  <a:pt x="6212894" y="300350"/>
                  <a:pt x="6214574" y="288170"/>
                </a:cubicBezTo>
                <a:cubicBezTo>
                  <a:pt x="6214994" y="281450"/>
                  <a:pt x="6216254" y="275571"/>
                  <a:pt x="6218774" y="270531"/>
                </a:cubicBezTo>
                <a:cubicBezTo>
                  <a:pt x="6221294" y="265491"/>
                  <a:pt x="6222134" y="260451"/>
                  <a:pt x="6222134" y="255832"/>
                </a:cubicBezTo>
                <a:cubicBezTo>
                  <a:pt x="6223394" y="244912"/>
                  <a:pt x="6224654" y="231893"/>
                  <a:pt x="6224654" y="216773"/>
                </a:cubicBezTo>
                <a:cubicBezTo>
                  <a:pt x="6225074" y="201654"/>
                  <a:pt x="6223814" y="186535"/>
                  <a:pt x="6220454" y="171415"/>
                </a:cubicBezTo>
                <a:cubicBezTo>
                  <a:pt x="6217094" y="156716"/>
                  <a:pt x="6211635" y="143276"/>
                  <a:pt x="6204075" y="131937"/>
                </a:cubicBezTo>
                <a:cubicBezTo>
                  <a:pt x="6196515" y="120177"/>
                  <a:pt x="6185596" y="113038"/>
                  <a:pt x="6172156" y="110098"/>
                </a:cubicBezTo>
                <a:cubicBezTo>
                  <a:pt x="6166276" y="110518"/>
                  <a:pt x="6160817" y="109678"/>
                  <a:pt x="6155357" y="108418"/>
                </a:cubicBezTo>
                <a:moveTo>
                  <a:pt x="6134778" y="332268"/>
                </a:moveTo>
                <a:cubicBezTo>
                  <a:pt x="6126798" y="346548"/>
                  <a:pt x="6117559" y="359567"/>
                  <a:pt x="6107059" y="372166"/>
                </a:cubicBezTo>
                <a:cubicBezTo>
                  <a:pt x="6096979" y="384766"/>
                  <a:pt x="6085640" y="395686"/>
                  <a:pt x="6073041" y="405765"/>
                </a:cubicBezTo>
                <a:cubicBezTo>
                  <a:pt x="6060861" y="415425"/>
                  <a:pt x="6048682" y="422564"/>
                  <a:pt x="6036502" y="427604"/>
                </a:cubicBezTo>
                <a:cubicBezTo>
                  <a:pt x="6029782" y="430124"/>
                  <a:pt x="6024323" y="430124"/>
                  <a:pt x="6019703" y="427604"/>
                </a:cubicBezTo>
                <a:cubicBezTo>
                  <a:pt x="6015083" y="425084"/>
                  <a:pt x="6011303" y="421304"/>
                  <a:pt x="6008783" y="415845"/>
                </a:cubicBezTo>
                <a:cubicBezTo>
                  <a:pt x="6005844" y="410385"/>
                  <a:pt x="6004164" y="404085"/>
                  <a:pt x="6002903" y="396946"/>
                </a:cubicBezTo>
                <a:cubicBezTo>
                  <a:pt x="6001644" y="389806"/>
                  <a:pt x="6001224" y="382246"/>
                  <a:pt x="6001224" y="375106"/>
                </a:cubicBezTo>
                <a:cubicBezTo>
                  <a:pt x="6001224" y="367967"/>
                  <a:pt x="6001644" y="360827"/>
                  <a:pt x="6002903" y="354527"/>
                </a:cubicBezTo>
                <a:cubicBezTo>
                  <a:pt x="6004164" y="348228"/>
                  <a:pt x="6005424" y="343608"/>
                  <a:pt x="6007524" y="340248"/>
                </a:cubicBezTo>
                <a:cubicBezTo>
                  <a:pt x="6012983" y="330168"/>
                  <a:pt x="6016763" y="319249"/>
                  <a:pt x="6018863" y="307069"/>
                </a:cubicBezTo>
                <a:cubicBezTo>
                  <a:pt x="6020963" y="294890"/>
                  <a:pt x="6023483" y="283550"/>
                  <a:pt x="6026002" y="272211"/>
                </a:cubicBezTo>
                <a:cubicBezTo>
                  <a:pt x="6030202" y="253732"/>
                  <a:pt x="6038182" y="236512"/>
                  <a:pt x="6050362" y="219713"/>
                </a:cubicBezTo>
                <a:cubicBezTo>
                  <a:pt x="6062121" y="202914"/>
                  <a:pt x="6075980" y="189054"/>
                  <a:pt x="6091520" y="177715"/>
                </a:cubicBezTo>
                <a:cubicBezTo>
                  <a:pt x="6096140" y="174775"/>
                  <a:pt x="6100759" y="173515"/>
                  <a:pt x="6105799" y="174355"/>
                </a:cubicBezTo>
                <a:cubicBezTo>
                  <a:pt x="6110839" y="175195"/>
                  <a:pt x="6116298" y="175195"/>
                  <a:pt x="6122598" y="174355"/>
                </a:cubicBezTo>
                <a:cubicBezTo>
                  <a:pt x="6130578" y="173515"/>
                  <a:pt x="6136878" y="175195"/>
                  <a:pt x="6141918" y="179395"/>
                </a:cubicBezTo>
                <a:cubicBezTo>
                  <a:pt x="6146957" y="183595"/>
                  <a:pt x="6150737" y="189054"/>
                  <a:pt x="6153257" y="196614"/>
                </a:cubicBezTo>
                <a:cubicBezTo>
                  <a:pt x="6155777" y="203754"/>
                  <a:pt x="6157457" y="212153"/>
                  <a:pt x="6158297" y="220973"/>
                </a:cubicBezTo>
                <a:cubicBezTo>
                  <a:pt x="6159137" y="229793"/>
                  <a:pt x="6159137" y="239032"/>
                  <a:pt x="6158717" y="247852"/>
                </a:cubicBezTo>
                <a:cubicBezTo>
                  <a:pt x="6158297" y="256671"/>
                  <a:pt x="6157457" y="265071"/>
                  <a:pt x="6156197" y="272631"/>
                </a:cubicBezTo>
                <a:cubicBezTo>
                  <a:pt x="6154937" y="280191"/>
                  <a:pt x="6153677" y="286070"/>
                  <a:pt x="6152837" y="290270"/>
                </a:cubicBezTo>
                <a:cubicBezTo>
                  <a:pt x="6148637" y="304549"/>
                  <a:pt x="6142758" y="317989"/>
                  <a:pt x="6134778" y="332268"/>
                </a:cubicBezTo>
                <a:moveTo>
                  <a:pt x="6433385" y="242392"/>
                </a:moveTo>
                <a:cubicBezTo>
                  <a:pt x="6440945" y="242812"/>
                  <a:pt x="6446825" y="243232"/>
                  <a:pt x="6451864" y="243652"/>
                </a:cubicBezTo>
                <a:cubicBezTo>
                  <a:pt x="6458164" y="243652"/>
                  <a:pt x="6463624" y="241972"/>
                  <a:pt x="6469083" y="239032"/>
                </a:cubicBezTo>
                <a:cubicBezTo>
                  <a:pt x="6474123" y="236092"/>
                  <a:pt x="6479163" y="231893"/>
                  <a:pt x="6483363" y="227273"/>
                </a:cubicBezTo>
                <a:cubicBezTo>
                  <a:pt x="6487563" y="222653"/>
                  <a:pt x="6491762" y="217193"/>
                  <a:pt x="6495542" y="211313"/>
                </a:cubicBezTo>
                <a:cubicBezTo>
                  <a:pt x="6499322" y="205854"/>
                  <a:pt x="6502682" y="200394"/>
                  <a:pt x="6505622" y="195774"/>
                </a:cubicBezTo>
                <a:cubicBezTo>
                  <a:pt x="6508982" y="186955"/>
                  <a:pt x="6513181" y="178555"/>
                  <a:pt x="6518641" y="169735"/>
                </a:cubicBezTo>
                <a:cubicBezTo>
                  <a:pt x="6523681" y="161336"/>
                  <a:pt x="6528301" y="152516"/>
                  <a:pt x="6532921" y="143696"/>
                </a:cubicBezTo>
                <a:cubicBezTo>
                  <a:pt x="6537121" y="135297"/>
                  <a:pt x="6540901" y="126057"/>
                  <a:pt x="6543420" y="116817"/>
                </a:cubicBezTo>
                <a:cubicBezTo>
                  <a:pt x="6545940" y="107578"/>
                  <a:pt x="6546780" y="97918"/>
                  <a:pt x="6545940" y="87839"/>
                </a:cubicBezTo>
                <a:cubicBezTo>
                  <a:pt x="6544680" y="73979"/>
                  <a:pt x="6539221" y="61380"/>
                  <a:pt x="6530401" y="50460"/>
                </a:cubicBezTo>
                <a:cubicBezTo>
                  <a:pt x="6521161" y="39121"/>
                  <a:pt x="6510242" y="29881"/>
                  <a:pt x="6497642" y="22322"/>
                </a:cubicBezTo>
                <a:cubicBezTo>
                  <a:pt x="6484623" y="14762"/>
                  <a:pt x="6471183" y="9302"/>
                  <a:pt x="6456484" y="6362"/>
                </a:cubicBezTo>
                <a:cubicBezTo>
                  <a:pt x="6441784" y="3002"/>
                  <a:pt x="6427925" y="3002"/>
                  <a:pt x="6414486" y="5522"/>
                </a:cubicBezTo>
                <a:cubicBezTo>
                  <a:pt x="6411126" y="1322"/>
                  <a:pt x="6406086" y="-357"/>
                  <a:pt x="6399366" y="63"/>
                </a:cubicBezTo>
                <a:cubicBezTo>
                  <a:pt x="6392647" y="482"/>
                  <a:pt x="6385507" y="2582"/>
                  <a:pt x="6378367" y="5522"/>
                </a:cubicBezTo>
                <a:cubicBezTo>
                  <a:pt x="6371228" y="8462"/>
                  <a:pt x="6364928" y="12662"/>
                  <a:pt x="6359468" y="17702"/>
                </a:cubicBezTo>
                <a:cubicBezTo>
                  <a:pt x="6354009" y="22742"/>
                  <a:pt x="6351069" y="27361"/>
                  <a:pt x="6350229" y="32401"/>
                </a:cubicBezTo>
                <a:cubicBezTo>
                  <a:pt x="6349388" y="38701"/>
                  <a:pt x="6349809" y="45001"/>
                  <a:pt x="6351909" y="51300"/>
                </a:cubicBezTo>
                <a:cubicBezTo>
                  <a:pt x="6354009" y="57600"/>
                  <a:pt x="6354848" y="63900"/>
                  <a:pt x="6355268" y="70200"/>
                </a:cubicBezTo>
                <a:cubicBezTo>
                  <a:pt x="6355688" y="82379"/>
                  <a:pt x="6354429" y="94139"/>
                  <a:pt x="6351909" y="106318"/>
                </a:cubicBezTo>
                <a:cubicBezTo>
                  <a:pt x="6348969" y="118498"/>
                  <a:pt x="6347289" y="130677"/>
                  <a:pt x="6347289" y="142437"/>
                </a:cubicBezTo>
                <a:cubicBezTo>
                  <a:pt x="6347289" y="163016"/>
                  <a:pt x="6346449" y="184015"/>
                  <a:pt x="6344349" y="205854"/>
                </a:cubicBezTo>
                <a:cubicBezTo>
                  <a:pt x="6342249" y="227693"/>
                  <a:pt x="6340149" y="249532"/>
                  <a:pt x="6338469" y="271371"/>
                </a:cubicBezTo>
                <a:cubicBezTo>
                  <a:pt x="6336789" y="293630"/>
                  <a:pt x="6335109" y="315469"/>
                  <a:pt x="6334269" y="337308"/>
                </a:cubicBezTo>
                <a:cubicBezTo>
                  <a:pt x="6333429" y="359147"/>
                  <a:pt x="6334269" y="380566"/>
                  <a:pt x="6336369" y="401565"/>
                </a:cubicBezTo>
                <a:cubicBezTo>
                  <a:pt x="6337629" y="413325"/>
                  <a:pt x="6338049" y="423404"/>
                  <a:pt x="6337629" y="431804"/>
                </a:cubicBezTo>
                <a:cubicBezTo>
                  <a:pt x="6337629" y="440204"/>
                  <a:pt x="6337209" y="447343"/>
                  <a:pt x="6336789" y="453223"/>
                </a:cubicBezTo>
                <a:cubicBezTo>
                  <a:pt x="6336369" y="459523"/>
                  <a:pt x="6335949" y="465403"/>
                  <a:pt x="6335949" y="470442"/>
                </a:cubicBezTo>
                <a:cubicBezTo>
                  <a:pt x="6335949" y="475902"/>
                  <a:pt x="6336369" y="481362"/>
                  <a:pt x="6337629" y="487662"/>
                </a:cubicBezTo>
                <a:cubicBezTo>
                  <a:pt x="6338889" y="493961"/>
                  <a:pt x="6342669" y="499001"/>
                  <a:pt x="6348969" y="502781"/>
                </a:cubicBezTo>
                <a:cubicBezTo>
                  <a:pt x="6354848" y="506561"/>
                  <a:pt x="6361568" y="508661"/>
                  <a:pt x="6369128" y="509501"/>
                </a:cubicBezTo>
                <a:cubicBezTo>
                  <a:pt x="6376267" y="510341"/>
                  <a:pt x="6383827" y="509501"/>
                  <a:pt x="6390547" y="507401"/>
                </a:cubicBezTo>
                <a:cubicBezTo>
                  <a:pt x="6397686" y="505301"/>
                  <a:pt x="6403146" y="501521"/>
                  <a:pt x="6406926" y="496481"/>
                </a:cubicBezTo>
                <a:cubicBezTo>
                  <a:pt x="6409026" y="493961"/>
                  <a:pt x="6410286" y="489342"/>
                  <a:pt x="6411126" y="482202"/>
                </a:cubicBezTo>
                <a:cubicBezTo>
                  <a:pt x="6411966" y="475062"/>
                  <a:pt x="6412806" y="467083"/>
                  <a:pt x="6412806" y="458683"/>
                </a:cubicBezTo>
                <a:cubicBezTo>
                  <a:pt x="6412806" y="450283"/>
                  <a:pt x="6412806" y="442304"/>
                  <a:pt x="6412806" y="434324"/>
                </a:cubicBezTo>
                <a:cubicBezTo>
                  <a:pt x="6412386" y="426764"/>
                  <a:pt x="6412386" y="420885"/>
                  <a:pt x="6411966" y="417105"/>
                </a:cubicBezTo>
                <a:cubicBezTo>
                  <a:pt x="6411126" y="409125"/>
                  <a:pt x="6410286" y="402405"/>
                  <a:pt x="6409866" y="396946"/>
                </a:cubicBezTo>
                <a:cubicBezTo>
                  <a:pt x="6409446" y="391486"/>
                  <a:pt x="6408606" y="386026"/>
                  <a:pt x="6408606" y="380986"/>
                </a:cubicBezTo>
                <a:cubicBezTo>
                  <a:pt x="6408186" y="375946"/>
                  <a:pt x="6408186" y="370067"/>
                  <a:pt x="6408186" y="363767"/>
                </a:cubicBezTo>
                <a:cubicBezTo>
                  <a:pt x="6408186" y="357887"/>
                  <a:pt x="6408606" y="349907"/>
                  <a:pt x="6409446" y="340248"/>
                </a:cubicBezTo>
                <a:cubicBezTo>
                  <a:pt x="6409866" y="333528"/>
                  <a:pt x="6409866" y="326389"/>
                  <a:pt x="6409446" y="319669"/>
                </a:cubicBezTo>
                <a:cubicBezTo>
                  <a:pt x="6409026" y="312949"/>
                  <a:pt x="6409026" y="305809"/>
                  <a:pt x="6408606" y="297830"/>
                </a:cubicBezTo>
                <a:cubicBezTo>
                  <a:pt x="6408606" y="289850"/>
                  <a:pt x="6409026" y="281450"/>
                  <a:pt x="6409866" y="271371"/>
                </a:cubicBezTo>
                <a:cubicBezTo>
                  <a:pt x="6410706" y="261711"/>
                  <a:pt x="6413226" y="249952"/>
                  <a:pt x="6417006" y="236512"/>
                </a:cubicBezTo>
                <a:cubicBezTo>
                  <a:pt x="6420366" y="239872"/>
                  <a:pt x="6426245" y="241972"/>
                  <a:pt x="6433385" y="242392"/>
                </a:cubicBezTo>
                <a:moveTo>
                  <a:pt x="6423726" y="98758"/>
                </a:moveTo>
                <a:cubicBezTo>
                  <a:pt x="6425406" y="94978"/>
                  <a:pt x="6429185" y="92878"/>
                  <a:pt x="6434225" y="92459"/>
                </a:cubicBezTo>
                <a:cubicBezTo>
                  <a:pt x="6439265" y="91619"/>
                  <a:pt x="6443465" y="92878"/>
                  <a:pt x="6446405" y="94978"/>
                </a:cubicBezTo>
                <a:cubicBezTo>
                  <a:pt x="6450184" y="97918"/>
                  <a:pt x="6452704" y="101278"/>
                  <a:pt x="6453964" y="105478"/>
                </a:cubicBezTo>
                <a:cubicBezTo>
                  <a:pt x="6455224" y="109678"/>
                  <a:pt x="6455644" y="113878"/>
                  <a:pt x="6454804" y="118077"/>
                </a:cubicBezTo>
                <a:cubicBezTo>
                  <a:pt x="6454384" y="122277"/>
                  <a:pt x="6452704" y="126897"/>
                  <a:pt x="6450605" y="130677"/>
                </a:cubicBezTo>
                <a:cubicBezTo>
                  <a:pt x="6448505" y="134877"/>
                  <a:pt x="6445984" y="138657"/>
                  <a:pt x="6442625" y="141176"/>
                </a:cubicBezTo>
                <a:cubicBezTo>
                  <a:pt x="6442205" y="141597"/>
                  <a:pt x="6440945" y="142437"/>
                  <a:pt x="6438425" y="144116"/>
                </a:cubicBezTo>
                <a:cubicBezTo>
                  <a:pt x="6435905" y="145796"/>
                  <a:pt x="6433385" y="147056"/>
                  <a:pt x="6430865" y="148736"/>
                </a:cubicBezTo>
                <a:cubicBezTo>
                  <a:pt x="6428345" y="150416"/>
                  <a:pt x="6425825" y="151256"/>
                  <a:pt x="6423726" y="152096"/>
                </a:cubicBezTo>
                <a:cubicBezTo>
                  <a:pt x="6421626" y="152936"/>
                  <a:pt x="6420366" y="152936"/>
                  <a:pt x="6419946" y="151676"/>
                </a:cubicBezTo>
                <a:cubicBezTo>
                  <a:pt x="6419526" y="148736"/>
                  <a:pt x="6418685" y="144956"/>
                  <a:pt x="6418266" y="139497"/>
                </a:cubicBezTo>
                <a:cubicBezTo>
                  <a:pt x="6417846" y="134037"/>
                  <a:pt x="6417846" y="128997"/>
                  <a:pt x="6418266" y="123537"/>
                </a:cubicBezTo>
                <a:cubicBezTo>
                  <a:pt x="6418685" y="118077"/>
                  <a:pt x="6419106" y="113038"/>
                  <a:pt x="6419946" y="107998"/>
                </a:cubicBezTo>
                <a:cubicBezTo>
                  <a:pt x="6420785" y="102958"/>
                  <a:pt x="6422046" y="99178"/>
                  <a:pt x="6423306" y="96239"/>
                </a:cubicBezTo>
                <a:lnTo>
                  <a:pt x="6423726" y="98758"/>
                </a:lnTo>
                <a:close/>
                <a:moveTo>
                  <a:pt x="6664795" y="97498"/>
                </a:moveTo>
                <a:cubicBezTo>
                  <a:pt x="6660175" y="113458"/>
                  <a:pt x="6659335" y="129417"/>
                  <a:pt x="6662275" y="145376"/>
                </a:cubicBezTo>
                <a:cubicBezTo>
                  <a:pt x="6665215" y="161336"/>
                  <a:pt x="6670675" y="178555"/>
                  <a:pt x="6678235" y="196194"/>
                </a:cubicBezTo>
                <a:cubicBezTo>
                  <a:pt x="6685794" y="213833"/>
                  <a:pt x="6692514" y="233572"/>
                  <a:pt x="6698394" y="254992"/>
                </a:cubicBezTo>
                <a:cubicBezTo>
                  <a:pt x="6698814" y="257932"/>
                  <a:pt x="6700494" y="262131"/>
                  <a:pt x="6702594" y="268011"/>
                </a:cubicBezTo>
                <a:cubicBezTo>
                  <a:pt x="6704694" y="273891"/>
                  <a:pt x="6706794" y="280191"/>
                  <a:pt x="6708893" y="287750"/>
                </a:cubicBezTo>
                <a:cubicBezTo>
                  <a:pt x="6710993" y="295310"/>
                  <a:pt x="6713093" y="302869"/>
                  <a:pt x="6714773" y="311269"/>
                </a:cubicBezTo>
                <a:cubicBezTo>
                  <a:pt x="6716453" y="319669"/>
                  <a:pt x="6717713" y="327229"/>
                  <a:pt x="6717713" y="333948"/>
                </a:cubicBezTo>
                <a:cubicBezTo>
                  <a:pt x="6718133" y="341088"/>
                  <a:pt x="6717293" y="347388"/>
                  <a:pt x="6715193" y="352428"/>
                </a:cubicBezTo>
                <a:cubicBezTo>
                  <a:pt x="6713513" y="357887"/>
                  <a:pt x="6709733" y="361247"/>
                  <a:pt x="6704694" y="362927"/>
                </a:cubicBezTo>
                <a:cubicBezTo>
                  <a:pt x="6701334" y="364187"/>
                  <a:pt x="6697973" y="364187"/>
                  <a:pt x="6695034" y="362927"/>
                </a:cubicBezTo>
                <a:cubicBezTo>
                  <a:pt x="6692094" y="361667"/>
                  <a:pt x="6689574" y="359987"/>
                  <a:pt x="6686634" y="357467"/>
                </a:cubicBezTo>
                <a:cubicBezTo>
                  <a:pt x="6684114" y="354947"/>
                  <a:pt x="6681595" y="352428"/>
                  <a:pt x="6679074" y="349488"/>
                </a:cubicBezTo>
                <a:cubicBezTo>
                  <a:pt x="6676555" y="346548"/>
                  <a:pt x="6674874" y="344028"/>
                  <a:pt x="6672775" y="342348"/>
                </a:cubicBezTo>
                <a:cubicBezTo>
                  <a:pt x="6666475" y="335628"/>
                  <a:pt x="6660596" y="332688"/>
                  <a:pt x="6654716" y="332688"/>
                </a:cubicBezTo>
                <a:cubicBezTo>
                  <a:pt x="6648836" y="332688"/>
                  <a:pt x="6643376" y="335208"/>
                  <a:pt x="6638756" y="339408"/>
                </a:cubicBezTo>
                <a:cubicBezTo>
                  <a:pt x="6634136" y="343608"/>
                  <a:pt x="6630356" y="349488"/>
                  <a:pt x="6627837" y="356627"/>
                </a:cubicBezTo>
                <a:cubicBezTo>
                  <a:pt x="6624897" y="363767"/>
                  <a:pt x="6624057" y="370487"/>
                  <a:pt x="6624897" y="377626"/>
                </a:cubicBezTo>
                <a:cubicBezTo>
                  <a:pt x="6625737" y="385186"/>
                  <a:pt x="6627837" y="393166"/>
                  <a:pt x="6631197" y="401145"/>
                </a:cubicBezTo>
                <a:cubicBezTo>
                  <a:pt x="6634556" y="409125"/>
                  <a:pt x="6639176" y="416685"/>
                  <a:pt x="6644636" y="423404"/>
                </a:cubicBezTo>
                <a:cubicBezTo>
                  <a:pt x="6650096" y="430124"/>
                  <a:pt x="6656816" y="435584"/>
                  <a:pt x="6664375" y="439784"/>
                </a:cubicBezTo>
                <a:cubicBezTo>
                  <a:pt x="6671935" y="443984"/>
                  <a:pt x="6680334" y="446083"/>
                  <a:pt x="6689154" y="445663"/>
                </a:cubicBezTo>
                <a:cubicBezTo>
                  <a:pt x="6712253" y="444824"/>
                  <a:pt x="6730312" y="439784"/>
                  <a:pt x="6744592" y="429284"/>
                </a:cubicBezTo>
                <a:cubicBezTo>
                  <a:pt x="6758451" y="419205"/>
                  <a:pt x="6769370" y="406605"/>
                  <a:pt x="6776510" y="391906"/>
                </a:cubicBezTo>
                <a:cubicBezTo>
                  <a:pt x="6783650" y="377206"/>
                  <a:pt x="6787430" y="361247"/>
                  <a:pt x="6788270" y="344028"/>
                </a:cubicBezTo>
                <a:cubicBezTo>
                  <a:pt x="6789110" y="326808"/>
                  <a:pt x="6787430" y="310429"/>
                  <a:pt x="6783230" y="295310"/>
                </a:cubicBezTo>
                <a:cubicBezTo>
                  <a:pt x="6780290" y="283550"/>
                  <a:pt x="6776091" y="271791"/>
                  <a:pt x="6770631" y="260031"/>
                </a:cubicBezTo>
                <a:cubicBezTo>
                  <a:pt x="6765171" y="248272"/>
                  <a:pt x="6759711" y="236512"/>
                  <a:pt x="6754671" y="224333"/>
                </a:cubicBezTo>
                <a:cubicBezTo>
                  <a:pt x="6749212" y="212153"/>
                  <a:pt x="6745012" y="200394"/>
                  <a:pt x="6740812" y="188214"/>
                </a:cubicBezTo>
                <a:cubicBezTo>
                  <a:pt x="6736612" y="176035"/>
                  <a:pt x="6734512" y="163856"/>
                  <a:pt x="6734092" y="152096"/>
                </a:cubicBezTo>
                <a:cubicBezTo>
                  <a:pt x="6733252" y="134877"/>
                  <a:pt x="6734512" y="121857"/>
                  <a:pt x="6737872" y="113878"/>
                </a:cubicBezTo>
                <a:cubicBezTo>
                  <a:pt x="6741232" y="105478"/>
                  <a:pt x="6745852" y="99598"/>
                  <a:pt x="6752571" y="95818"/>
                </a:cubicBezTo>
                <a:cubicBezTo>
                  <a:pt x="6759291" y="92039"/>
                  <a:pt x="6767691" y="89099"/>
                  <a:pt x="6777770" y="86999"/>
                </a:cubicBezTo>
                <a:cubicBezTo>
                  <a:pt x="6787850" y="84899"/>
                  <a:pt x="6799609" y="81539"/>
                  <a:pt x="6813049" y="76499"/>
                </a:cubicBezTo>
                <a:cubicBezTo>
                  <a:pt x="6818089" y="74819"/>
                  <a:pt x="6823548" y="72300"/>
                  <a:pt x="6828588" y="68520"/>
                </a:cubicBezTo>
                <a:cubicBezTo>
                  <a:pt x="6833628" y="65160"/>
                  <a:pt x="6836988" y="60120"/>
                  <a:pt x="6837828" y="53400"/>
                </a:cubicBezTo>
                <a:cubicBezTo>
                  <a:pt x="6836568" y="47101"/>
                  <a:pt x="6834888" y="41221"/>
                  <a:pt x="6832788" y="36181"/>
                </a:cubicBezTo>
                <a:cubicBezTo>
                  <a:pt x="6830688" y="31141"/>
                  <a:pt x="6828168" y="26942"/>
                  <a:pt x="6824808" y="23162"/>
                </a:cubicBezTo>
                <a:cubicBezTo>
                  <a:pt x="6821448" y="19802"/>
                  <a:pt x="6816829" y="17282"/>
                  <a:pt x="6811369" y="15602"/>
                </a:cubicBezTo>
                <a:cubicBezTo>
                  <a:pt x="6805909" y="13922"/>
                  <a:pt x="6799190" y="13502"/>
                  <a:pt x="6790790" y="14342"/>
                </a:cubicBezTo>
                <a:cubicBezTo>
                  <a:pt x="6783650" y="15182"/>
                  <a:pt x="6775670" y="16022"/>
                  <a:pt x="6767271" y="18122"/>
                </a:cubicBezTo>
                <a:cubicBezTo>
                  <a:pt x="6758871" y="19802"/>
                  <a:pt x="6750471" y="21902"/>
                  <a:pt x="6742492" y="24421"/>
                </a:cubicBezTo>
                <a:cubicBezTo>
                  <a:pt x="6734092" y="26942"/>
                  <a:pt x="6726532" y="30301"/>
                  <a:pt x="6718973" y="34081"/>
                </a:cubicBezTo>
                <a:cubicBezTo>
                  <a:pt x="6711413" y="37861"/>
                  <a:pt x="6705113" y="42481"/>
                  <a:pt x="6700073" y="47941"/>
                </a:cubicBezTo>
                <a:cubicBezTo>
                  <a:pt x="6681174" y="65160"/>
                  <a:pt x="6669415" y="81959"/>
                  <a:pt x="6664795" y="97498"/>
                </a:cubicBezTo>
              </a:path>
            </a:pathLst>
          </a:custGeom>
          <a:solidFill>
            <a:srgbClr val="000000"/>
          </a:solidFill>
          <a:ln w="41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213" name="Subtitle 2">
            <a:extLst>
              <a:ext uri="{FF2B5EF4-FFF2-40B4-BE49-F238E27FC236}">
                <a16:creationId xmlns:a16="http://schemas.microsoft.com/office/drawing/2014/main" id="{965E7DB7-849B-4F91-A5B5-B106CFEEC8C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137" y="5587851"/>
            <a:ext cx="5312053" cy="1000274"/>
          </a:xfrm>
          <a:prstGeom prst="rect">
            <a:avLst/>
          </a:prstGeom>
        </p:spPr>
        <p:txBody>
          <a:bodyPr anchor="b"/>
          <a:lstStyle>
            <a:lvl1pPr marL="0" indent="0" algn="l" rtl="0">
              <a:spcBef>
                <a:spcPts val="0"/>
              </a:spcBef>
              <a:buNone/>
              <a:defRPr sz="1300" i="1">
                <a:solidFill>
                  <a:schemeClr val="bg1"/>
                </a:solidFill>
                <a:latin typeface="+mn-lt"/>
              </a:defRPr>
            </a:lvl1pPr>
            <a:lvl2pPr marL="633493" indent="0" algn="ctr">
              <a:buNone/>
              <a:defRPr sz="2772"/>
            </a:lvl2pPr>
            <a:lvl3pPr marL="1266984" indent="0" algn="ctr">
              <a:buNone/>
              <a:defRPr sz="2494"/>
            </a:lvl3pPr>
            <a:lvl4pPr marL="1900477" indent="0" algn="ctr">
              <a:buNone/>
              <a:defRPr sz="2217"/>
            </a:lvl4pPr>
            <a:lvl5pPr marL="2533969" indent="0" algn="ctr">
              <a:buNone/>
              <a:defRPr sz="2217"/>
            </a:lvl5pPr>
            <a:lvl6pPr marL="3167462" indent="0" algn="ctr">
              <a:buNone/>
              <a:defRPr sz="2217"/>
            </a:lvl6pPr>
            <a:lvl7pPr marL="3800953" indent="0" algn="ctr">
              <a:buNone/>
              <a:defRPr sz="2217"/>
            </a:lvl7pPr>
            <a:lvl8pPr marL="4434446" indent="0" algn="ctr">
              <a:buNone/>
              <a:defRPr sz="2217"/>
            </a:lvl8pPr>
            <a:lvl9pPr marL="5067937" indent="0" algn="ctr">
              <a:buNone/>
              <a:defRPr sz="2217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Position</a:t>
            </a:r>
            <a:br>
              <a:rPr lang="en-US"/>
            </a:br>
            <a:br>
              <a:rPr lang="en-US"/>
            </a:br>
            <a:r>
              <a:rPr lang="en-US"/>
              <a:t>Phone </a:t>
            </a:r>
            <a:br>
              <a:rPr lang="en-US"/>
            </a:br>
            <a:r>
              <a:rPr lang="en-US"/>
              <a:t>Mail</a:t>
            </a:r>
            <a:endParaRPr lang="en-US" dirty="0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6E7DDF8C-9061-3AEC-FC43-3422DDB2DB75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E3E155A2-9472-FAFB-BA70-0031BBAF15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8908"/>
          <a:stretch/>
        </p:blipFill>
        <p:spPr>
          <a:xfrm>
            <a:off x="366896" y="392181"/>
            <a:ext cx="1648717" cy="56171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0D417D9-A513-AE14-8A79-5EC08772C64D}"/>
              </a:ext>
            </a:extLst>
          </p:cNvPr>
          <p:cNvCxnSpPr>
            <a:cxnSpLocks/>
          </p:cNvCxnSpPr>
          <p:nvPr userDrawn="1"/>
        </p:nvCxnSpPr>
        <p:spPr>
          <a:xfrm>
            <a:off x="2375694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FBF01E0-A7CC-04B9-1F45-84D984550F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99557" y="392181"/>
            <a:ext cx="1188000" cy="561711"/>
          </a:xfrm>
        </p:spPr>
        <p:txBody>
          <a:bodyPr anchor="ctr">
            <a:noAutofit/>
          </a:bodyPr>
          <a:lstStyle>
            <a:lvl1pPr marL="0" indent="0">
              <a:buNone/>
              <a:defRPr sz="700" i="1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f necessary, insert the additional logo here. Please align in the middle on the left.</a:t>
            </a:r>
          </a:p>
        </p:txBody>
      </p:sp>
    </p:spTree>
    <p:extLst>
      <p:ext uri="{BB962C8B-B14F-4D97-AF65-F5344CB8AC3E}">
        <p14:creationId xmlns:p14="http://schemas.microsoft.com/office/powerpoint/2010/main" val="3044940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2D304F-3F8D-4272-ADFB-A9C379E43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137066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2D304F-3F8D-4272-ADFB-A9C379E43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5FE68BB3-259A-4C6D-9F57-D9AF30B5F0AB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grpSp>
        <p:nvGrpSpPr>
          <p:cNvPr id="7" name="Grafik 25">
            <a:extLst>
              <a:ext uri="{FF2B5EF4-FFF2-40B4-BE49-F238E27FC236}">
                <a16:creationId xmlns:a16="http://schemas.microsoft.com/office/drawing/2014/main" id="{C3EC96FD-E989-E88F-A6B8-F302FC0A3095}"/>
              </a:ext>
            </a:extLst>
          </p:cNvPr>
          <p:cNvGrpSpPr/>
          <p:nvPr userDrawn="1"/>
        </p:nvGrpSpPr>
        <p:grpSpPr>
          <a:xfrm>
            <a:off x="9427029" y="3094723"/>
            <a:ext cx="3549016" cy="3149663"/>
            <a:chOff x="4209649" y="1458428"/>
            <a:chExt cx="4828124" cy="4284838"/>
          </a:xfrm>
          <a:solidFill>
            <a:schemeClr val="bg1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617F6D54-DEF6-864D-6F1F-5E5379087D55}"/>
                </a:ext>
              </a:extLst>
            </p:cNvPr>
            <p:cNvSpPr/>
            <p:nvPr/>
          </p:nvSpPr>
          <p:spPr>
            <a:xfrm>
              <a:off x="4505731" y="3145664"/>
              <a:ext cx="71030" cy="70556"/>
            </a:xfrm>
            <a:custGeom>
              <a:avLst/>
              <a:gdLst>
                <a:gd name="connsiteX0" fmla="*/ 11 w 71030"/>
                <a:gd name="connsiteY0" fmla="*/ 33599 h 70556"/>
                <a:gd name="connsiteX1" fmla="*/ 35290 w 71030"/>
                <a:gd name="connsiteY1" fmla="*/ 0 h 70556"/>
                <a:gd name="connsiteX2" fmla="*/ 70988 w 71030"/>
                <a:gd name="connsiteY2" fmla="*/ 36538 h 70556"/>
                <a:gd name="connsiteX3" fmla="*/ 35290 w 71030"/>
                <a:gd name="connsiteY3" fmla="*/ 70557 h 70556"/>
                <a:gd name="connsiteX4" fmla="*/ 11 w 71030"/>
                <a:gd name="connsiteY4" fmla="*/ 33599 h 70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30" h="70556">
                  <a:moveTo>
                    <a:pt x="11" y="33599"/>
                  </a:moveTo>
                  <a:cubicBezTo>
                    <a:pt x="431" y="10500"/>
                    <a:pt x="11351" y="0"/>
                    <a:pt x="35290" y="0"/>
                  </a:cubicBezTo>
                  <a:cubicBezTo>
                    <a:pt x="60069" y="0"/>
                    <a:pt x="71828" y="12180"/>
                    <a:pt x="70988" y="36538"/>
                  </a:cubicBezTo>
                  <a:cubicBezTo>
                    <a:pt x="70148" y="59217"/>
                    <a:pt x="58809" y="70557"/>
                    <a:pt x="35290" y="70557"/>
                  </a:cubicBezTo>
                  <a:cubicBezTo>
                    <a:pt x="10931" y="70137"/>
                    <a:pt x="-409" y="58797"/>
                    <a:pt x="11" y="33599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A2016DD-AE62-8B1C-13C5-43863E7802AC}"/>
                </a:ext>
              </a:extLst>
            </p:cNvPr>
            <p:cNvSpPr/>
            <p:nvPr/>
          </p:nvSpPr>
          <p:spPr>
            <a:xfrm>
              <a:off x="8936548" y="2954146"/>
              <a:ext cx="101226" cy="92001"/>
            </a:xfrm>
            <a:custGeom>
              <a:avLst/>
              <a:gdLst>
                <a:gd name="connsiteX0" fmla="*/ 51662 w 101226"/>
                <a:gd name="connsiteY0" fmla="*/ 7 h 92001"/>
                <a:gd name="connsiteX1" fmla="*/ 101220 w 101226"/>
                <a:gd name="connsiteY1" fmla="*/ 46205 h 92001"/>
                <a:gd name="connsiteX2" fmla="*/ 52922 w 101226"/>
                <a:gd name="connsiteY2" fmla="*/ 91983 h 92001"/>
                <a:gd name="connsiteX3" fmla="*/ 4 w 101226"/>
                <a:gd name="connsiteY3" fmla="*/ 44945 h 92001"/>
                <a:gd name="connsiteX4" fmla="*/ 51662 w 101226"/>
                <a:gd name="connsiteY4" fmla="*/ 7 h 92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26" h="92001">
                  <a:moveTo>
                    <a:pt x="51662" y="7"/>
                  </a:moveTo>
                  <a:cubicBezTo>
                    <a:pt x="81060" y="7"/>
                    <a:pt x="101640" y="19326"/>
                    <a:pt x="101220" y="46205"/>
                  </a:cubicBezTo>
                  <a:cubicBezTo>
                    <a:pt x="100800" y="65944"/>
                    <a:pt x="74341" y="91143"/>
                    <a:pt x="52922" y="91983"/>
                  </a:cubicBezTo>
                  <a:cubicBezTo>
                    <a:pt x="30243" y="92823"/>
                    <a:pt x="-416" y="65524"/>
                    <a:pt x="4" y="44945"/>
                  </a:cubicBezTo>
                  <a:cubicBezTo>
                    <a:pt x="844" y="18066"/>
                    <a:pt x="21423" y="-413"/>
                    <a:pt x="51662" y="7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833BCBEA-C170-28B3-250F-2A8BCE383465}"/>
                </a:ext>
              </a:extLst>
            </p:cNvPr>
            <p:cNvSpPr/>
            <p:nvPr/>
          </p:nvSpPr>
          <p:spPr>
            <a:xfrm>
              <a:off x="7403584" y="5115380"/>
              <a:ext cx="82393" cy="75229"/>
            </a:xfrm>
            <a:custGeom>
              <a:avLst/>
              <a:gdLst>
                <a:gd name="connsiteX0" fmla="*/ 37832 w 82393"/>
                <a:gd name="connsiteY0" fmla="*/ 0 h 75229"/>
                <a:gd name="connsiteX1" fmla="*/ 82350 w 82393"/>
                <a:gd name="connsiteY1" fmla="*/ 36118 h 75229"/>
                <a:gd name="connsiteX2" fmla="*/ 39511 w 82393"/>
                <a:gd name="connsiteY2" fmla="*/ 75177 h 75229"/>
                <a:gd name="connsiteX3" fmla="*/ 33 w 82393"/>
                <a:gd name="connsiteY3" fmla="*/ 34859 h 75229"/>
                <a:gd name="connsiteX4" fmla="*/ 37832 w 82393"/>
                <a:gd name="connsiteY4" fmla="*/ 0 h 7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93" h="75229">
                  <a:moveTo>
                    <a:pt x="37832" y="0"/>
                  </a:moveTo>
                  <a:cubicBezTo>
                    <a:pt x="57571" y="0"/>
                    <a:pt x="83609" y="20999"/>
                    <a:pt x="82350" y="36118"/>
                  </a:cubicBezTo>
                  <a:cubicBezTo>
                    <a:pt x="80670" y="55018"/>
                    <a:pt x="57991" y="76437"/>
                    <a:pt x="39511" y="75177"/>
                  </a:cubicBezTo>
                  <a:cubicBezTo>
                    <a:pt x="17252" y="73917"/>
                    <a:pt x="453" y="57117"/>
                    <a:pt x="33" y="34859"/>
                  </a:cubicBezTo>
                  <a:cubicBezTo>
                    <a:pt x="-807" y="13860"/>
                    <a:pt x="14312" y="420"/>
                    <a:pt x="37832" y="0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6E2E7B47-6801-2AE2-049A-C8939073E4A9}"/>
                </a:ext>
              </a:extLst>
            </p:cNvPr>
            <p:cNvSpPr/>
            <p:nvPr/>
          </p:nvSpPr>
          <p:spPr>
            <a:xfrm>
              <a:off x="4209649" y="2028092"/>
              <a:ext cx="92425" cy="98715"/>
            </a:xfrm>
            <a:custGeom>
              <a:avLst/>
              <a:gdLst>
                <a:gd name="connsiteX0" fmla="*/ 6 w 92425"/>
                <a:gd name="connsiteY0" fmla="*/ 44938 h 98715"/>
                <a:gd name="connsiteX1" fmla="*/ 46204 w 92425"/>
                <a:gd name="connsiteY1" fmla="*/ 0 h 98715"/>
                <a:gd name="connsiteX2" fmla="*/ 92402 w 92425"/>
                <a:gd name="connsiteY2" fmla="*/ 51658 h 98715"/>
                <a:gd name="connsiteX3" fmla="*/ 45364 w 92425"/>
                <a:gd name="connsiteY3" fmla="*/ 98696 h 98715"/>
                <a:gd name="connsiteX4" fmla="*/ 6 w 92425"/>
                <a:gd name="connsiteY4" fmla="*/ 44938 h 98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425" h="98715">
                  <a:moveTo>
                    <a:pt x="6" y="44938"/>
                  </a:moveTo>
                  <a:cubicBezTo>
                    <a:pt x="426" y="20159"/>
                    <a:pt x="21425" y="0"/>
                    <a:pt x="46204" y="0"/>
                  </a:cubicBezTo>
                  <a:cubicBezTo>
                    <a:pt x="71403" y="0"/>
                    <a:pt x="93242" y="24359"/>
                    <a:pt x="92402" y="51658"/>
                  </a:cubicBezTo>
                  <a:cubicBezTo>
                    <a:pt x="91562" y="73497"/>
                    <a:pt x="65943" y="99536"/>
                    <a:pt x="45364" y="98696"/>
                  </a:cubicBezTo>
                  <a:cubicBezTo>
                    <a:pt x="22685" y="98276"/>
                    <a:pt x="-414" y="70977"/>
                    <a:pt x="6" y="44938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21BDD38-C288-8DBC-8EC7-55451E5AD779}"/>
                </a:ext>
              </a:extLst>
            </p:cNvPr>
            <p:cNvSpPr/>
            <p:nvPr/>
          </p:nvSpPr>
          <p:spPr>
            <a:xfrm>
              <a:off x="6551046" y="5650787"/>
              <a:ext cx="93249" cy="92479"/>
            </a:xfrm>
            <a:custGeom>
              <a:avLst/>
              <a:gdLst>
                <a:gd name="connsiteX0" fmla="*/ 45366 w 93249"/>
                <a:gd name="connsiteY0" fmla="*/ 92466 h 92479"/>
                <a:gd name="connsiteX1" fmla="*/ 8 w 93249"/>
                <a:gd name="connsiteY1" fmla="*/ 51728 h 92479"/>
                <a:gd name="connsiteX2" fmla="*/ 44527 w 93249"/>
                <a:gd name="connsiteY2" fmla="*/ 70 h 92479"/>
                <a:gd name="connsiteX3" fmla="*/ 93244 w 93249"/>
                <a:gd name="connsiteY3" fmla="*/ 50888 h 92479"/>
                <a:gd name="connsiteX4" fmla="*/ 45366 w 93249"/>
                <a:gd name="connsiteY4" fmla="*/ 92466 h 92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249" h="92479">
                  <a:moveTo>
                    <a:pt x="45366" y="92466"/>
                  </a:moveTo>
                  <a:cubicBezTo>
                    <a:pt x="10928" y="92886"/>
                    <a:pt x="848" y="83646"/>
                    <a:pt x="8" y="51728"/>
                  </a:cubicBezTo>
                  <a:cubicBezTo>
                    <a:pt x="-412" y="20649"/>
                    <a:pt x="15128" y="2170"/>
                    <a:pt x="44527" y="70"/>
                  </a:cubicBezTo>
                  <a:cubicBezTo>
                    <a:pt x="65946" y="-1610"/>
                    <a:pt x="93664" y="27369"/>
                    <a:pt x="93244" y="50888"/>
                  </a:cubicBezTo>
                  <a:cubicBezTo>
                    <a:pt x="92824" y="76506"/>
                    <a:pt x="74765" y="92046"/>
                    <a:pt x="45366" y="92466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B5EA68E3-FF66-8F32-CB03-41819C9A79B0}"/>
                </a:ext>
              </a:extLst>
            </p:cNvPr>
            <p:cNvSpPr/>
            <p:nvPr/>
          </p:nvSpPr>
          <p:spPr>
            <a:xfrm>
              <a:off x="5855132" y="5256855"/>
              <a:ext cx="61336" cy="60955"/>
            </a:xfrm>
            <a:custGeom>
              <a:avLst/>
              <a:gdLst>
                <a:gd name="connsiteX0" fmla="*/ 29831 w 61336"/>
                <a:gd name="connsiteY0" fmla="*/ 60956 h 60955"/>
                <a:gd name="connsiteX1" fmla="*/ 12 w 61336"/>
                <a:gd name="connsiteY1" fmla="*/ 34078 h 60955"/>
                <a:gd name="connsiteX2" fmla="*/ 29411 w 61336"/>
                <a:gd name="connsiteY2" fmla="*/ 59 h 60955"/>
                <a:gd name="connsiteX3" fmla="*/ 61330 w 61336"/>
                <a:gd name="connsiteY3" fmla="*/ 33237 h 60955"/>
                <a:gd name="connsiteX4" fmla="*/ 29831 w 61336"/>
                <a:gd name="connsiteY4" fmla="*/ 60956 h 6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36" h="60955">
                  <a:moveTo>
                    <a:pt x="29831" y="60956"/>
                  </a:moveTo>
                  <a:cubicBezTo>
                    <a:pt x="7152" y="60956"/>
                    <a:pt x="432" y="55077"/>
                    <a:pt x="12" y="34078"/>
                  </a:cubicBezTo>
                  <a:cubicBezTo>
                    <a:pt x="-408" y="13918"/>
                    <a:pt x="10092" y="1739"/>
                    <a:pt x="29411" y="59"/>
                  </a:cubicBezTo>
                  <a:cubicBezTo>
                    <a:pt x="43270" y="-1201"/>
                    <a:pt x="61750" y="18118"/>
                    <a:pt x="61330" y="33237"/>
                  </a:cubicBezTo>
                  <a:cubicBezTo>
                    <a:pt x="61330" y="50456"/>
                    <a:pt x="49570" y="60536"/>
                    <a:pt x="29831" y="60956"/>
                  </a:cubicBezTo>
                  <a:close/>
                </a:path>
              </a:pathLst>
            </a:custGeom>
            <a:grpFill/>
            <a:ln w="419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 dirty="0"/>
            </a:p>
          </p:txBody>
        </p:sp>
        <p:grpSp>
          <p:nvGrpSpPr>
            <p:cNvPr id="20" name="Grafik 25">
              <a:extLst>
                <a:ext uri="{FF2B5EF4-FFF2-40B4-BE49-F238E27FC236}">
                  <a16:creationId xmlns:a16="http://schemas.microsoft.com/office/drawing/2014/main" id="{F2CEF361-590C-A1B7-002A-3D1176C0A05A}"/>
                </a:ext>
              </a:extLst>
            </p:cNvPr>
            <p:cNvGrpSpPr/>
            <p:nvPr/>
          </p:nvGrpSpPr>
          <p:grpSpPr>
            <a:xfrm>
              <a:off x="4814309" y="1458428"/>
              <a:ext cx="3867343" cy="3973455"/>
              <a:chOff x="4814309" y="1458428"/>
              <a:chExt cx="3867343" cy="3973455"/>
            </a:xfrm>
            <a:grpFill/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F2AA3CA4-B821-B147-D244-252051B8ABC6}"/>
                  </a:ext>
                </a:extLst>
              </p:cNvPr>
              <p:cNvSpPr/>
              <p:nvPr/>
            </p:nvSpPr>
            <p:spPr>
              <a:xfrm>
                <a:off x="4814309" y="1458428"/>
                <a:ext cx="3071925" cy="3094175"/>
              </a:xfrm>
              <a:custGeom>
                <a:avLst/>
                <a:gdLst>
                  <a:gd name="connsiteX0" fmla="*/ 1706087 w 3071925"/>
                  <a:gd name="connsiteY0" fmla="*/ 3094176 h 3094175"/>
                  <a:gd name="connsiteX1" fmla="*/ 1588912 w 3071925"/>
                  <a:gd name="connsiteY1" fmla="*/ 3084096 h 3094175"/>
                  <a:gd name="connsiteX2" fmla="*/ 1513315 w 3071925"/>
                  <a:gd name="connsiteY2" fmla="*/ 3082837 h 3094175"/>
                  <a:gd name="connsiteX3" fmla="*/ 1367581 w 3071925"/>
                  <a:gd name="connsiteY3" fmla="*/ 3052598 h 3094175"/>
                  <a:gd name="connsiteX4" fmla="*/ 1115592 w 3071925"/>
                  <a:gd name="connsiteY4" fmla="*/ 2981621 h 3094175"/>
                  <a:gd name="connsiteX5" fmla="*/ 890482 w 3071925"/>
                  <a:gd name="connsiteY5" fmla="*/ 2909804 h 3094175"/>
                  <a:gd name="connsiteX6" fmla="*/ 845124 w 3071925"/>
                  <a:gd name="connsiteY6" fmla="*/ 2901404 h 3094175"/>
                  <a:gd name="connsiteX7" fmla="*/ 688470 w 3071925"/>
                  <a:gd name="connsiteY7" fmla="*/ 2822448 h 3094175"/>
                  <a:gd name="connsiteX8" fmla="*/ 554076 w 3071925"/>
                  <a:gd name="connsiteY8" fmla="*/ 2734672 h 3094175"/>
                  <a:gd name="connsiteX9" fmla="*/ 417162 w 3071925"/>
                  <a:gd name="connsiteY9" fmla="*/ 2632196 h 3094175"/>
                  <a:gd name="connsiteX10" fmla="*/ 352065 w 3071925"/>
                  <a:gd name="connsiteY10" fmla="*/ 2558279 h 3094175"/>
                  <a:gd name="connsiteX11" fmla="*/ 228590 w 3071925"/>
                  <a:gd name="connsiteY11" fmla="*/ 2405406 h 3094175"/>
                  <a:gd name="connsiteX12" fmla="*/ 183652 w 3071925"/>
                  <a:gd name="connsiteY12" fmla="*/ 2348288 h 3094175"/>
                  <a:gd name="connsiteX13" fmla="*/ 135774 w 3071925"/>
                  <a:gd name="connsiteY13" fmla="*/ 2252112 h 3094175"/>
                  <a:gd name="connsiteX14" fmla="*/ 124855 w 3071925"/>
                  <a:gd name="connsiteY14" fmla="*/ 2229013 h 3094175"/>
                  <a:gd name="connsiteX15" fmla="*/ 34558 w 3071925"/>
                  <a:gd name="connsiteY15" fmla="*/ 1992563 h 3094175"/>
                  <a:gd name="connsiteX16" fmla="*/ 22799 w 3071925"/>
                  <a:gd name="connsiteY16" fmla="*/ 1869089 h 3094175"/>
                  <a:gd name="connsiteX17" fmla="*/ 3480 w 3071925"/>
                  <a:gd name="connsiteY17" fmla="*/ 1694796 h 3094175"/>
                  <a:gd name="connsiteX18" fmla="*/ 540 w 3071925"/>
                  <a:gd name="connsiteY18" fmla="*/ 1626759 h 3094175"/>
                  <a:gd name="connsiteX19" fmla="*/ 120 w 3071925"/>
                  <a:gd name="connsiteY19" fmla="*/ 1511684 h 3094175"/>
                  <a:gd name="connsiteX20" fmla="*/ 24479 w 3071925"/>
                  <a:gd name="connsiteY20" fmla="*/ 1312193 h 3094175"/>
                  <a:gd name="connsiteX21" fmla="*/ 50518 w 3071925"/>
                  <a:gd name="connsiteY21" fmla="*/ 1244996 h 3094175"/>
                  <a:gd name="connsiteX22" fmla="*/ 151313 w 3071925"/>
                  <a:gd name="connsiteY22" fmla="*/ 1002666 h 3094175"/>
                  <a:gd name="connsiteX23" fmla="*/ 177772 w 3071925"/>
                  <a:gd name="connsiteY23" fmla="*/ 958568 h 3094175"/>
                  <a:gd name="connsiteX24" fmla="*/ 286128 w 3071925"/>
                  <a:gd name="connsiteY24" fmla="*/ 735557 h 3094175"/>
                  <a:gd name="connsiteX25" fmla="*/ 441521 w 3071925"/>
                  <a:gd name="connsiteY25" fmla="*/ 497847 h 3094175"/>
                  <a:gd name="connsiteX26" fmla="*/ 512078 w 3071925"/>
                  <a:gd name="connsiteY26" fmla="*/ 428131 h 3094175"/>
                  <a:gd name="connsiteX27" fmla="*/ 775827 w 3071925"/>
                  <a:gd name="connsiteY27" fmla="*/ 228639 h 3094175"/>
                  <a:gd name="connsiteX28" fmla="*/ 1098373 w 3071925"/>
                  <a:gd name="connsiteY28" fmla="*/ 92985 h 3094175"/>
                  <a:gd name="connsiteX29" fmla="*/ 1157590 w 3071925"/>
                  <a:gd name="connsiteY29" fmla="*/ 77446 h 3094175"/>
                  <a:gd name="connsiteX30" fmla="*/ 1423019 w 3071925"/>
                  <a:gd name="connsiteY30" fmla="*/ 42587 h 3094175"/>
                  <a:gd name="connsiteX31" fmla="*/ 1622930 w 3071925"/>
                  <a:gd name="connsiteY31" fmla="*/ 18648 h 3094175"/>
                  <a:gd name="connsiteX32" fmla="*/ 1637630 w 3071925"/>
                  <a:gd name="connsiteY32" fmla="*/ 14028 h 3094175"/>
                  <a:gd name="connsiteX33" fmla="*/ 1891719 w 3071925"/>
                  <a:gd name="connsiteY33" fmla="*/ 1009 h 3094175"/>
                  <a:gd name="connsiteX34" fmla="*/ 1954716 w 3071925"/>
                  <a:gd name="connsiteY34" fmla="*/ 33348 h 3094175"/>
                  <a:gd name="connsiteX35" fmla="*/ 1984955 w 3071925"/>
                  <a:gd name="connsiteY35" fmla="*/ 33767 h 3094175"/>
                  <a:gd name="connsiteX36" fmla="*/ 2007214 w 3071925"/>
                  <a:gd name="connsiteY36" fmla="*/ 30408 h 3094175"/>
                  <a:gd name="connsiteX37" fmla="*/ 2103810 w 3071925"/>
                  <a:gd name="connsiteY37" fmla="*/ 45527 h 3094175"/>
                  <a:gd name="connsiteX38" fmla="*/ 2288182 w 3071925"/>
                  <a:gd name="connsiteY38" fmla="*/ 108944 h 3094175"/>
                  <a:gd name="connsiteX39" fmla="*/ 2401997 w 3071925"/>
                  <a:gd name="connsiteY39" fmla="*/ 168162 h 3094175"/>
                  <a:gd name="connsiteX40" fmla="*/ 2543951 w 3071925"/>
                  <a:gd name="connsiteY40" fmla="*/ 298776 h 3094175"/>
                  <a:gd name="connsiteX41" fmla="*/ 2635087 w 3071925"/>
                  <a:gd name="connsiteY41" fmla="*/ 398732 h 3094175"/>
                  <a:gd name="connsiteX42" fmla="*/ 2843398 w 3071925"/>
                  <a:gd name="connsiteY42" fmla="*/ 718338 h 3094175"/>
                  <a:gd name="connsiteX43" fmla="*/ 2913115 w 3071925"/>
                  <a:gd name="connsiteY43" fmla="*/ 906910 h 3094175"/>
                  <a:gd name="connsiteX44" fmla="*/ 2929074 w 3071925"/>
                  <a:gd name="connsiteY44" fmla="*/ 944708 h 3094175"/>
                  <a:gd name="connsiteX45" fmla="*/ 3007611 w 3071925"/>
                  <a:gd name="connsiteY45" fmla="*/ 1161839 h 3094175"/>
                  <a:gd name="connsiteX46" fmla="*/ 3017690 w 3071925"/>
                  <a:gd name="connsiteY46" fmla="*/ 1195858 h 3094175"/>
                  <a:gd name="connsiteX47" fmla="*/ 3049609 w 3071925"/>
                  <a:gd name="connsiteY47" fmla="*/ 1352091 h 3094175"/>
                  <a:gd name="connsiteX48" fmla="*/ 3061789 w 3071925"/>
                  <a:gd name="connsiteY48" fmla="*/ 1412148 h 3094175"/>
                  <a:gd name="connsiteX49" fmla="*/ 3068928 w 3071925"/>
                  <a:gd name="connsiteY49" fmla="*/ 1441547 h 3094175"/>
                  <a:gd name="connsiteX50" fmla="*/ 3058429 w 3071925"/>
                  <a:gd name="connsiteY50" fmla="*/ 1691016 h 3094175"/>
                  <a:gd name="connsiteX51" fmla="*/ 3047929 w 3071925"/>
                  <a:gd name="connsiteY51" fmla="*/ 1809451 h 3094175"/>
                  <a:gd name="connsiteX52" fmla="*/ 3038269 w 3071925"/>
                  <a:gd name="connsiteY52" fmla="*/ 1870348 h 3094175"/>
                  <a:gd name="connsiteX53" fmla="*/ 2985352 w 3071925"/>
                  <a:gd name="connsiteY53" fmla="*/ 2089579 h 3094175"/>
                  <a:gd name="connsiteX54" fmla="*/ 2972752 w 3071925"/>
                  <a:gd name="connsiteY54" fmla="*/ 2123598 h 3094175"/>
                  <a:gd name="connsiteX55" fmla="*/ 2953853 w 3071925"/>
                  <a:gd name="connsiteY55" fmla="*/ 2197934 h 3094175"/>
                  <a:gd name="connsiteX56" fmla="*/ 2942933 w 3071925"/>
                  <a:gd name="connsiteY56" fmla="*/ 2236993 h 3094175"/>
                  <a:gd name="connsiteX57" fmla="*/ 2906395 w 3071925"/>
                  <a:gd name="connsiteY57" fmla="*/ 2316790 h 3094175"/>
                  <a:gd name="connsiteX58" fmla="*/ 2901355 w 3071925"/>
                  <a:gd name="connsiteY58" fmla="*/ 2336528 h 3094175"/>
                  <a:gd name="connsiteX59" fmla="*/ 2866917 w 3071925"/>
                  <a:gd name="connsiteY59" fmla="*/ 2448244 h 3094175"/>
                  <a:gd name="connsiteX60" fmla="*/ 2826178 w 3071925"/>
                  <a:gd name="connsiteY60" fmla="*/ 2531400 h 3094175"/>
                  <a:gd name="connsiteX61" fmla="*/ 2737142 w 3071925"/>
                  <a:gd name="connsiteY61" fmla="*/ 2664535 h 3094175"/>
                  <a:gd name="connsiteX62" fmla="*/ 2694304 w 3071925"/>
                  <a:gd name="connsiteY62" fmla="*/ 2691413 h 3094175"/>
                  <a:gd name="connsiteX63" fmla="*/ 2650206 w 3071925"/>
                  <a:gd name="connsiteY63" fmla="*/ 2719552 h 3094175"/>
                  <a:gd name="connsiteX64" fmla="*/ 2547311 w 3071925"/>
                  <a:gd name="connsiteY64" fmla="*/ 2804388 h 3094175"/>
                  <a:gd name="connsiteX65" fmla="*/ 2447775 w 3071925"/>
                  <a:gd name="connsiteY65" fmla="*/ 2869066 h 3094175"/>
                  <a:gd name="connsiteX66" fmla="*/ 2178566 w 3071925"/>
                  <a:gd name="connsiteY66" fmla="*/ 3018579 h 3094175"/>
                  <a:gd name="connsiteX67" fmla="*/ 2103389 w 3071925"/>
                  <a:gd name="connsiteY67" fmla="*/ 3034539 h 3094175"/>
                  <a:gd name="connsiteX68" fmla="*/ 1879959 w 3071925"/>
                  <a:gd name="connsiteY68" fmla="*/ 3071497 h 3094175"/>
                  <a:gd name="connsiteX69" fmla="*/ 1859380 w 3071925"/>
                  <a:gd name="connsiteY69" fmla="*/ 3073597 h 3094175"/>
                  <a:gd name="connsiteX70" fmla="*/ 1706087 w 3071925"/>
                  <a:gd name="connsiteY70" fmla="*/ 3094176 h 3094175"/>
                  <a:gd name="connsiteX71" fmla="*/ 2809379 w 3071925"/>
                  <a:gd name="connsiteY71" fmla="*/ 2464203 h 3094175"/>
                  <a:gd name="connsiteX72" fmla="*/ 2777460 w 3071925"/>
                  <a:gd name="connsiteY72" fmla="*/ 2474283 h 3094175"/>
                  <a:gd name="connsiteX73" fmla="*/ 2790060 w 3071925"/>
                  <a:gd name="connsiteY73" fmla="*/ 2430185 h 3094175"/>
                  <a:gd name="connsiteX74" fmla="*/ 2806019 w 3071925"/>
                  <a:gd name="connsiteY74" fmla="*/ 2422205 h 3094175"/>
                  <a:gd name="connsiteX75" fmla="*/ 2848857 w 3071925"/>
                  <a:gd name="connsiteY75" fmla="*/ 2404566 h 3094175"/>
                  <a:gd name="connsiteX76" fmla="*/ 2834158 w 3071925"/>
                  <a:gd name="connsiteY76" fmla="*/ 2378947 h 3094175"/>
                  <a:gd name="connsiteX77" fmla="*/ 2813999 w 3071925"/>
                  <a:gd name="connsiteY77" fmla="*/ 2382307 h 3094175"/>
                  <a:gd name="connsiteX78" fmla="*/ 2682545 w 3071925"/>
                  <a:gd name="connsiteY78" fmla="*/ 2472183 h 3094175"/>
                  <a:gd name="connsiteX79" fmla="*/ 2673725 w 3071925"/>
                  <a:gd name="connsiteY79" fmla="*/ 2495282 h 3094175"/>
                  <a:gd name="connsiteX80" fmla="*/ 2672885 w 3071925"/>
                  <a:gd name="connsiteY80" fmla="*/ 2620856 h 3094175"/>
                  <a:gd name="connsiteX81" fmla="*/ 2703544 w 3071925"/>
                  <a:gd name="connsiteY81" fmla="*/ 2636396 h 3094175"/>
                  <a:gd name="connsiteX82" fmla="*/ 2764021 w 3071925"/>
                  <a:gd name="connsiteY82" fmla="*/ 2571718 h 3094175"/>
                  <a:gd name="connsiteX83" fmla="*/ 2787540 w 3071925"/>
                  <a:gd name="connsiteY83" fmla="*/ 2504941 h 3094175"/>
                  <a:gd name="connsiteX84" fmla="*/ 2808539 w 3071925"/>
                  <a:gd name="connsiteY84" fmla="*/ 2462943 h 3094175"/>
                  <a:gd name="connsiteX85" fmla="*/ 2813579 w 3071925"/>
                  <a:gd name="connsiteY85" fmla="*/ 2455803 h 3094175"/>
                  <a:gd name="connsiteX86" fmla="*/ 2809379 w 3071925"/>
                  <a:gd name="connsiteY86" fmla="*/ 2464203 h 3094175"/>
                  <a:gd name="connsiteX87" fmla="*/ 2024013 w 3071925"/>
                  <a:gd name="connsiteY87" fmla="*/ 2326869 h 3094175"/>
                  <a:gd name="connsiteX88" fmla="*/ 2066011 w 3071925"/>
                  <a:gd name="connsiteY88" fmla="*/ 2357528 h 3094175"/>
                  <a:gd name="connsiteX89" fmla="*/ 2081970 w 3071925"/>
                  <a:gd name="connsiteY89" fmla="*/ 2347868 h 3094175"/>
                  <a:gd name="connsiteX90" fmla="*/ 2071471 w 3071925"/>
                  <a:gd name="connsiteY90" fmla="*/ 2337369 h 3094175"/>
                  <a:gd name="connsiteX91" fmla="*/ 2022753 w 3071925"/>
                  <a:gd name="connsiteY91" fmla="*/ 2328549 h 3094175"/>
                  <a:gd name="connsiteX92" fmla="*/ 1938337 w 3071925"/>
                  <a:gd name="connsiteY92" fmla="*/ 2284451 h 3094175"/>
                  <a:gd name="connsiteX93" fmla="*/ 1887099 w 3071925"/>
                  <a:gd name="connsiteY93" fmla="*/ 2297050 h 3094175"/>
                  <a:gd name="connsiteX94" fmla="*/ 1871139 w 3071925"/>
                  <a:gd name="connsiteY94" fmla="*/ 2303770 h 3094175"/>
                  <a:gd name="connsiteX95" fmla="*/ 1861060 w 3071925"/>
                  <a:gd name="connsiteY95" fmla="*/ 2289491 h 3094175"/>
                  <a:gd name="connsiteX96" fmla="*/ 1849300 w 3071925"/>
                  <a:gd name="connsiteY96" fmla="*/ 2255892 h 3094175"/>
                  <a:gd name="connsiteX97" fmla="*/ 1826201 w 3071925"/>
                  <a:gd name="connsiteY97" fmla="*/ 2231113 h 3094175"/>
                  <a:gd name="connsiteX98" fmla="*/ 1813182 w 3071925"/>
                  <a:gd name="connsiteY98" fmla="*/ 2092099 h 3094175"/>
                  <a:gd name="connsiteX99" fmla="*/ 1842161 w 3071925"/>
                  <a:gd name="connsiteY99" fmla="*/ 2033722 h 3094175"/>
                  <a:gd name="connsiteX100" fmla="*/ 1953876 w 3071925"/>
                  <a:gd name="connsiteY100" fmla="*/ 1971144 h 3094175"/>
                  <a:gd name="connsiteX101" fmla="*/ 2018553 w 3071925"/>
                  <a:gd name="connsiteY101" fmla="*/ 1856909 h 3094175"/>
                  <a:gd name="connsiteX102" fmla="*/ 2002594 w 3071925"/>
                  <a:gd name="connsiteY102" fmla="*/ 1813231 h 3094175"/>
                  <a:gd name="connsiteX103" fmla="*/ 1981595 w 3071925"/>
                  <a:gd name="connsiteY103" fmla="*/ 1724195 h 3094175"/>
                  <a:gd name="connsiteX104" fmla="*/ 1972355 w 3071925"/>
                  <a:gd name="connsiteY104" fmla="*/ 1685556 h 3094175"/>
                  <a:gd name="connsiteX105" fmla="*/ 1907678 w 3071925"/>
                  <a:gd name="connsiteY105" fmla="*/ 1598200 h 3094175"/>
                  <a:gd name="connsiteX106" fmla="*/ 1887939 w 3071925"/>
                  <a:gd name="connsiteY106" fmla="*/ 1540663 h 3094175"/>
                  <a:gd name="connsiteX107" fmla="*/ 1966895 w 3071925"/>
                  <a:gd name="connsiteY107" fmla="*/ 1412988 h 3094175"/>
                  <a:gd name="connsiteX108" fmla="*/ 1988315 w 3071925"/>
                  <a:gd name="connsiteY108" fmla="*/ 1398289 h 3094175"/>
                  <a:gd name="connsiteX109" fmla="*/ 1998394 w 3071925"/>
                  <a:gd name="connsiteY109" fmla="*/ 1364690 h 3094175"/>
                  <a:gd name="connsiteX110" fmla="*/ 1979495 w 3071925"/>
                  <a:gd name="connsiteY110" fmla="*/ 1334032 h 3094175"/>
                  <a:gd name="connsiteX111" fmla="*/ 1946736 w 3071925"/>
                  <a:gd name="connsiteY111" fmla="*/ 1339491 h 3094175"/>
                  <a:gd name="connsiteX112" fmla="*/ 1919017 w 3071925"/>
                  <a:gd name="connsiteY112" fmla="*/ 1363850 h 3094175"/>
                  <a:gd name="connsiteX113" fmla="*/ 1918597 w 3071925"/>
                  <a:gd name="connsiteY113" fmla="*/ 1324792 h 3094175"/>
                  <a:gd name="connsiteX114" fmla="*/ 1914818 w 3071925"/>
                  <a:gd name="connsiteY114" fmla="*/ 1291194 h 3094175"/>
                  <a:gd name="connsiteX115" fmla="*/ 1907258 w 3071925"/>
                  <a:gd name="connsiteY115" fmla="*/ 1241216 h 3094175"/>
                  <a:gd name="connsiteX116" fmla="*/ 1971935 w 3071925"/>
                  <a:gd name="connsiteY116" fmla="*/ 1179478 h 3094175"/>
                  <a:gd name="connsiteX117" fmla="*/ 1995454 w 3071925"/>
                  <a:gd name="connsiteY117" fmla="*/ 1168979 h 3094175"/>
                  <a:gd name="connsiteX118" fmla="*/ 2010993 w 3071925"/>
                  <a:gd name="connsiteY118" fmla="*/ 1127401 h 3094175"/>
                  <a:gd name="connsiteX119" fmla="*/ 1974035 w 3071925"/>
                  <a:gd name="connsiteY119" fmla="*/ 1077423 h 3094175"/>
                  <a:gd name="connsiteX120" fmla="*/ 1958076 w 3071925"/>
                  <a:gd name="connsiteY120" fmla="*/ 930009 h 3094175"/>
                  <a:gd name="connsiteX121" fmla="*/ 2024853 w 3071925"/>
                  <a:gd name="connsiteY121" fmla="*/ 860712 h 3094175"/>
                  <a:gd name="connsiteX122" fmla="*/ 2029053 w 3071925"/>
                  <a:gd name="connsiteY122" fmla="*/ 831313 h 3094175"/>
                  <a:gd name="connsiteX123" fmla="*/ 1960596 w 3071925"/>
                  <a:gd name="connsiteY123" fmla="*/ 787215 h 3094175"/>
                  <a:gd name="connsiteX124" fmla="*/ 1961856 w 3071925"/>
                  <a:gd name="connsiteY124" fmla="*/ 788475 h 3094175"/>
                  <a:gd name="connsiteX125" fmla="*/ 1955976 w 3071925"/>
                  <a:gd name="connsiteY125" fmla="*/ 758236 h 3094175"/>
                  <a:gd name="connsiteX126" fmla="*/ 1986634 w 3071925"/>
                  <a:gd name="connsiteY126" fmla="*/ 630142 h 3094175"/>
                  <a:gd name="connsiteX127" fmla="*/ 2053412 w 3071925"/>
                  <a:gd name="connsiteY127" fmla="*/ 563785 h 3094175"/>
                  <a:gd name="connsiteX128" fmla="*/ 2076931 w 3071925"/>
                  <a:gd name="connsiteY128" fmla="*/ 525146 h 3094175"/>
                  <a:gd name="connsiteX129" fmla="*/ 2047532 w 3071925"/>
                  <a:gd name="connsiteY129" fmla="*/ 464249 h 3094175"/>
                  <a:gd name="connsiteX130" fmla="*/ 1997554 w 3071925"/>
                  <a:gd name="connsiteY130" fmla="*/ 452069 h 3094175"/>
                  <a:gd name="connsiteX131" fmla="*/ 1922797 w 3071925"/>
                  <a:gd name="connsiteY131" fmla="*/ 318095 h 3094175"/>
                  <a:gd name="connsiteX132" fmla="*/ 1926997 w 3071925"/>
                  <a:gd name="connsiteY132" fmla="*/ 287857 h 3094175"/>
                  <a:gd name="connsiteX133" fmla="*/ 1948416 w 3071925"/>
                  <a:gd name="connsiteY133" fmla="*/ 165222 h 3094175"/>
                  <a:gd name="connsiteX134" fmla="*/ 1937497 w 3071925"/>
                  <a:gd name="connsiteY134" fmla="*/ 89625 h 3094175"/>
                  <a:gd name="connsiteX135" fmla="*/ 1903898 w 3071925"/>
                  <a:gd name="connsiteY135" fmla="*/ 92565 h 3094175"/>
                  <a:gd name="connsiteX136" fmla="*/ 1890879 w 3071925"/>
                  <a:gd name="connsiteY136" fmla="*/ 108944 h 3094175"/>
                  <a:gd name="connsiteX137" fmla="*/ 1864840 w 3071925"/>
                  <a:gd name="connsiteY137" fmla="*/ 101385 h 3094175"/>
                  <a:gd name="connsiteX138" fmla="*/ 1865260 w 3071925"/>
                  <a:gd name="connsiteY138" fmla="*/ 78706 h 3094175"/>
                  <a:gd name="connsiteX139" fmla="*/ 1845101 w 3071925"/>
                  <a:gd name="connsiteY139" fmla="*/ 65266 h 3094175"/>
                  <a:gd name="connsiteX140" fmla="*/ 1822002 w 3071925"/>
                  <a:gd name="connsiteY140" fmla="*/ 90885 h 3094175"/>
                  <a:gd name="connsiteX141" fmla="*/ 1795543 w 3071925"/>
                  <a:gd name="connsiteY141" fmla="*/ 89205 h 3094175"/>
                  <a:gd name="connsiteX142" fmla="*/ 1750185 w 3071925"/>
                  <a:gd name="connsiteY142" fmla="*/ 63166 h 3094175"/>
                  <a:gd name="connsiteX143" fmla="*/ 1729186 w 3071925"/>
                  <a:gd name="connsiteY143" fmla="*/ 64426 h 3094175"/>
                  <a:gd name="connsiteX144" fmla="*/ 1686347 w 3071925"/>
                  <a:gd name="connsiteY144" fmla="*/ 92145 h 3094175"/>
                  <a:gd name="connsiteX145" fmla="*/ 1680888 w 3071925"/>
                  <a:gd name="connsiteY145" fmla="*/ 100965 h 3094175"/>
                  <a:gd name="connsiteX146" fmla="*/ 1664088 w 3071925"/>
                  <a:gd name="connsiteY146" fmla="*/ 116084 h 3094175"/>
                  <a:gd name="connsiteX147" fmla="*/ 1654009 w 3071925"/>
                  <a:gd name="connsiteY147" fmla="*/ 93405 h 3094175"/>
                  <a:gd name="connsiteX148" fmla="*/ 1645189 w 3071925"/>
                  <a:gd name="connsiteY148" fmla="*/ 74926 h 3094175"/>
                  <a:gd name="connsiteX149" fmla="*/ 1567912 w 3071925"/>
                  <a:gd name="connsiteY149" fmla="*/ 95085 h 3094175"/>
                  <a:gd name="connsiteX150" fmla="*/ 1546913 w 3071925"/>
                  <a:gd name="connsiteY150" fmla="*/ 104324 h 3094175"/>
                  <a:gd name="connsiteX151" fmla="*/ 1459977 w 3071925"/>
                  <a:gd name="connsiteY151" fmla="*/ 97185 h 3094175"/>
                  <a:gd name="connsiteX152" fmla="*/ 1365061 w 3071925"/>
                  <a:gd name="connsiteY152" fmla="*/ 142543 h 3094175"/>
                  <a:gd name="connsiteX153" fmla="*/ 1352042 w 3071925"/>
                  <a:gd name="connsiteY153" fmla="*/ 147163 h 3094175"/>
                  <a:gd name="connsiteX154" fmla="*/ 1343222 w 3071925"/>
                  <a:gd name="connsiteY154" fmla="*/ 137083 h 3094175"/>
                  <a:gd name="connsiteX155" fmla="*/ 1335243 w 3071925"/>
                  <a:gd name="connsiteY155" fmla="*/ 109364 h 3094175"/>
                  <a:gd name="connsiteX156" fmla="*/ 1304584 w 3071925"/>
                  <a:gd name="connsiteY156" fmla="*/ 107264 h 3094175"/>
                  <a:gd name="connsiteX157" fmla="*/ 1249146 w 3071925"/>
                  <a:gd name="connsiteY157" fmla="*/ 109784 h 3094175"/>
                  <a:gd name="connsiteX158" fmla="*/ 1241587 w 3071925"/>
                  <a:gd name="connsiteY158" fmla="*/ 125324 h 3094175"/>
                  <a:gd name="connsiteX159" fmla="*/ 1235707 w 3071925"/>
                  <a:gd name="connsiteY159" fmla="*/ 172361 h 3094175"/>
                  <a:gd name="connsiteX160" fmla="*/ 1204628 w 3071925"/>
                  <a:gd name="connsiteY160" fmla="*/ 174461 h 3094175"/>
                  <a:gd name="connsiteX161" fmla="*/ 1205888 w 3071925"/>
                  <a:gd name="connsiteY161" fmla="*/ 153042 h 3094175"/>
                  <a:gd name="connsiteX162" fmla="*/ 1215968 w 3071925"/>
                  <a:gd name="connsiteY162" fmla="*/ 135403 h 3094175"/>
                  <a:gd name="connsiteX163" fmla="*/ 1212188 w 3071925"/>
                  <a:gd name="connsiteY163" fmla="*/ 121544 h 3094175"/>
                  <a:gd name="connsiteX164" fmla="*/ 1198748 w 3071925"/>
                  <a:gd name="connsiteY164" fmla="*/ 121544 h 3094175"/>
                  <a:gd name="connsiteX165" fmla="*/ 1165150 w 3071925"/>
                  <a:gd name="connsiteY165" fmla="*/ 166902 h 3094175"/>
                  <a:gd name="connsiteX166" fmla="*/ 1146251 w 3071925"/>
                  <a:gd name="connsiteY166" fmla="*/ 179081 h 3094175"/>
                  <a:gd name="connsiteX167" fmla="*/ 1132811 w 3071925"/>
                  <a:gd name="connsiteY167" fmla="*/ 161862 h 3094175"/>
                  <a:gd name="connsiteX168" fmla="*/ 1132811 w 3071925"/>
                  <a:gd name="connsiteY168" fmla="*/ 151782 h 3094175"/>
                  <a:gd name="connsiteX169" fmla="*/ 1126512 w 3071925"/>
                  <a:gd name="connsiteY169" fmla="*/ 140023 h 3094175"/>
                  <a:gd name="connsiteX170" fmla="*/ 1109292 w 3071925"/>
                  <a:gd name="connsiteY170" fmla="*/ 148423 h 3094175"/>
                  <a:gd name="connsiteX171" fmla="*/ 1097113 w 3071925"/>
                  <a:gd name="connsiteY171" fmla="*/ 187481 h 3094175"/>
                  <a:gd name="connsiteX172" fmla="*/ 1081994 w 3071925"/>
                  <a:gd name="connsiteY172" fmla="*/ 195880 h 3094175"/>
                  <a:gd name="connsiteX173" fmla="*/ 1071914 w 3071925"/>
                  <a:gd name="connsiteY173" fmla="*/ 184961 h 3094175"/>
                  <a:gd name="connsiteX174" fmla="*/ 1039575 w 3071925"/>
                  <a:gd name="connsiteY174" fmla="*/ 168582 h 3094175"/>
                  <a:gd name="connsiteX175" fmla="*/ 1024036 w 3071925"/>
                  <a:gd name="connsiteY175" fmla="*/ 171102 h 3094175"/>
                  <a:gd name="connsiteX176" fmla="*/ 940460 w 3071925"/>
                  <a:gd name="connsiteY176" fmla="*/ 239139 h 3094175"/>
                  <a:gd name="connsiteX177" fmla="*/ 911481 w 3071925"/>
                  <a:gd name="connsiteY177" fmla="*/ 238299 h 3094175"/>
                  <a:gd name="connsiteX178" fmla="*/ 877882 w 3071925"/>
                  <a:gd name="connsiteY178" fmla="*/ 230739 h 3094175"/>
                  <a:gd name="connsiteX179" fmla="*/ 803545 w 3071925"/>
                  <a:gd name="connsiteY179" fmla="*/ 266018 h 3094175"/>
                  <a:gd name="connsiteX180" fmla="*/ 767007 w 3071925"/>
                  <a:gd name="connsiteY180" fmla="*/ 323555 h 3094175"/>
                  <a:gd name="connsiteX181" fmla="*/ 764907 w 3071925"/>
                  <a:gd name="connsiteY181" fmla="*/ 339094 h 3094175"/>
                  <a:gd name="connsiteX182" fmla="*/ 732568 w 3071925"/>
                  <a:gd name="connsiteY182" fmla="*/ 356734 h 3094175"/>
                  <a:gd name="connsiteX183" fmla="*/ 733408 w 3071925"/>
                  <a:gd name="connsiteY183" fmla="*/ 330695 h 3094175"/>
                  <a:gd name="connsiteX184" fmla="*/ 735508 w 3071925"/>
                  <a:gd name="connsiteY184" fmla="*/ 320615 h 3094175"/>
                  <a:gd name="connsiteX185" fmla="*/ 732148 w 3071925"/>
                  <a:gd name="connsiteY185" fmla="*/ 311376 h 3094175"/>
                  <a:gd name="connsiteX186" fmla="*/ 724169 w 3071925"/>
                  <a:gd name="connsiteY186" fmla="*/ 311796 h 3094175"/>
                  <a:gd name="connsiteX187" fmla="*/ 617913 w 3071925"/>
                  <a:gd name="connsiteY187" fmla="*/ 386552 h 3094175"/>
                  <a:gd name="connsiteX188" fmla="*/ 443201 w 3071925"/>
                  <a:gd name="connsiteY188" fmla="*/ 551185 h 3094175"/>
                  <a:gd name="connsiteX189" fmla="*/ 436061 w 3071925"/>
                  <a:gd name="connsiteY189" fmla="*/ 582684 h 3094175"/>
                  <a:gd name="connsiteX190" fmla="*/ 398683 w 3071925"/>
                  <a:gd name="connsiteY190" fmla="*/ 621322 h 3094175"/>
                  <a:gd name="connsiteX191" fmla="*/ 378944 w 3071925"/>
                  <a:gd name="connsiteY191" fmla="*/ 632662 h 3094175"/>
                  <a:gd name="connsiteX192" fmla="*/ 329806 w 3071925"/>
                  <a:gd name="connsiteY192" fmla="*/ 718338 h 3094175"/>
                  <a:gd name="connsiteX193" fmla="*/ 305867 w 3071925"/>
                  <a:gd name="connsiteY193" fmla="*/ 806534 h 3094175"/>
                  <a:gd name="connsiteX194" fmla="*/ 285288 w 3071925"/>
                  <a:gd name="connsiteY194" fmla="*/ 846853 h 3094175"/>
                  <a:gd name="connsiteX195" fmla="*/ 250429 w 3071925"/>
                  <a:gd name="connsiteY195" fmla="*/ 891371 h 3094175"/>
                  <a:gd name="connsiteX196" fmla="*/ 189112 w 3071925"/>
                  <a:gd name="connsiteY196" fmla="*/ 1010646 h 3094175"/>
                  <a:gd name="connsiteX197" fmla="*/ 77397 w 3071925"/>
                  <a:gd name="connsiteY197" fmla="*/ 1265574 h 3094175"/>
                  <a:gd name="connsiteX198" fmla="*/ 54717 w 3071925"/>
                  <a:gd name="connsiteY198" fmla="*/ 1333192 h 3094175"/>
                  <a:gd name="connsiteX199" fmla="*/ 36238 w 3071925"/>
                  <a:gd name="connsiteY199" fmla="*/ 1546962 h 3094175"/>
                  <a:gd name="connsiteX200" fmla="*/ 42538 w 3071925"/>
                  <a:gd name="connsiteY200" fmla="*/ 1597780 h 3094175"/>
                  <a:gd name="connsiteX201" fmla="*/ 64797 w 3071925"/>
                  <a:gd name="connsiteY201" fmla="*/ 1855649 h 3094175"/>
                  <a:gd name="connsiteX202" fmla="*/ 75297 w 3071925"/>
                  <a:gd name="connsiteY202" fmla="*/ 1932086 h 3094175"/>
                  <a:gd name="connsiteX203" fmla="*/ 96296 w 3071925"/>
                  <a:gd name="connsiteY203" fmla="*/ 2027002 h 3094175"/>
                  <a:gd name="connsiteX204" fmla="*/ 117715 w 3071925"/>
                  <a:gd name="connsiteY204" fmla="*/ 2116878 h 3094175"/>
                  <a:gd name="connsiteX205" fmla="*/ 190372 w 3071925"/>
                  <a:gd name="connsiteY205" fmla="*/ 2158876 h 3094175"/>
                  <a:gd name="connsiteX206" fmla="*/ 305027 w 3071925"/>
                  <a:gd name="connsiteY206" fmla="*/ 2050521 h 3094175"/>
                  <a:gd name="connsiteX207" fmla="*/ 406662 w 3071925"/>
                  <a:gd name="connsiteY207" fmla="*/ 1928726 h 3094175"/>
                  <a:gd name="connsiteX208" fmla="*/ 466300 w 3071925"/>
                  <a:gd name="connsiteY208" fmla="*/ 1878748 h 3094175"/>
                  <a:gd name="connsiteX209" fmla="*/ 511238 w 3071925"/>
                  <a:gd name="connsiteY209" fmla="*/ 1835070 h 3094175"/>
                  <a:gd name="connsiteX210" fmla="*/ 563736 w 3071925"/>
                  <a:gd name="connsiteY210" fmla="*/ 1817011 h 3094175"/>
                  <a:gd name="connsiteX211" fmla="*/ 644792 w 3071925"/>
                  <a:gd name="connsiteY211" fmla="*/ 1859849 h 3094175"/>
                  <a:gd name="connsiteX212" fmla="*/ 762807 w 3071925"/>
                  <a:gd name="connsiteY212" fmla="*/ 2018602 h 3094175"/>
                  <a:gd name="connsiteX213" fmla="*/ 786326 w 3071925"/>
                  <a:gd name="connsiteY213" fmla="*/ 2058501 h 3094175"/>
                  <a:gd name="connsiteX214" fmla="*/ 827484 w 3071925"/>
                  <a:gd name="connsiteY214" fmla="*/ 2138717 h 3094175"/>
                  <a:gd name="connsiteX215" fmla="*/ 930380 w 3071925"/>
                  <a:gd name="connsiteY215" fmla="*/ 2237833 h 3094175"/>
                  <a:gd name="connsiteX216" fmla="*/ 964818 w 3071925"/>
                  <a:gd name="connsiteY216" fmla="*/ 2212634 h 3094175"/>
                  <a:gd name="connsiteX217" fmla="*/ 964818 w 3071925"/>
                  <a:gd name="connsiteY217" fmla="*/ 2186595 h 3094175"/>
                  <a:gd name="connsiteX218" fmla="*/ 1025716 w 3071925"/>
                  <a:gd name="connsiteY218" fmla="*/ 1987943 h 3094175"/>
                  <a:gd name="connsiteX219" fmla="*/ 1060574 w 3071925"/>
                  <a:gd name="connsiteY219" fmla="*/ 1919067 h 3094175"/>
                  <a:gd name="connsiteX220" fmla="*/ 1143311 w 3071925"/>
                  <a:gd name="connsiteY220" fmla="*/ 1827511 h 3094175"/>
                  <a:gd name="connsiteX221" fmla="*/ 1252506 w 3071925"/>
                  <a:gd name="connsiteY221" fmla="*/ 1845570 h 3094175"/>
                  <a:gd name="connsiteX222" fmla="*/ 1259646 w 3071925"/>
                  <a:gd name="connsiteY222" fmla="*/ 1853549 h 3094175"/>
                  <a:gd name="connsiteX223" fmla="*/ 1354982 w 3071925"/>
                  <a:gd name="connsiteY223" fmla="*/ 1919067 h 3094175"/>
                  <a:gd name="connsiteX224" fmla="*/ 1487276 w 3071925"/>
                  <a:gd name="connsiteY224" fmla="*/ 1972404 h 3094175"/>
                  <a:gd name="connsiteX225" fmla="*/ 1516255 w 3071925"/>
                  <a:gd name="connsiteY225" fmla="*/ 1982904 h 3094175"/>
                  <a:gd name="connsiteX226" fmla="*/ 1707767 w 3071925"/>
                  <a:gd name="connsiteY226" fmla="*/ 2092099 h 3094175"/>
                  <a:gd name="connsiteX227" fmla="*/ 1738005 w 3071925"/>
                  <a:gd name="connsiteY227" fmla="*/ 2133677 h 3094175"/>
                  <a:gd name="connsiteX228" fmla="*/ 1793023 w 3071925"/>
                  <a:gd name="connsiteY228" fmla="*/ 2199614 h 3094175"/>
                  <a:gd name="connsiteX229" fmla="*/ 1812342 w 3071925"/>
                  <a:gd name="connsiteY229" fmla="*/ 2226913 h 3094175"/>
                  <a:gd name="connsiteX230" fmla="*/ 1840901 w 3071925"/>
                  <a:gd name="connsiteY230" fmla="*/ 2305450 h 3094175"/>
                  <a:gd name="connsiteX231" fmla="*/ 1893819 w 3071925"/>
                  <a:gd name="connsiteY231" fmla="*/ 2326449 h 3094175"/>
                  <a:gd name="connsiteX232" fmla="*/ 1936657 w 3071925"/>
                  <a:gd name="connsiteY232" fmla="*/ 2325609 h 3094175"/>
                  <a:gd name="connsiteX233" fmla="*/ 2006794 w 3071925"/>
                  <a:gd name="connsiteY233" fmla="*/ 2337369 h 3094175"/>
                  <a:gd name="connsiteX234" fmla="*/ 2024013 w 3071925"/>
                  <a:gd name="connsiteY234" fmla="*/ 2326869 h 3094175"/>
                  <a:gd name="connsiteX235" fmla="*/ 1679628 w 3071925"/>
                  <a:gd name="connsiteY235" fmla="*/ 3043358 h 3094175"/>
                  <a:gd name="connsiteX236" fmla="*/ 1866520 w 3071925"/>
                  <a:gd name="connsiteY236" fmla="*/ 3029499 h 3094175"/>
                  <a:gd name="connsiteX237" fmla="*/ 1958496 w 3071925"/>
                  <a:gd name="connsiteY237" fmla="*/ 3017740 h 3094175"/>
                  <a:gd name="connsiteX238" fmla="*/ 2158827 w 3071925"/>
                  <a:gd name="connsiteY238" fmla="*/ 2971961 h 3094175"/>
                  <a:gd name="connsiteX239" fmla="*/ 2373018 w 3071925"/>
                  <a:gd name="connsiteY239" fmla="*/ 2873685 h 3094175"/>
                  <a:gd name="connsiteX240" fmla="*/ 2595188 w 3071925"/>
                  <a:gd name="connsiteY240" fmla="*/ 2721232 h 3094175"/>
                  <a:gd name="connsiteX241" fmla="*/ 2622067 w 3071925"/>
                  <a:gd name="connsiteY241" fmla="*/ 2669154 h 3094175"/>
                  <a:gd name="connsiteX242" fmla="*/ 2629207 w 3071925"/>
                  <a:gd name="connsiteY242" fmla="*/ 2555339 h 3094175"/>
                  <a:gd name="connsiteX243" fmla="*/ 2628787 w 3071925"/>
                  <a:gd name="connsiteY243" fmla="*/ 2524681 h 3094175"/>
                  <a:gd name="connsiteX244" fmla="*/ 2634667 w 3071925"/>
                  <a:gd name="connsiteY244" fmla="*/ 2475963 h 3094175"/>
                  <a:gd name="connsiteX245" fmla="*/ 2754781 w 3071925"/>
                  <a:gd name="connsiteY245" fmla="*/ 2349548 h 3094175"/>
                  <a:gd name="connsiteX246" fmla="*/ 2857677 w 3071925"/>
                  <a:gd name="connsiteY246" fmla="*/ 2314269 h 3094175"/>
                  <a:gd name="connsiteX247" fmla="*/ 2878676 w 3071925"/>
                  <a:gd name="connsiteY247" fmla="*/ 2302930 h 3094175"/>
                  <a:gd name="connsiteX248" fmla="*/ 2892956 w 3071925"/>
                  <a:gd name="connsiteY248" fmla="*/ 2270171 h 3094175"/>
                  <a:gd name="connsiteX249" fmla="*/ 2958053 w 3071925"/>
                  <a:gd name="connsiteY249" fmla="*/ 2063960 h 3094175"/>
                  <a:gd name="connsiteX250" fmla="*/ 3017690 w 3071925"/>
                  <a:gd name="connsiteY250" fmla="*/ 1782992 h 3094175"/>
                  <a:gd name="connsiteX251" fmla="*/ 3039109 w 3071925"/>
                  <a:gd name="connsiteY251" fmla="*/ 1545702 h 3094175"/>
                  <a:gd name="connsiteX252" fmla="*/ 3038269 w 3071925"/>
                  <a:gd name="connsiteY252" fmla="*/ 1530163 h 3094175"/>
                  <a:gd name="connsiteX253" fmla="*/ 3029450 w 3071925"/>
                  <a:gd name="connsiteY253" fmla="*/ 1463806 h 3094175"/>
                  <a:gd name="connsiteX254" fmla="*/ 3012650 w 3071925"/>
                  <a:gd name="connsiteY254" fmla="*/ 1341171 h 3094175"/>
                  <a:gd name="connsiteX255" fmla="*/ 2967293 w 3071925"/>
                  <a:gd name="connsiteY255" fmla="*/ 1177798 h 3094175"/>
                  <a:gd name="connsiteX256" fmla="*/ 2836258 w 3071925"/>
                  <a:gd name="connsiteY256" fmla="*/ 820814 h 3094175"/>
                  <a:gd name="connsiteX257" fmla="*/ 2651046 w 3071925"/>
                  <a:gd name="connsiteY257" fmla="*/ 506247 h 3094175"/>
                  <a:gd name="connsiteX258" fmla="*/ 2647686 w 3071925"/>
                  <a:gd name="connsiteY258" fmla="*/ 502467 h 3094175"/>
                  <a:gd name="connsiteX259" fmla="*/ 2490613 w 3071925"/>
                  <a:gd name="connsiteY259" fmla="*/ 315575 h 3094175"/>
                  <a:gd name="connsiteX260" fmla="*/ 2207125 w 3071925"/>
                  <a:gd name="connsiteY260" fmla="*/ 141703 h 3094175"/>
                  <a:gd name="connsiteX261" fmla="*/ 2052992 w 3071925"/>
                  <a:gd name="connsiteY261" fmla="*/ 106004 h 3094175"/>
                  <a:gd name="connsiteX262" fmla="*/ 2038292 w 3071925"/>
                  <a:gd name="connsiteY262" fmla="*/ 101805 h 3094175"/>
                  <a:gd name="connsiteX263" fmla="*/ 2004274 w 3071925"/>
                  <a:gd name="connsiteY263" fmla="*/ 127843 h 3094175"/>
                  <a:gd name="connsiteX264" fmla="*/ 1997974 w 3071925"/>
                  <a:gd name="connsiteY264" fmla="*/ 157662 h 3094175"/>
                  <a:gd name="connsiteX265" fmla="*/ 1971935 w 3071925"/>
                  <a:gd name="connsiteY265" fmla="*/ 282817 h 3094175"/>
                  <a:gd name="connsiteX266" fmla="*/ 2050472 w 3071925"/>
                  <a:gd name="connsiteY266" fmla="*/ 400832 h 3094175"/>
                  <a:gd name="connsiteX267" fmla="*/ 2079871 w 3071925"/>
                  <a:gd name="connsiteY267" fmla="*/ 409231 h 3094175"/>
                  <a:gd name="connsiteX268" fmla="*/ 2129428 w 3071925"/>
                  <a:gd name="connsiteY268" fmla="*/ 490288 h 3094175"/>
                  <a:gd name="connsiteX269" fmla="*/ 2105910 w 3071925"/>
                  <a:gd name="connsiteY269" fmla="*/ 568825 h 3094175"/>
                  <a:gd name="connsiteX270" fmla="*/ 2048792 w 3071925"/>
                  <a:gd name="connsiteY270" fmla="*/ 634342 h 3094175"/>
                  <a:gd name="connsiteX271" fmla="*/ 2008474 w 3071925"/>
                  <a:gd name="connsiteY271" fmla="*/ 665420 h 3094175"/>
                  <a:gd name="connsiteX272" fmla="*/ 2010154 w 3071925"/>
                  <a:gd name="connsiteY272" fmla="*/ 708259 h 3094175"/>
                  <a:gd name="connsiteX273" fmla="*/ 2035353 w 3071925"/>
                  <a:gd name="connsiteY273" fmla="*/ 754876 h 3094175"/>
                  <a:gd name="connsiteX274" fmla="*/ 2059711 w 3071925"/>
                  <a:gd name="connsiteY274" fmla="*/ 762856 h 3094175"/>
                  <a:gd name="connsiteX275" fmla="*/ 2097510 w 3071925"/>
                  <a:gd name="connsiteY275" fmla="*/ 840553 h 3094175"/>
                  <a:gd name="connsiteX276" fmla="*/ 2044592 w 3071925"/>
                  <a:gd name="connsiteY276" fmla="*/ 913630 h 3094175"/>
                  <a:gd name="connsiteX277" fmla="*/ 2008893 w 3071925"/>
                  <a:gd name="connsiteY277" fmla="*/ 934209 h 3094175"/>
                  <a:gd name="connsiteX278" fmla="*/ 2001754 w 3071925"/>
                  <a:gd name="connsiteY278" fmla="*/ 1009385 h 3094175"/>
                  <a:gd name="connsiteX279" fmla="*/ 2054672 w 3071925"/>
                  <a:gd name="connsiteY279" fmla="*/ 1073643 h 3094175"/>
                  <a:gd name="connsiteX280" fmla="*/ 2066011 w 3071925"/>
                  <a:gd name="connsiteY280" fmla="*/ 1096322 h 3094175"/>
                  <a:gd name="connsiteX281" fmla="*/ 2009733 w 3071925"/>
                  <a:gd name="connsiteY281" fmla="*/ 1218957 h 3094175"/>
                  <a:gd name="connsiteX282" fmla="*/ 1984535 w 3071925"/>
                  <a:gd name="connsiteY282" fmla="*/ 1237016 h 3094175"/>
                  <a:gd name="connsiteX283" fmla="*/ 1987055 w 3071925"/>
                  <a:gd name="connsiteY283" fmla="*/ 1259695 h 3094175"/>
                  <a:gd name="connsiteX284" fmla="*/ 2043752 w 3071925"/>
                  <a:gd name="connsiteY284" fmla="*/ 1302113 h 3094175"/>
                  <a:gd name="connsiteX285" fmla="*/ 1983275 w 3071925"/>
                  <a:gd name="connsiteY285" fmla="*/ 1458766 h 3094175"/>
                  <a:gd name="connsiteX286" fmla="*/ 1951776 w 3071925"/>
                  <a:gd name="connsiteY286" fmla="*/ 1541923 h 3094175"/>
                  <a:gd name="connsiteX287" fmla="*/ 1987474 w 3071925"/>
                  <a:gd name="connsiteY287" fmla="*/ 1592321 h 3094175"/>
                  <a:gd name="connsiteX288" fmla="*/ 2035772 w 3071925"/>
                  <a:gd name="connsiteY288" fmla="*/ 1712015 h 3094175"/>
                  <a:gd name="connsiteX289" fmla="*/ 2044172 w 3071925"/>
                  <a:gd name="connsiteY289" fmla="*/ 1746454 h 3094175"/>
                  <a:gd name="connsiteX290" fmla="*/ 2069371 w 3071925"/>
                  <a:gd name="connsiteY290" fmla="*/ 1900167 h 3094175"/>
                  <a:gd name="connsiteX291" fmla="*/ 1994614 w 3071925"/>
                  <a:gd name="connsiteY291" fmla="*/ 2003063 h 3094175"/>
                  <a:gd name="connsiteX292" fmla="*/ 1884579 w 3071925"/>
                  <a:gd name="connsiteY292" fmla="*/ 2058920 h 3094175"/>
                  <a:gd name="connsiteX293" fmla="*/ 1866100 w 3071925"/>
                  <a:gd name="connsiteY293" fmla="*/ 2111838 h 3094175"/>
                  <a:gd name="connsiteX294" fmla="*/ 1867360 w 3071925"/>
                  <a:gd name="connsiteY294" fmla="*/ 2163496 h 3094175"/>
                  <a:gd name="connsiteX295" fmla="*/ 1890879 w 3071925"/>
                  <a:gd name="connsiteY295" fmla="*/ 2206754 h 3094175"/>
                  <a:gd name="connsiteX296" fmla="*/ 1939177 w 3071925"/>
                  <a:gd name="connsiteY296" fmla="*/ 2223133 h 3094175"/>
                  <a:gd name="connsiteX297" fmla="*/ 2030313 w 3071925"/>
                  <a:gd name="connsiteY297" fmla="*/ 2254212 h 3094175"/>
                  <a:gd name="connsiteX298" fmla="*/ 2133628 w 3071925"/>
                  <a:gd name="connsiteY298" fmla="*/ 2271431 h 3094175"/>
                  <a:gd name="connsiteX299" fmla="*/ 2220984 w 3071925"/>
                  <a:gd name="connsiteY299" fmla="*/ 2265552 h 3094175"/>
                  <a:gd name="connsiteX300" fmla="*/ 2287342 w 3071925"/>
                  <a:gd name="connsiteY300" fmla="*/ 2330229 h 3094175"/>
                  <a:gd name="connsiteX301" fmla="*/ 2288182 w 3071925"/>
                  <a:gd name="connsiteY301" fmla="*/ 2340728 h 3094175"/>
                  <a:gd name="connsiteX302" fmla="*/ 2266763 w 3071925"/>
                  <a:gd name="connsiteY302" fmla="*/ 2423885 h 3094175"/>
                  <a:gd name="connsiteX303" fmla="*/ 2238624 w 3071925"/>
                  <a:gd name="connsiteY303" fmla="*/ 2430605 h 3094175"/>
                  <a:gd name="connsiteX304" fmla="*/ 2210065 w 3071925"/>
                  <a:gd name="connsiteY304" fmla="*/ 2419685 h 3094175"/>
                  <a:gd name="connsiteX305" fmla="*/ 2094150 w 3071925"/>
                  <a:gd name="connsiteY305" fmla="*/ 2404146 h 3094175"/>
                  <a:gd name="connsiteX306" fmla="*/ 1992934 w 3071925"/>
                  <a:gd name="connsiteY306" fmla="*/ 2399946 h 3094175"/>
                  <a:gd name="connsiteX307" fmla="*/ 1943376 w 3071925"/>
                  <a:gd name="connsiteY307" fmla="*/ 2391126 h 3094175"/>
                  <a:gd name="connsiteX308" fmla="*/ 1882899 w 3071925"/>
                  <a:gd name="connsiteY308" fmla="*/ 2390286 h 3094175"/>
                  <a:gd name="connsiteX309" fmla="*/ 1796383 w 3071925"/>
                  <a:gd name="connsiteY309" fmla="*/ 2340728 h 3094175"/>
                  <a:gd name="connsiteX310" fmla="*/ 1766984 w 3071925"/>
                  <a:gd name="connsiteY310" fmla="*/ 2280671 h 3094175"/>
                  <a:gd name="connsiteX311" fmla="*/ 1731705 w 3071925"/>
                  <a:gd name="connsiteY311" fmla="*/ 2232793 h 3094175"/>
                  <a:gd name="connsiteX312" fmla="*/ 1697267 w 3071925"/>
                  <a:gd name="connsiteY312" fmla="*/ 2184915 h 3094175"/>
                  <a:gd name="connsiteX313" fmla="*/ 1667448 w 3071925"/>
                  <a:gd name="connsiteY313" fmla="*/ 2131997 h 3094175"/>
                  <a:gd name="connsiteX314" fmla="*/ 1525914 w 3071925"/>
                  <a:gd name="connsiteY314" fmla="*/ 2049681 h 3094175"/>
                  <a:gd name="connsiteX315" fmla="*/ 1464177 w 3071925"/>
                  <a:gd name="connsiteY315" fmla="*/ 2023642 h 3094175"/>
                  <a:gd name="connsiteX316" fmla="*/ 1339862 w 3071925"/>
                  <a:gd name="connsiteY316" fmla="*/ 1978284 h 3094175"/>
                  <a:gd name="connsiteX317" fmla="*/ 1223527 w 3071925"/>
                  <a:gd name="connsiteY317" fmla="*/ 1898487 h 3094175"/>
                  <a:gd name="connsiteX318" fmla="*/ 1201688 w 3071925"/>
                  <a:gd name="connsiteY318" fmla="*/ 1876228 h 3094175"/>
                  <a:gd name="connsiteX319" fmla="*/ 1154650 w 3071925"/>
                  <a:gd name="connsiteY319" fmla="*/ 1874128 h 3094175"/>
                  <a:gd name="connsiteX320" fmla="*/ 1095013 w 3071925"/>
                  <a:gd name="connsiteY320" fmla="*/ 1943006 h 3094175"/>
                  <a:gd name="connsiteX321" fmla="*/ 1047975 w 3071925"/>
                  <a:gd name="connsiteY321" fmla="*/ 2022802 h 3094175"/>
                  <a:gd name="connsiteX322" fmla="*/ 1029916 w 3071925"/>
                  <a:gd name="connsiteY322" fmla="*/ 2059340 h 3094175"/>
                  <a:gd name="connsiteX323" fmla="*/ 1017316 w 3071925"/>
                  <a:gd name="connsiteY323" fmla="*/ 2151317 h 3094175"/>
                  <a:gd name="connsiteX324" fmla="*/ 1017736 w 3071925"/>
                  <a:gd name="connsiteY324" fmla="*/ 2240353 h 3094175"/>
                  <a:gd name="connsiteX325" fmla="*/ 932480 w 3071925"/>
                  <a:gd name="connsiteY325" fmla="*/ 2307130 h 3094175"/>
                  <a:gd name="connsiteX326" fmla="*/ 843444 w 3071925"/>
                  <a:gd name="connsiteY326" fmla="*/ 2268071 h 3094175"/>
                  <a:gd name="connsiteX327" fmla="*/ 764907 w 3071925"/>
                  <a:gd name="connsiteY327" fmla="*/ 2161816 h 3094175"/>
                  <a:gd name="connsiteX328" fmla="*/ 738868 w 3071925"/>
                  <a:gd name="connsiteY328" fmla="*/ 2103859 h 3094175"/>
                  <a:gd name="connsiteX329" fmla="*/ 716609 w 3071925"/>
                  <a:gd name="connsiteY329" fmla="*/ 2069000 h 3094175"/>
                  <a:gd name="connsiteX330" fmla="*/ 618753 w 3071925"/>
                  <a:gd name="connsiteY330" fmla="*/ 1922846 h 3094175"/>
                  <a:gd name="connsiteX331" fmla="*/ 593134 w 3071925"/>
                  <a:gd name="connsiteY331" fmla="*/ 1896808 h 3094175"/>
                  <a:gd name="connsiteX332" fmla="*/ 508298 w 3071925"/>
                  <a:gd name="connsiteY332" fmla="*/ 1900587 h 3094175"/>
                  <a:gd name="connsiteX333" fmla="*/ 429341 w 3071925"/>
                  <a:gd name="connsiteY333" fmla="*/ 1976604 h 3094175"/>
                  <a:gd name="connsiteX334" fmla="*/ 327286 w 3071925"/>
                  <a:gd name="connsiteY334" fmla="*/ 2097979 h 3094175"/>
                  <a:gd name="connsiteX335" fmla="*/ 280668 w 3071925"/>
                  <a:gd name="connsiteY335" fmla="*/ 2151736 h 3094175"/>
                  <a:gd name="connsiteX336" fmla="*/ 204231 w 3071925"/>
                  <a:gd name="connsiteY336" fmla="*/ 2205074 h 3094175"/>
                  <a:gd name="connsiteX337" fmla="*/ 193312 w 3071925"/>
                  <a:gd name="connsiteY337" fmla="*/ 2257572 h 3094175"/>
                  <a:gd name="connsiteX338" fmla="*/ 238670 w 3071925"/>
                  <a:gd name="connsiteY338" fmla="*/ 2326869 h 3094175"/>
                  <a:gd name="connsiteX339" fmla="*/ 346185 w 3071925"/>
                  <a:gd name="connsiteY339" fmla="*/ 2460423 h 3094175"/>
                  <a:gd name="connsiteX340" fmla="*/ 582635 w 3071925"/>
                  <a:gd name="connsiteY340" fmla="*/ 2684694 h 3094175"/>
                  <a:gd name="connsiteX341" fmla="*/ 674191 w 3071925"/>
                  <a:gd name="connsiteY341" fmla="*/ 2743911 h 3094175"/>
                  <a:gd name="connsiteX342" fmla="*/ 899721 w 3071925"/>
                  <a:gd name="connsiteY342" fmla="*/ 2853947 h 3094175"/>
                  <a:gd name="connsiteX343" fmla="*/ 937939 w 3071925"/>
                  <a:gd name="connsiteY343" fmla="*/ 2869486 h 3094175"/>
                  <a:gd name="connsiteX344" fmla="*/ 1103832 w 3071925"/>
                  <a:gd name="connsiteY344" fmla="*/ 2923244 h 3094175"/>
                  <a:gd name="connsiteX345" fmla="*/ 1357082 w 3071925"/>
                  <a:gd name="connsiteY345" fmla="*/ 2989600 h 3094175"/>
                  <a:gd name="connsiteX346" fmla="*/ 1381020 w 3071925"/>
                  <a:gd name="connsiteY346" fmla="*/ 3000100 h 3094175"/>
                  <a:gd name="connsiteX347" fmla="*/ 1478876 w 3071925"/>
                  <a:gd name="connsiteY347" fmla="*/ 3028239 h 3094175"/>
                  <a:gd name="connsiteX348" fmla="*/ 1679628 w 3071925"/>
                  <a:gd name="connsiteY348" fmla="*/ 3043358 h 3094175"/>
                  <a:gd name="connsiteX349" fmla="*/ 2173947 w 3071925"/>
                  <a:gd name="connsiteY349" fmla="*/ 2328129 h 3094175"/>
                  <a:gd name="connsiteX350" fmla="*/ 2163027 w 3071925"/>
                  <a:gd name="connsiteY350" fmla="*/ 2331489 h 3094175"/>
                  <a:gd name="connsiteX351" fmla="*/ 2171007 w 3071925"/>
                  <a:gd name="connsiteY351" fmla="*/ 2343248 h 3094175"/>
                  <a:gd name="connsiteX352" fmla="*/ 2190746 w 3071925"/>
                  <a:gd name="connsiteY352" fmla="*/ 2348288 h 3094175"/>
                  <a:gd name="connsiteX353" fmla="*/ 2228964 w 3071925"/>
                  <a:gd name="connsiteY353" fmla="*/ 2349968 h 3094175"/>
                  <a:gd name="connsiteX354" fmla="*/ 2193266 w 3071925"/>
                  <a:gd name="connsiteY354" fmla="*/ 2329809 h 3094175"/>
                  <a:gd name="connsiteX355" fmla="*/ 2173947 w 3071925"/>
                  <a:gd name="connsiteY355" fmla="*/ 2328129 h 3094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</a:cxnLst>
                <a:rect l="l" t="t" r="r" b="b"/>
                <a:pathLst>
                  <a:path w="3071925" h="3094175">
                    <a:moveTo>
                      <a:pt x="1706087" y="3094176"/>
                    </a:moveTo>
                    <a:cubicBezTo>
                      <a:pt x="1671648" y="3090816"/>
                      <a:pt x="1630490" y="3084096"/>
                      <a:pt x="1588912" y="3084096"/>
                    </a:cubicBezTo>
                    <a:cubicBezTo>
                      <a:pt x="1563713" y="3084096"/>
                      <a:pt x="1538514" y="3084096"/>
                      <a:pt x="1513315" y="3082837"/>
                    </a:cubicBezTo>
                    <a:cubicBezTo>
                      <a:pt x="1462917" y="3080316"/>
                      <a:pt x="1415459" y="3066877"/>
                      <a:pt x="1367581" y="3052598"/>
                    </a:cubicBezTo>
                    <a:cubicBezTo>
                      <a:pt x="1284005" y="3027399"/>
                      <a:pt x="1201268" y="2997580"/>
                      <a:pt x="1115592" y="2981621"/>
                    </a:cubicBezTo>
                    <a:cubicBezTo>
                      <a:pt x="1036635" y="2966501"/>
                      <a:pt x="964399" y="2936263"/>
                      <a:pt x="890482" y="2909804"/>
                    </a:cubicBezTo>
                    <a:cubicBezTo>
                      <a:pt x="876202" y="2904764"/>
                      <a:pt x="859403" y="2906864"/>
                      <a:pt x="845124" y="2901404"/>
                    </a:cubicBezTo>
                    <a:cubicBezTo>
                      <a:pt x="790106" y="2880825"/>
                      <a:pt x="736768" y="2856886"/>
                      <a:pt x="688470" y="2822448"/>
                    </a:cubicBezTo>
                    <a:cubicBezTo>
                      <a:pt x="644792" y="2791789"/>
                      <a:pt x="598174" y="2765330"/>
                      <a:pt x="554076" y="2734672"/>
                    </a:cubicBezTo>
                    <a:cubicBezTo>
                      <a:pt x="507458" y="2701913"/>
                      <a:pt x="460840" y="2668734"/>
                      <a:pt x="417162" y="2632196"/>
                    </a:cubicBezTo>
                    <a:cubicBezTo>
                      <a:pt x="392383" y="2611197"/>
                      <a:pt x="372644" y="2583898"/>
                      <a:pt x="352065" y="2558279"/>
                    </a:cubicBezTo>
                    <a:cubicBezTo>
                      <a:pt x="310487" y="2507461"/>
                      <a:pt x="269328" y="2456223"/>
                      <a:pt x="228590" y="2405406"/>
                    </a:cubicBezTo>
                    <a:cubicBezTo>
                      <a:pt x="213471" y="2386506"/>
                      <a:pt x="197931" y="2368027"/>
                      <a:pt x="183652" y="2348288"/>
                    </a:cubicBezTo>
                    <a:cubicBezTo>
                      <a:pt x="162233" y="2318889"/>
                      <a:pt x="141234" y="2289491"/>
                      <a:pt x="135774" y="2252112"/>
                    </a:cubicBezTo>
                    <a:cubicBezTo>
                      <a:pt x="134514" y="2244132"/>
                      <a:pt x="130314" y="2235313"/>
                      <a:pt x="124855" y="2229013"/>
                    </a:cubicBezTo>
                    <a:cubicBezTo>
                      <a:pt x="66897" y="2160556"/>
                      <a:pt x="55557" y="2074460"/>
                      <a:pt x="34558" y="1992563"/>
                    </a:cubicBezTo>
                    <a:cubicBezTo>
                      <a:pt x="24479" y="1953085"/>
                      <a:pt x="22799" y="1910247"/>
                      <a:pt x="22799" y="1869089"/>
                    </a:cubicBezTo>
                    <a:cubicBezTo>
                      <a:pt x="22379" y="1810291"/>
                      <a:pt x="14399" y="1752754"/>
                      <a:pt x="3480" y="1694796"/>
                    </a:cubicBezTo>
                    <a:cubicBezTo>
                      <a:pt x="-720" y="1672957"/>
                      <a:pt x="540" y="1649438"/>
                      <a:pt x="540" y="1626759"/>
                    </a:cubicBezTo>
                    <a:cubicBezTo>
                      <a:pt x="120" y="1588541"/>
                      <a:pt x="1380" y="1549902"/>
                      <a:pt x="120" y="1511684"/>
                    </a:cubicBezTo>
                    <a:cubicBezTo>
                      <a:pt x="-1560" y="1444067"/>
                      <a:pt x="14819" y="1378550"/>
                      <a:pt x="24479" y="1312193"/>
                    </a:cubicBezTo>
                    <a:cubicBezTo>
                      <a:pt x="27839" y="1289094"/>
                      <a:pt x="39178" y="1265995"/>
                      <a:pt x="50518" y="1244996"/>
                    </a:cubicBezTo>
                    <a:cubicBezTo>
                      <a:pt x="91256" y="1167299"/>
                      <a:pt x="118555" y="1083722"/>
                      <a:pt x="151313" y="1002666"/>
                    </a:cubicBezTo>
                    <a:cubicBezTo>
                      <a:pt x="157613" y="986707"/>
                      <a:pt x="169793" y="973687"/>
                      <a:pt x="177772" y="958568"/>
                    </a:cubicBezTo>
                    <a:cubicBezTo>
                      <a:pt x="216831" y="885491"/>
                      <a:pt x="249589" y="809894"/>
                      <a:pt x="286128" y="735557"/>
                    </a:cubicBezTo>
                    <a:cubicBezTo>
                      <a:pt x="328126" y="650721"/>
                      <a:pt x="366344" y="562105"/>
                      <a:pt x="441521" y="497847"/>
                    </a:cubicBezTo>
                    <a:cubicBezTo>
                      <a:pt x="466720" y="476428"/>
                      <a:pt x="488559" y="450810"/>
                      <a:pt x="512078" y="428131"/>
                    </a:cubicBezTo>
                    <a:cubicBezTo>
                      <a:pt x="591875" y="351274"/>
                      <a:pt x="677131" y="280297"/>
                      <a:pt x="775827" y="228639"/>
                    </a:cubicBezTo>
                    <a:cubicBezTo>
                      <a:pt x="879562" y="174461"/>
                      <a:pt x="985818" y="126583"/>
                      <a:pt x="1098373" y="92985"/>
                    </a:cubicBezTo>
                    <a:cubicBezTo>
                      <a:pt x="1118112" y="87105"/>
                      <a:pt x="1137851" y="82065"/>
                      <a:pt x="1157590" y="77446"/>
                    </a:cubicBezTo>
                    <a:cubicBezTo>
                      <a:pt x="1244946" y="57286"/>
                      <a:pt x="1332723" y="44687"/>
                      <a:pt x="1423019" y="42587"/>
                    </a:cubicBezTo>
                    <a:cubicBezTo>
                      <a:pt x="1489796" y="41327"/>
                      <a:pt x="1556153" y="27048"/>
                      <a:pt x="1622930" y="18648"/>
                    </a:cubicBezTo>
                    <a:cubicBezTo>
                      <a:pt x="1627970" y="17808"/>
                      <a:pt x="1632590" y="14028"/>
                      <a:pt x="1637630" y="14028"/>
                    </a:cubicBezTo>
                    <a:cubicBezTo>
                      <a:pt x="1722466" y="14028"/>
                      <a:pt x="1806462" y="-4451"/>
                      <a:pt x="1891719" y="1009"/>
                    </a:cubicBezTo>
                    <a:cubicBezTo>
                      <a:pt x="1919017" y="2689"/>
                      <a:pt x="1934557" y="22008"/>
                      <a:pt x="1954716" y="33348"/>
                    </a:cubicBezTo>
                    <a:cubicBezTo>
                      <a:pt x="1966895" y="40067"/>
                      <a:pt x="1974455" y="46787"/>
                      <a:pt x="1984955" y="33767"/>
                    </a:cubicBezTo>
                    <a:cubicBezTo>
                      <a:pt x="1991254" y="26208"/>
                      <a:pt x="1997974" y="28308"/>
                      <a:pt x="2007214" y="30408"/>
                    </a:cubicBezTo>
                    <a:cubicBezTo>
                      <a:pt x="2039132" y="37127"/>
                      <a:pt x="2072731" y="36707"/>
                      <a:pt x="2103810" y="45527"/>
                    </a:cubicBezTo>
                    <a:cubicBezTo>
                      <a:pt x="2165967" y="64006"/>
                      <a:pt x="2227704" y="85005"/>
                      <a:pt x="2288182" y="108944"/>
                    </a:cubicBezTo>
                    <a:cubicBezTo>
                      <a:pt x="2328080" y="124484"/>
                      <a:pt x="2368818" y="142123"/>
                      <a:pt x="2401997" y="168162"/>
                    </a:cubicBezTo>
                    <a:cubicBezTo>
                      <a:pt x="2452815" y="207220"/>
                      <a:pt x="2498173" y="253418"/>
                      <a:pt x="2543951" y="298776"/>
                    </a:cubicBezTo>
                    <a:cubicBezTo>
                      <a:pt x="2575869" y="330275"/>
                      <a:pt x="2605268" y="365133"/>
                      <a:pt x="2635087" y="398732"/>
                    </a:cubicBezTo>
                    <a:cubicBezTo>
                      <a:pt x="2720343" y="494908"/>
                      <a:pt x="2794260" y="597803"/>
                      <a:pt x="2843398" y="718338"/>
                    </a:cubicBezTo>
                    <a:cubicBezTo>
                      <a:pt x="2869017" y="780495"/>
                      <a:pt x="2895055" y="841813"/>
                      <a:pt x="2913115" y="906910"/>
                    </a:cubicBezTo>
                    <a:cubicBezTo>
                      <a:pt x="2916895" y="919929"/>
                      <a:pt x="2922774" y="932529"/>
                      <a:pt x="2929074" y="944708"/>
                    </a:cubicBezTo>
                    <a:cubicBezTo>
                      <a:pt x="2964352" y="1014005"/>
                      <a:pt x="2987032" y="1087502"/>
                      <a:pt x="3007611" y="1161839"/>
                    </a:cubicBezTo>
                    <a:cubicBezTo>
                      <a:pt x="3010970" y="1173178"/>
                      <a:pt x="3013491" y="1184938"/>
                      <a:pt x="3017690" y="1195858"/>
                    </a:cubicBezTo>
                    <a:cubicBezTo>
                      <a:pt x="3038269" y="1245836"/>
                      <a:pt x="3049189" y="1297913"/>
                      <a:pt x="3049609" y="1352091"/>
                    </a:cubicBezTo>
                    <a:cubicBezTo>
                      <a:pt x="3049609" y="1372670"/>
                      <a:pt x="3048349" y="1393249"/>
                      <a:pt x="3061789" y="1412148"/>
                    </a:cubicBezTo>
                    <a:cubicBezTo>
                      <a:pt x="3067248" y="1419708"/>
                      <a:pt x="3068088" y="1431467"/>
                      <a:pt x="3068928" y="1441547"/>
                    </a:cubicBezTo>
                    <a:cubicBezTo>
                      <a:pt x="3075648" y="1525124"/>
                      <a:pt x="3070608" y="1608700"/>
                      <a:pt x="3058429" y="1691016"/>
                    </a:cubicBezTo>
                    <a:cubicBezTo>
                      <a:pt x="3052549" y="1730915"/>
                      <a:pt x="3051709" y="1769973"/>
                      <a:pt x="3047929" y="1809451"/>
                    </a:cubicBezTo>
                    <a:cubicBezTo>
                      <a:pt x="3046249" y="1830030"/>
                      <a:pt x="3042889" y="1850610"/>
                      <a:pt x="3038269" y="1870348"/>
                    </a:cubicBezTo>
                    <a:cubicBezTo>
                      <a:pt x="3021050" y="1943425"/>
                      <a:pt x="3003411" y="2016502"/>
                      <a:pt x="2985352" y="2089579"/>
                    </a:cubicBezTo>
                    <a:cubicBezTo>
                      <a:pt x="2982412" y="2101339"/>
                      <a:pt x="2976532" y="2112258"/>
                      <a:pt x="2972752" y="2123598"/>
                    </a:cubicBezTo>
                    <a:cubicBezTo>
                      <a:pt x="2964772" y="2147957"/>
                      <a:pt x="2953433" y="2171056"/>
                      <a:pt x="2953853" y="2197934"/>
                    </a:cubicBezTo>
                    <a:cubicBezTo>
                      <a:pt x="2953853" y="2210954"/>
                      <a:pt x="2948393" y="2224813"/>
                      <a:pt x="2942933" y="2236993"/>
                    </a:cubicBezTo>
                    <a:cubicBezTo>
                      <a:pt x="2931594" y="2263872"/>
                      <a:pt x="2918154" y="2289911"/>
                      <a:pt x="2906395" y="2316790"/>
                    </a:cubicBezTo>
                    <a:cubicBezTo>
                      <a:pt x="2903455" y="2323089"/>
                      <a:pt x="2900515" y="2330229"/>
                      <a:pt x="2901355" y="2336528"/>
                    </a:cubicBezTo>
                    <a:cubicBezTo>
                      <a:pt x="2908915" y="2379787"/>
                      <a:pt x="2884976" y="2412965"/>
                      <a:pt x="2866917" y="2448244"/>
                    </a:cubicBezTo>
                    <a:cubicBezTo>
                      <a:pt x="2853057" y="2475543"/>
                      <a:pt x="2840458" y="2504101"/>
                      <a:pt x="2826178" y="2531400"/>
                    </a:cubicBezTo>
                    <a:cubicBezTo>
                      <a:pt x="2801400" y="2578858"/>
                      <a:pt x="2777880" y="2627576"/>
                      <a:pt x="2737142" y="2664535"/>
                    </a:cubicBezTo>
                    <a:cubicBezTo>
                      <a:pt x="2724543" y="2675874"/>
                      <a:pt x="2709004" y="2690993"/>
                      <a:pt x="2694304" y="2691413"/>
                    </a:cubicBezTo>
                    <a:cubicBezTo>
                      <a:pt x="2671205" y="2692673"/>
                      <a:pt x="2662385" y="2704013"/>
                      <a:pt x="2650206" y="2719552"/>
                    </a:cubicBezTo>
                    <a:cubicBezTo>
                      <a:pt x="2622907" y="2755671"/>
                      <a:pt x="2588469" y="2782969"/>
                      <a:pt x="2547311" y="2804388"/>
                    </a:cubicBezTo>
                    <a:cubicBezTo>
                      <a:pt x="2512452" y="2822448"/>
                      <a:pt x="2480114" y="2846387"/>
                      <a:pt x="2447775" y="2869066"/>
                    </a:cubicBezTo>
                    <a:cubicBezTo>
                      <a:pt x="2363778" y="2929123"/>
                      <a:pt x="2281042" y="2992120"/>
                      <a:pt x="2178566" y="3018579"/>
                    </a:cubicBezTo>
                    <a:cubicBezTo>
                      <a:pt x="2153787" y="3024879"/>
                      <a:pt x="2128588" y="3029499"/>
                      <a:pt x="2103389" y="3034539"/>
                    </a:cubicBezTo>
                    <a:cubicBezTo>
                      <a:pt x="2029473" y="3049658"/>
                      <a:pt x="1956816" y="3071917"/>
                      <a:pt x="1879959" y="3071497"/>
                    </a:cubicBezTo>
                    <a:cubicBezTo>
                      <a:pt x="1873239" y="3071497"/>
                      <a:pt x="1864840" y="3070657"/>
                      <a:pt x="1859380" y="3073597"/>
                    </a:cubicBezTo>
                    <a:cubicBezTo>
                      <a:pt x="1814442" y="3100056"/>
                      <a:pt x="1762364" y="3086196"/>
                      <a:pt x="1706087" y="3094176"/>
                    </a:cubicBezTo>
                    <a:close/>
                    <a:moveTo>
                      <a:pt x="2809379" y="2464203"/>
                    </a:moveTo>
                    <a:cubicBezTo>
                      <a:pt x="2798879" y="2467563"/>
                      <a:pt x="2787960" y="2470923"/>
                      <a:pt x="2777460" y="2474283"/>
                    </a:cubicBezTo>
                    <a:cubicBezTo>
                      <a:pt x="2781240" y="2459583"/>
                      <a:pt x="2784180" y="2444464"/>
                      <a:pt x="2790060" y="2430185"/>
                    </a:cubicBezTo>
                    <a:cubicBezTo>
                      <a:pt x="2791740" y="2425985"/>
                      <a:pt x="2803500" y="2420525"/>
                      <a:pt x="2806019" y="2422205"/>
                    </a:cubicBezTo>
                    <a:cubicBezTo>
                      <a:pt x="2830799" y="2440264"/>
                      <a:pt x="2839198" y="2419265"/>
                      <a:pt x="2848857" y="2404566"/>
                    </a:cubicBezTo>
                    <a:cubicBezTo>
                      <a:pt x="2856417" y="2393226"/>
                      <a:pt x="2847598" y="2378947"/>
                      <a:pt x="2834158" y="2378947"/>
                    </a:cubicBezTo>
                    <a:cubicBezTo>
                      <a:pt x="2827438" y="2378947"/>
                      <a:pt x="2820299" y="2380207"/>
                      <a:pt x="2813999" y="2382307"/>
                    </a:cubicBezTo>
                    <a:cubicBezTo>
                      <a:pt x="2760241" y="2397846"/>
                      <a:pt x="2723703" y="2438164"/>
                      <a:pt x="2682545" y="2472183"/>
                    </a:cubicBezTo>
                    <a:cubicBezTo>
                      <a:pt x="2677085" y="2476803"/>
                      <a:pt x="2674145" y="2487302"/>
                      <a:pt x="2673725" y="2495282"/>
                    </a:cubicBezTo>
                    <a:cubicBezTo>
                      <a:pt x="2672885" y="2537280"/>
                      <a:pt x="2672465" y="2578858"/>
                      <a:pt x="2672885" y="2620856"/>
                    </a:cubicBezTo>
                    <a:cubicBezTo>
                      <a:pt x="2673305" y="2640596"/>
                      <a:pt x="2689264" y="2649415"/>
                      <a:pt x="2703544" y="2636396"/>
                    </a:cubicBezTo>
                    <a:cubicBezTo>
                      <a:pt x="2725383" y="2616656"/>
                      <a:pt x="2748062" y="2596078"/>
                      <a:pt x="2764021" y="2571718"/>
                    </a:cubicBezTo>
                    <a:cubicBezTo>
                      <a:pt x="2776621" y="2552819"/>
                      <a:pt x="2793420" y="2531820"/>
                      <a:pt x="2787540" y="2504941"/>
                    </a:cubicBezTo>
                    <a:cubicBezTo>
                      <a:pt x="2810219" y="2498642"/>
                      <a:pt x="2808539" y="2480582"/>
                      <a:pt x="2808539" y="2462943"/>
                    </a:cubicBezTo>
                    <a:cubicBezTo>
                      <a:pt x="2810219" y="2460423"/>
                      <a:pt x="2811899" y="2457903"/>
                      <a:pt x="2813579" y="2455803"/>
                    </a:cubicBezTo>
                    <a:cubicBezTo>
                      <a:pt x="2812319" y="2458743"/>
                      <a:pt x="2810639" y="2461263"/>
                      <a:pt x="2809379" y="2464203"/>
                    </a:cubicBezTo>
                    <a:close/>
                    <a:moveTo>
                      <a:pt x="2024013" y="2326869"/>
                    </a:moveTo>
                    <a:cubicBezTo>
                      <a:pt x="2030733" y="2346608"/>
                      <a:pt x="2048372" y="2352908"/>
                      <a:pt x="2066011" y="2357528"/>
                    </a:cubicBezTo>
                    <a:cubicBezTo>
                      <a:pt x="2070211" y="2358788"/>
                      <a:pt x="2076511" y="2351228"/>
                      <a:pt x="2081970" y="2347868"/>
                    </a:cubicBezTo>
                    <a:cubicBezTo>
                      <a:pt x="2078611" y="2344088"/>
                      <a:pt x="2075671" y="2338209"/>
                      <a:pt x="2071471" y="2337369"/>
                    </a:cubicBezTo>
                    <a:cubicBezTo>
                      <a:pt x="2055512" y="2333589"/>
                      <a:pt x="2039132" y="2331069"/>
                      <a:pt x="2022753" y="2328549"/>
                    </a:cubicBezTo>
                    <a:cubicBezTo>
                      <a:pt x="1994614" y="2313850"/>
                      <a:pt x="1966056" y="2299990"/>
                      <a:pt x="1938337" y="2284451"/>
                    </a:cubicBezTo>
                    <a:cubicBezTo>
                      <a:pt x="1916497" y="2272271"/>
                      <a:pt x="1899278" y="2271011"/>
                      <a:pt x="1887099" y="2297050"/>
                    </a:cubicBezTo>
                    <a:cubicBezTo>
                      <a:pt x="1884999" y="2301250"/>
                      <a:pt x="1875339" y="2305030"/>
                      <a:pt x="1871139" y="2303770"/>
                    </a:cubicBezTo>
                    <a:cubicBezTo>
                      <a:pt x="1866520" y="2302090"/>
                      <a:pt x="1859800" y="2291591"/>
                      <a:pt x="1861060" y="2289491"/>
                    </a:cubicBezTo>
                    <a:cubicBezTo>
                      <a:pt x="1872399" y="2272271"/>
                      <a:pt x="1860640" y="2264712"/>
                      <a:pt x="1849300" y="2255892"/>
                    </a:cubicBezTo>
                    <a:cubicBezTo>
                      <a:pt x="1840481" y="2248752"/>
                      <a:pt x="1827881" y="2240773"/>
                      <a:pt x="1826201" y="2231113"/>
                    </a:cubicBezTo>
                    <a:cubicBezTo>
                      <a:pt x="1817382" y="2185335"/>
                      <a:pt x="1809402" y="2139557"/>
                      <a:pt x="1813182" y="2092099"/>
                    </a:cubicBezTo>
                    <a:cubicBezTo>
                      <a:pt x="1815282" y="2068160"/>
                      <a:pt x="1822842" y="2045901"/>
                      <a:pt x="1842161" y="2033722"/>
                    </a:cubicBezTo>
                    <a:cubicBezTo>
                      <a:pt x="1878279" y="2011042"/>
                      <a:pt x="1912298" y="1985424"/>
                      <a:pt x="1953876" y="1971144"/>
                    </a:cubicBezTo>
                    <a:cubicBezTo>
                      <a:pt x="2014773" y="1949725"/>
                      <a:pt x="2034932" y="1919907"/>
                      <a:pt x="2018553" y="1856909"/>
                    </a:cubicBezTo>
                    <a:cubicBezTo>
                      <a:pt x="2014773" y="1841790"/>
                      <a:pt x="2010993" y="1825830"/>
                      <a:pt x="2002594" y="1813231"/>
                    </a:cubicBezTo>
                    <a:cubicBezTo>
                      <a:pt x="1984115" y="1785512"/>
                      <a:pt x="1979915" y="1756114"/>
                      <a:pt x="1981595" y="1724195"/>
                    </a:cubicBezTo>
                    <a:cubicBezTo>
                      <a:pt x="1982015" y="1711175"/>
                      <a:pt x="1979075" y="1696056"/>
                      <a:pt x="1972355" y="1685556"/>
                    </a:cubicBezTo>
                    <a:cubicBezTo>
                      <a:pt x="1952196" y="1655318"/>
                      <a:pt x="1929517" y="1627179"/>
                      <a:pt x="1907678" y="1598200"/>
                    </a:cubicBezTo>
                    <a:cubicBezTo>
                      <a:pt x="1894659" y="1580981"/>
                      <a:pt x="1885419" y="1562502"/>
                      <a:pt x="1887939" y="1540663"/>
                    </a:cubicBezTo>
                    <a:cubicBezTo>
                      <a:pt x="1893819" y="1485645"/>
                      <a:pt x="1911458" y="1437767"/>
                      <a:pt x="1966895" y="1412988"/>
                    </a:cubicBezTo>
                    <a:cubicBezTo>
                      <a:pt x="1974875" y="1409628"/>
                      <a:pt x="1980335" y="1401649"/>
                      <a:pt x="1988315" y="1398289"/>
                    </a:cubicBezTo>
                    <a:cubicBezTo>
                      <a:pt x="2005534" y="1390729"/>
                      <a:pt x="2006374" y="1378970"/>
                      <a:pt x="1998394" y="1364690"/>
                    </a:cubicBezTo>
                    <a:cubicBezTo>
                      <a:pt x="1992514" y="1354191"/>
                      <a:pt x="1987055" y="1343271"/>
                      <a:pt x="1979495" y="1334032"/>
                    </a:cubicBezTo>
                    <a:cubicBezTo>
                      <a:pt x="1965635" y="1317652"/>
                      <a:pt x="1959756" y="1319332"/>
                      <a:pt x="1946736" y="1339491"/>
                    </a:cubicBezTo>
                    <a:cubicBezTo>
                      <a:pt x="1940017" y="1349991"/>
                      <a:pt x="1939596" y="1369310"/>
                      <a:pt x="1919017" y="1363850"/>
                    </a:cubicBezTo>
                    <a:cubicBezTo>
                      <a:pt x="1906418" y="1360491"/>
                      <a:pt x="1905578" y="1349991"/>
                      <a:pt x="1918597" y="1324792"/>
                    </a:cubicBezTo>
                    <a:cubicBezTo>
                      <a:pt x="1925317" y="1311772"/>
                      <a:pt x="1930777" y="1302113"/>
                      <a:pt x="1914818" y="1291194"/>
                    </a:cubicBezTo>
                    <a:cubicBezTo>
                      <a:pt x="1896338" y="1278174"/>
                      <a:pt x="1897178" y="1262215"/>
                      <a:pt x="1907258" y="1241216"/>
                    </a:cubicBezTo>
                    <a:cubicBezTo>
                      <a:pt x="1921537" y="1211397"/>
                      <a:pt x="1938757" y="1188298"/>
                      <a:pt x="1971935" y="1179478"/>
                    </a:cubicBezTo>
                    <a:cubicBezTo>
                      <a:pt x="1980335" y="1177378"/>
                      <a:pt x="1987894" y="1173178"/>
                      <a:pt x="1995454" y="1168979"/>
                    </a:cubicBezTo>
                    <a:cubicBezTo>
                      <a:pt x="2015193" y="1158479"/>
                      <a:pt x="2021073" y="1145880"/>
                      <a:pt x="2010993" y="1127401"/>
                    </a:cubicBezTo>
                    <a:cubicBezTo>
                      <a:pt x="2000914" y="1109341"/>
                      <a:pt x="1988315" y="1092542"/>
                      <a:pt x="1974035" y="1077423"/>
                    </a:cubicBezTo>
                    <a:cubicBezTo>
                      <a:pt x="1930777" y="1030385"/>
                      <a:pt x="1930357" y="979147"/>
                      <a:pt x="1958076" y="930009"/>
                    </a:cubicBezTo>
                    <a:cubicBezTo>
                      <a:pt x="1974875" y="900610"/>
                      <a:pt x="1995874" y="877931"/>
                      <a:pt x="2024853" y="860712"/>
                    </a:cubicBezTo>
                    <a:cubicBezTo>
                      <a:pt x="2037872" y="853152"/>
                      <a:pt x="2040392" y="835933"/>
                      <a:pt x="2029053" y="831313"/>
                    </a:cubicBezTo>
                    <a:cubicBezTo>
                      <a:pt x="2003014" y="820814"/>
                      <a:pt x="1991254" y="789315"/>
                      <a:pt x="1960596" y="787215"/>
                    </a:cubicBezTo>
                    <a:lnTo>
                      <a:pt x="1961856" y="788475"/>
                    </a:lnTo>
                    <a:cubicBezTo>
                      <a:pt x="1960176" y="778395"/>
                      <a:pt x="1958916" y="767896"/>
                      <a:pt x="1955976" y="758236"/>
                    </a:cubicBezTo>
                    <a:cubicBezTo>
                      <a:pt x="1942116" y="709518"/>
                      <a:pt x="1946736" y="666260"/>
                      <a:pt x="1986634" y="630142"/>
                    </a:cubicBezTo>
                    <a:cubicBezTo>
                      <a:pt x="2009733" y="609143"/>
                      <a:pt x="2032413" y="586884"/>
                      <a:pt x="2053412" y="563785"/>
                    </a:cubicBezTo>
                    <a:cubicBezTo>
                      <a:pt x="2063491" y="552865"/>
                      <a:pt x="2071471" y="539006"/>
                      <a:pt x="2076931" y="525146"/>
                    </a:cubicBezTo>
                    <a:cubicBezTo>
                      <a:pt x="2090790" y="490288"/>
                      <a:pt x="2082390" y="474748"/>
                      <a:pt x="2047532" y="464249"/>
                    </a:cubicBezTo>
                    <a:cubicBezTo>
                      <a:pt x="2031153" y="459629"/>
                      <a:pt x="2013513" y="457949"/>
                      <a:pt x="1997554" y="452069"/>
                    </a:cubicBezTo>
                    <a:cubicBezTo>
                      <a:pt x="1930777" y="427291"/>
                      <a:pt x="1908098" y="385292"/>
                      <a:pt x="1922797" y="318095"/>
                    </a:cubicBezTo>
                    <a:cubicBezTo>
                      <a:pt x="1924897" y="308016"/>
                      <a:pt x="1929517" y="297096"/>
                      <a:pt x="1926997" y="287857"/>
                    </a:cubicBezTo>
                    <a:cubicBezTo>
                      <a:pt x="1915658" y="243339"/>
                      <a:pt x="1926577" y="203440"/>
                      <a:pt x="1948416" y="165222"/>
                    </a:cubicBezTo>
                    <a:cubicBezTo>
                      <a:pt x="1964795" y="136663"/>
                      <a:pt x="1955556" y="112724"/>
                      <a:pt x="1937497" y="89625"/>
                    </a:cubicBezTo>
                    <a:cubicBezTo>
                      <a:pt x="1924057" y="72826"/>
                      <a:pt x="1919017" y="73666"/>
                      <a:pt x="1903898" y="92565"/>
                    </a:cubicBezTo>
                    <a:cubicBezTo>
                      <a:pt x="1899698" y="98025"/>
                      <a:pt x="1895498" y="103904"/>
                      <a:pt x="1890879" y="108944"/>
                    </a:cubicBezTo>
                    <a:cubicBezTo>
                      <a:pt x="1879539" y="120704"/>
                      <a:pt x="1870299" y="118184"/>
                      <a:pt x="1864840" y="101385"/>
                    </a:cubicBezTo>
                    <a:cubicBezTo>
                      <a:pt x="1862740" y="94665"/>
                      <a:pt x="1865260" y="86265"/>
                      <a:pt x="1865260" y="78706"/>
                    </a:cubicBezTo>
                    <a:cubicBezTo>
                      <a:pt x="1865260" y="66946"/>
                      <a:pt x="1853920" y="58546"/>
                      <a:pt x="1845101" y="65266"/>
                    </a:cubicBezTo>
                    <a:cubicBezTo>
                      <a:pt x="1835861" y="71986"/>
                      <a:pt x="1829981" y="82485"/>
                      <a:pt x="1822002" y="90885"/>
                    </a:cubicBezTo>
                    <a:cubicBezTo>
                      <a:pt x="1814862" y="98445"/>
                      <a:pt x="1795123" y="97185"/>
                      <a:pt x="1795543" y="89205"/>
                    </a:cubicBezTo>
                    <a:cubicBezTo>
                      <a:pt x="1797643" y="48467"/>
                      <a:pt x="1773284" y="58546"/>
                      <a:pt x="1750185" y="63166"/>
                    </a:cubicBezTo>
                    <a:cubicBezTo>
                      <a:pt x="1743465" y="64426"/>
                      <a:pt x="1736325" y="64846"/>
                      <a:pt x="1729186" y="64426"/>
                    </a:cubicBezTo>
                    <a:cubicBezTo>
                      <a:pt x="1707767" y="62746"/>
                      <a:pt x="1691387" y="68206"/>
                      <a:pt x="1686347" y="92145"/>
                    </a:cubicBezTo>
                    <a:cubicBezTo>
                      <a:pt x="1685507" y="95505"/>
                      <a:pt x="1683407" y="98445"/>
                      <a:pt x="1680888" y="100965"/>
                    </a:cubicBezTo>
                    <a:cubicBezTo>
                      <a:pt x="1675428" y="106424"/>
                      <a:pt x="1668288" y="116924"/>
                      <a:pt x="1664088" y="116084"/>
                    </a:cubicBezTo>
                    <a:cubicBezTo>
                      <a:pt x="1654429" y="113984"/>
                      <a:pt x="1646029" y="106844"/>
                      <a:pt x="1654009" y="93405"/>
                    </a:cubicBezTo>
                    <a:cubicBezTo>
                      <a:pt x="1659049" y="85005"/>
                      <a:pt x="1657369" y="74926"/>
                      <a:pt x="1645189" y="74926"/>
                    </a:cubicBezTo>
                    <a:cubicBezTo>
                      <a:pt x="1617890" y="74926"/>
                      <a:pt x="1588912" y="68626"/>
                      <a:pt x="1567912" y="95085"/>
                    </a:cubicBezTo>
                    <a:cubicBezTo>
                      <a:pt x="1563713" y="100545"/>
                      <a:pt x="1550693" y="106844"/>
                      <a:pt x="1546913" y="104324"/>
                    </a:cubicBezTo>
                    <a:cubicBezTo>
                      <a:pt x="1518775" y="87105"/>
                      <a:pt x="1488536" y="95925"/>
                      <a:pt x="1459977" y="97185"/>
                    </a:cubicBezTo>
                    <a:cubicBezTo>
                      <a:pt x="1423439" y="98445"/>
                      <a:pt x="1382281" y="96765"/>
                      <a:pt x="1365061" y="142543"/>
                    </a:cubicBezTo>
                    <a:cubicBezTo>
                      <a:pt x="1363801" y="145483"/>
                      <a:pt x="1355822" y="148423"/>
                      <a:pt x="1352042" y="147163"/>
                    </a:cubicBezTo>
                    <a:cubicBezTo>
                      <a:pt x="1348262" y="146323"/>
                      <a:pt x="1344482" y="140863"/>
                      <a:pt x="1343222" y="137083"/>
                    </a:cubicBezTo>
                    <a:cubicBezTo>
                      <a:pt x="1339862" y="127843"/>
                      <a:pt x="1341122" y="113564"/>
                      <a:pt x="1335243" y="109364"/>
                    </a:cubicBezTo>
                    <a:cubicBezTo>
                      <a:pt x="1328103" y="104324"/>
                      <a:pt x="1315084" y="108944"/>
                      <a:pt x="1304584" y="107264"/>
                    </a:cubicBezTo>
                    <a:cubicBezTo>
                      <a:pt x="1286105" y="103904"/>
                      <a:pt x="1268885" y="118184"/>
                      <a:pt x="1249146" y="109784"/>
                    </a:cubicBezTo>
                    <a:cubicBezTo>
                      <a:pt x="1239067" y="105584"/>
                      <a:pt x="1234027" y="116504"/>
                      <a:pt x="1241587" y="125324"/>
                    </a:cubicBezTo>
                    <a:cubicBezTo>
                      <a:pt x="1257126" y="143803"/>
                      <a:pt x="1244106" y="158502"/>
                      <a:pt x="1235707" y="172361"/>
                    </a:cubicBezTo>
                    <a:cubicBezTo>
                      <a:pt x="1227727" y="184961"/>
                      <a:pt x="1215548" y="183701"/>
                      <a:pt x="1204628" y="174461"/>
                    </a:cubicBezTo>
                    <a:cubicBezTo>
                      <a:pt x="1194969" y="166482"/>
                      <a:pt x="1199168" y="160602"/>
                      <a:pt x="1205888" y="153042"/>
                    </a:cubicBezTo>
                    <a:cubicBezTo>
                      <a:pt x="1210088" y="148003"/>
                      <a:pt x="1214288" y="141703"/>
                      <a:pt x="1215968" y="135403"/>
                    </a:cubicBezTo>
                    <a:cubicBezTo>
                      <a:pt x="1217228" y="131203"/>
                      <a:pt x="1215548" y="124484"/>
                      <a:pt x="1212188" y="121544"/>
                    </a:cubicBezTo>
                    <a:cubicBezTo>
                      <a:pt x="1209668" y="119024"/>
                      <a:pt x="1200848" y="119024"/>
                      <a:pt x="1198748" y="121544"/>
                    </a:cubicBezTo>
                    <a:cubicBezTo>
                      <a:pt x="1186989" y="136243"/>
                      <a:pt x="1176909" y="152202"/>
                      <a:pt x="1165150" y="166902"/>
                    </a:cubicBezTo>
                    <a:cubicBezTo>
                      <a:pt x="1160530" y="172781"/>
                      <a:pt x="1152130" y="179501"/>
                      <a:pt x="1146251" y="179081"/>
                    </a:cubicBezTo>
                    <a:cubicBezTo>
                      <a:pt x="1141211" y="178241"/>
                      <a:pt x="1136591" y="168162"/>
                      <a:pt x="1132811" y="161862"/>
                    </a:cubicBezTo>
                    <a:cubicBezTo>
                      <a:pt x="1131131" y="159342"/>
                      <a:pt x="1133651" y="154722"/>
                      <a:pt x="1132811" y="151782"/>
                    </a:cubicBezTo>
                    <a:cubicBezTo>
                      <a:pt x="1131551" y="147583"/>
                      <a:pt x="1127352" y="140023"/>
                      <a:pt x="1126512" y="140023"/>
                    </a:cubicBezTo>
                    <a:cubicBezTo>
                      <a:pt x="1120212" y="141703"/>
                      <a:pt x="1111392" y="143803"/>
                      <a:pt x="1109292" y="148423"/>
                    </a:cubicBezTo>
                    <a:cubicBezTo>
                      <a:pt x="1103832" y="160602"/>
                      <a:pt x="1102572" y="174881"/>
                      <a:pt x="1097113" y="187481"/>
                    </a:cubicBezTo>
                    <a:cubicBezTo>
                      <a:pt x="1095433" y="192101"/>
                      <a:pt x="1087453" y="195880"/>
                      <a:pt x="1081994" y="195880"/>
                    </a:cubicBezTo>
                    <a:cubicBezTo>
                      <a:pt x="1078633" y="196300"/>
                      <a:pt x="1073174" y="189581"/>
                      <a:pt x="1071914" y="184961"/>
                    </a:cubicBezTo>
                    <a:cubicBezTo>
                      <a:pt x="1067294" y="167322"/>
                      <a:pt x="1057634" y="162282"/>
                      <a:pt x="1039575" y="168582"/>
                    </a:cubicBezTo>
                    <a:cubicBezTo>
                      <a:pt x="1034955" y="170262"/>
                      <a:pt x="1029076" y="169422"/>
                      <a:pt x="1024036" y="171102"/>
                    </a:cubicBezTo>
                    <a:cubicBezTo>
                      <a:pt x="987917" y="183281"/>
                      <a:pt x="951799" y="194621"/>
                      <a:pt x="940460" y="239139"/>
                    </a:cubicBezTo>
                    <a:cubicBezTo>
                      <a:pt x="936260" y="255098"/>
                      <a:pt x="923240" y="254678"/>
                      <a:pt x="911481" y="238299"/>
                    </a:cubicBezTo>
                    <a:cubicBezTo>
                      <a:pt x="901821" y="224859"/>
                      <a:pt x="894681" y="220240"/>
                      <a:pt x="877882" y="230739"/>
                    </a:cubicBezTo>
                    <a:cubicBezTo>
                      <a:pt x="854783" y="245438"/>
                      <a:pt x="828744" y="255518"/>
                      <a:pt x="803545" y="266018"/>
                    </a:cubicBezTo>
                    <a:cubicBezTo>
                      <a:pt x="777507" y="276937"/>
                      <a:pt x="756507" y="289956"/>
                      <a:pt x="767007" y="323555"/>
                    </a:cubicBezTo>
                    <a:cubicBezTo>
                      <a:pt x="768267" y="328175"/>
                      <a:pt x="766587" y="334055"/>
                      <a:pt x="764907" y="339094"/>
                    </a:cubicBezTo>
                    <a:cubicBezTo>
                      <a:pt x="760707" y="353794"/>
                      <a:pt x="743908" y="363453"/>
                      <a:pt x="732568" y="356734"/>
                    </a:cubicBezTo>
                    <a:cubicBezTo>
                      <a:pt x="718709" y="348334"/>
                      <a:pt x="728369" y="339514"/>
                      <a:pt x="733408" y="330695"/>
                    </a:cubicBezTo>
                    <a:cubicBezTo>
                      <a:pt x="735088" y="327755"/>
                      <a:pt x="735508" y="323975"/>
                      <a:pt x="735508" y="320615"/>
                    </a:cubicBezTo>
                    <a:cubicBezTo>
                      <a:pt x="735508" y="317255"/>
                      <a:pt x="734248" y="313475"/>
                      <a:pt x="732148" y="311376"/>
                    </a:cubicBezTo>
                    <a:cubicBezTo>
                      <a:pt x="730888" y="310116"/>
                      <a:pt x="726269" y="310536"/>
                      <a:pt x="724169" y="311796"/>
                    </a:cubicBezTo>
                    <a:cubicBezTo>
                      <a:pt x="688470" y="336154"/>
                      <a:pt x="650252" y="357994"/>
                      <a:pt x="617913" y="386552"/>
                    </a:cubicBezTo>
                    <a:cubicBezTo>
                      <a:pt x="557856" y="439470"/>
                      <a:pt x="501578" y="496168"/>
                      <a:pt x="443201" y="551185"/>
                    </a:cubicBezTo>
                    <a:cubicBezTo>
                      <a:pt x="433121" y="560845"/>
                      <a:pt x="432281" y="568405"/>
                      <a:pt x="436061" y="582684"/>
                    </a:cubicBezTo>
                    <a:cubicBezTo>
                      <a:pt x="441941" y="604103"/>
                      <a:pt x="422622" y="620062"/>
                      <a:pt x="398683" y="621322"/>
                    </a:cubicBezTo>
                    <a:cubicBezTo>
                      <a:pt x="391963" y="621742"/>
                      <a:pt x="382724" y="626782"/>
                      <a:pt x="378944" y="632662"/>
                    </a:cubicBezTo>
                    <a:cubicBezTo>
                      <a:pt x="361724" y="660801"/>
                      <a:pt x="344925" y="688939"/>
                      <a:pt x="329806" y="718338"/>
                    </a:cubicBezTo>
                    <a:cubicBezTo>
                      <a:pt x="315526" y="745637"/>
                      <a:pt x="299147" y="772516"/>
                      <a:pt x="305867" y="806534"/>
                    </a:cubicBezTo>
                    <a:cubicBezTo>
                      <a:pt x="309227" y="824174"/>
                      <a:pt x="295787" y="834673"/>
                      <a:pt x="285288" y="846853"/>
                    </a:cubicBezTo>
                    <a:cubicBezTo>
                      <a:pt x="273108" y="861132"/>
                      <a:pt x="259669" y="874991"/>
                      <a:pt x="250429" y="891371"/>
                    </a:cubicBezTo>
                    <a:cubicBezTo>
                      <a:pt x="228590" y="930429"/>
                      <a:pt x="209271" y="970747"/>
                      <a:pt x="189112" y="1010646"/>
                    </a:cubicBezTo>
                    <a:cubicBezTo>
                      <a:pt x="147114" y="1093382"/>
                      <a:pt x="123175" y="1184098"/>
                      <a:pt x="77397" y="1265574"/>
                    </a:cubicBezTo>
                    <a:cubicBezTo>
                      <a:pt x="66057" y="1286154"/>
                      <a:pt x="57237" y="1310093"/>
                      <a:pt x="54717" y="1333192"/>
                    </a:cubicBezTo>
                    <a:cubicBezTo>
                      <a:pt x="46738" y="1404169"/>
                      <a:pt x="32878" y="1474726"/>
                      <a:pt x="36238" y="1546962"/>
                    </a:cubicBezTo>
                    <a:cubicBezTo>
                      <a:pt x="37078" y="1563762"/>
                      <a:pt x="44638" y="1581401"/>
                      <a:pt x="42538" y="1597780"/>
                    </a:cubicBezTo>
                    <a:cubicBezTo>
                      <a:pt x="32038" y="1685556"/>
                      <a:pt x="75717" y="1768293"/>
                      <a:pt x="64797" y="1855649"/>
                    </a:cubicBezTo>
                    <a:cubicBezTo>
                      <a:pt x="78236" y="1880008"/>
                      <a:pt x="71517" y="1906467"/>
                      <a:pt x="75297" y="1932086"/>
                    </a:cubicBezTo>
                    <a:cubicBezTo>
                      <a:pt x="79916" y="1964005"/>
                      <a:pt x="86216" y="1996343"/>
                      <a:pt x="96296" y="2027002"/>
                    </a:cubicBezTo>
                    <a:cubicBezTo>
                      <a:pt x="106375" y="2056401"/>
                      <a:pt x="117295" y="2084539"/>
                      <a:pt x="117715" y="2116878"/>
                    </a:cubicBezTo>
                    <a:cubicBezTo>
                      <a:pt x="118135" y="2155096"/>
                      <a:pt x="159293" y="2180715"/>
                      <a:pt x="190372" y="2158876"/>
                    </a:cubicBezTo>
                    <a:cubicBezTo>
                      <a:pt x="233210" y="2129058"/>
                      <a:pt x="283608" y="2106799"/>
                      <a:pt x="305027" y="2050521"/>
                    </a:cubicBezTo>
                    <a:cubicBezTo>
                      <a:pt x="324346" y="1999703"/>
                      <a:pt x="364244" y="1962325"/>
                      <a:pt x="406662" y="1928726"/>
                    </a:cubicBezTo>
                    <a:cubicBezTo>
                      <a:pt x="426822" y="1912767"/>
                      <a:pt x="446981" y="1895968"/>
                      <a:pt x="466300" y="1878748"/>
                    </a:cubicBezTo>
                    <a:cubicBezTo>
                      <a:pt x="481839" y="1864889"/>
                      <a:pt x="495279" y="1848510"/>
                      <a:pt x="511238" y="1835070"/>
                    </a:cubicBezTo>
                    <a:cubicBezTo>
                      <a:pt x="525937" y="1822471"/>
                      <a:pt x="543156" y="1813231"/>
                      <a:pt x="563736" y="1817011"/>
                    </a:cubicBezTo>
                    <a:cubicBezTo>
                      <a:pt x="595234" y="1822891"/>
                      <a:pt x="625053" y="1835490"/>
                      <a:pt x="644792" y="1859849"/>
                    </a:cubicBezTo>
                    <a:cubicBezTo>
                      <a:pt x="686370" y="1911087"/>
                      <a:pt x="724169" y="1964844"/>
                      <a:pt x="762807" y="2018602"/>
                    </a:cubicBezTo>
                    <a:cubicBezTo>
                      <a:pt x="772047" y="2031202"/>
                      <a:pt x="774987" y="2050101"/>
                      <a:pt x="786326" y="2058501"/>
                    </a:cubicBezTo>
                    <a:cubicBezTo>
                      <a:pt x="815305" y="2078660"/>
                      <a:pt x="822025" y="2109738"/>
                      <a:pt x="827484" y="2138717"/>
                    </a:cubicBezTo>
                    <a:cubicBezTo>
                      <a:pt x="838824" y="2197515"/>
                      <a:pt x="872842" y="2228173"/>
                      <a:pt x="930380" y="2237833"/>
                    </a:cubicBezTo>
                    <a:cubicBezTo>
                      <a:pt x="958519" y="2242453"/>
                      <a:pt x="963559" y="2240353"/>
                      <a:pt x="964818" y="2212634"/>
                    </a:cubicBezTo>
                    <a:cubicBezTo>
                      <a:pt x="965238" y="2203814"/>
                      <a:pt x="964818" y="2194995"/>
                      <a:pt x="964818" y="2186595"/>
                    </a:cubicBezTo>
                    <a:cubicBezTo>
                      <a:pt x="964399" y="2113938"/>
                      <a:pt x="982038" y="2047581"/>
                      <a:pt x="1025716" y="1987943"/>
                    </a:cubicBezTo>
                    <a:cubicBezTo>
                      <a:pt x="1040835" y="1967364"/>
                      <a:pt x="1049235" y="1942585"/>
                      <a:pt x="1060574" y="1919067"/>
                    </a:cubicBezTo>
                    <a:cubicBezTo>
                      <a:pt x="1079054" y="1880008"/>
                      <a:pt x="1107192" y="1849349"/>
                      <a:pt x="1143311" y="1827511"/>
                    </a:cubicBezTo>
                    <a:cubicBezTo>
                      <a:pt x="1198748" y="1793492"/>
                      <a:pt x="1209248" y="1796012"/>
                      <a:pt x="1252506" y="1845570"/>
                    </a:cubicBezTo>
                    <a:cubicBezTo>
                      <a:pt x="1254606" y="1848089"/>
                      <a:pt x="1257966" y="1850189"/>
                      <a:pt x="1259646" y="1853549"/>
                    </a:cubicBezTo>
                    <a:cubicBezTo>
                      <a:pt x="1278545" y="1894287"/>
                      <a:pt x="1317603" y="1908147"/>
                      <a:pt x="1354982" y="1919067"/>
                    </a:cubicBezTo>
                    <a:cubicBezTo>
                      <a:pt x="1401180" y="1932506"/>
                      <a:pt x="1448218" y="1942166"/>
                      <a:pt x="1487276" y="1972404"/>
                    </a:cubicBezTo>
                    <a:cubicBezTo>
                      <a:pt x="1494836" y="1978284"/>
                      <a:pt x="1506175" y="1980804"/>
                      <a:pt x="1516255" y="1982904"/>
                    </a:cubicBezTo>
                    <a:cubicBezTo>
                      <a:pt x="1591011" y="2000123"/>
                      <a:pt x="1650229" y="2045061"/>
                      <a:pt x="1707767" y="2092099"/>
                    </a:cubicBezTo>
                    <a:cubicBezTo>
                      <a:pt x="1720786" y="2102599"/>
                      <a:pt x="1731705" y="2118138"/>
                      <a:pt x="1738005" y="2133677"/>
                    </a:cubicBezTo>
                    <a:cubicBezTo>
                      <a:pt x="1749345" y="2162236"/>
                      <a:pt x="1764884" y="2184915"/>
                      <a:pt x="1793023" y="2199614"/>
                    </a:cubicBezTo>
                    <a:cubicBezTo>
                      <a:pt x="1802263" y="2204654"/>
                      <a:pt x="1814022" y="2219354"/>
                      <a:pt x="1812342" y="2226913"/>
                    </a:cubicBezTo>
                    <a:cubicBezTo>
                      <a:pt x="1804782" y="2260092"/>
                      <a:pt x="1829141" y="2280671"/>
                      <a:pt x="1840901" y="2305450"/>
                    </a:cubicBezTo>
                    <a:cubicBezTo>
                      <a:pt x="1849720" y="2323509"/>
                      <a:pt x="1884579" y="2336109"/>
                      <a:pt x="1893819" y="2326449"/>
                    </a:cubicBezTo>
                    <a:cubicBezTo>
                      <a:pt x="1910198" y="2310070"/>
                      <a:pt x="1919858" y="2318469"/>
                      <a:pt x="1936657" y="2325609"/>
                    </a:cubicBezTo>
                    <a:cubicBezTo>
                      <a:pt x="1958076" y="2334849"/>
                      <a:pt x="1982855" y="2334849"/>
                      <a:pt x="2006794" y="2337369"/>
                    </a:cubicBezTo>
                    <a:cubicBezTo>
                      <a:pt x="2011414" y="2336528"/>
                      <a:pt x="2017713" y="2329809"/>
                      <a:pt x="2024013" y="2326869"/>
                    </a:cubicBezTo>
                    <a:close/>
                    <a:moveTo>
                      <a:pt x="1679628" y="3043358"/>
                    </a:moveTo>
                    <a:cubicBezTo>
                      <a:pt x="1742205" y="3038739"/>
                      <a:pt x="1804782" y="3042938"/>
                      <a:pt x="1866520" y="3029499"/>
                    </a:cubicBezTo>
                    <a:cubicBezTo>
                      <a:pt x="1896758" y="3023199"/>
                      <a:pt x="1928677" y="3024879"/>
                      <a:pt x="1958496" y="3017740"/>
                    </a:cubicBezTo>
                    <a:cubicBezTo>
                      <a:pt x="2024853" y="3000940"/>
                      <a:pt x="2090370" y="2981621"/>
                      <a:pt x="2158827" y="2971961"/>
                    </a:cubicBezTo>
                    <a:cubicBezTo>
                      <a:pt x="2239464" y="2960622"/>
                      <a:pt x="2305401" y="2914424"/>
                      <a:pt x="2373018" y="2873685"/>
                    </a:cubicBezTo>
                    <a:cubicBezTo>
                      <a:pt x="2450294" y="2827487"/>
                      <a:pt x="2510772" y="2757350"/>
                      <a:pt x="2595188" y="2721232"/>
                    </a:cubicBezTo>
                    <a:cubicBezTo>
                      <a:pt x="2614928" y="2712832"/>
                      <a:pt x="2623327" y="2693513"/>
                      <a:pt x="2622067" y="2669154"/>
                    </a:cubicBezTo>
                    <a:cubicBezTo>
                      <a:pt x="2619547" y="2631356"/>
                      <a:pt x="2616187" y="2592717"/>
                      <a:pt x="2629207" y="2555339"/>
                    </a:cubicBezTo>
                    <a:cubicBezTo>
                      <a:pt x="2632567" y="2546100"/>
                      <a:pt x="2633407" y="2532240"/>
                      <a:pt x="2628787" y="2524681"/>
                    </a:cubicBezTo>
                    <a:cubicBezTo>
                      <a:pt x="2616608" y="2505361"/>
                      <a:pt x="2627527" y="2491502"/>
                      <a:pt x="2634667" y="2475963"/>
                    </a:cubicBezTo>
                    <a:cubicBezTo>
                      <a:pt x="2659866" y="2420105"/>
                      <a:pt x="2706064" y="2383567"/>
                      <a:pt x="2754781" y="2349548"/>
                    </a:cubicBezTo>
                    <a:cubicBezTo>
                      <a:pt x="2785860" y="2328129"/>
                      <a:pt x="2818199" y="2311750"/>
                      <a:pt x="2857677" y="2314269"/>
                    </a:cubicBezTo>
                    <a:cubicBezTo>
                      <a:pt x="2864817" y="2314690"/>
                      <a:pt x="2874476" y="2308810"/>
                      <a:pt x="2878676" y="2302930"/>
                    </a:cubicBezTo>
                    <a:cubicBezTo>
                      <a:pt x="2885396" y="2293270"/>
                      <a:pt x="2888336" y="2281091"/>
                      <a:pt x="2892956" y="2270171"/>
                    </a:cubicBezTo>
                    <a:cubicBezTo>
                      <a:pt x="2921095" y="2203394"/>
                      <a:pt x="2936214" y="2132417"/>
                      <a:pt x="2958053" y="2063960"/>
                    </a:cubicBezTo>
                    <a:cubicBezTo>
                      <a:pt x="2987451" y="1971984"/>
                      <a:pt x="3007191" y="1878328"/>
                      <a:pt x="3017690" y="1782992"/>
                    </a:cubicBezTo>
                    <a:cubicBezTo>
                      <a:pt x="3026510" y="1704036"/>
                      <a:pt x="3026510" y="1624239"/>
                      <a:pt x="3039109" y="1545702"/>
                    </a:cubicBezTo>
                    <a:cubicBezTo>
                      <a:pt x="3039949" y="1540663"/>
                      <a:pt x="3040789" y="1533943"/>
                      <a:pt x="3038269" y="1530163"/>
                    </a:cubicBezTo>
                    <a:cubicBezTo>
                      <a:pt x="3025250" y="1509164"/>
                      <a:pt x="3031969" y="1486065"/>
                      <a:pt x="3029450" y="1463806"/>
                    </a:cubicBezTo>
                    <a:cubicBezTo>
                      <a:pt x="3024410" y="1423068"/>
                      <a:pt x="3021470" y="1381490"/>
                      <a:pt x="3012650" y="1341171"/>
                    </a:cubicBezTo>
                    <a:cubicBezTo>
                      <a:pt x="3000051" y="1286154"/>
                      <a:pt x="2984932" y="1231556"/>
                      <a:pt x="2967293" y="1177798"/>
                    </a:cubicBezTo>
                    <a:cubicBezTo>
                      <a:pt x="2927814" y="1057264"/>
                      <a:pt x="2884136" y="937989"/>
                      <a:pt x="2836258" y="820814"/>
                    </a:cubicBezTo>
                    <a:cubicBezTo>
                      <a:pt x="2790060" y="707419"/>
                      <a:pt x="2742182" y="593603"/>
                      <a:pt x="2651046" y="506247"/>
                    </a:cubicBezTo>
                    <a:cubicBezTo>
                      <a:pt x="2649786" y="504987"/>
                      <a:pt x="2648526" y="503727"/>
                      <a:pt x="2647686" y="502467"/>
                    </a:cubicBezTo>
                    <a:cubicBezTo>
                      <a:pt x="2602748" y="433590"/>
                      <a:pt x="2542690" y="377733"/>
                      <a:pt x="2490613" y="315575"/>
                    </a:cubicBezTo>
                    <a:cubicBezTo>
                      <a:pt x="2414596" y="224859"/>
                      <a:pt x="2310861" y="182441"/>
                      <a:pt x="2207125" y="141703"/>
                    </a:cubicBezTo>
                    <a:cubicBezTo>
                      <a:pt x="2158827" y="122804"/>
                      <a:pt x="2108849" y="98445"/>
                      <a:pt x="2052992" y="106004"/>
                    </a:cubicBezTo>
                    <a:cubicBezTo>
                      <a:pt x="2048372" y="106844"/>
                      <a:pt x="2043332" y="103484"/>
                      <a:pt x="2038292" y="101805"/>
                    </a:cubicBezTo>
                    <a:cubicBezTo>
                      <a:pt x="2007214" y="93405"/>
                      <a:pt x="2007214" y="93405"/>
                      <a:pt x="2004274" y="127843"/>
                    </a:cubicBezTo>
                    <a:cubicBezTo>
                      <a:pt x="2003434" y="137923"/>
                      <a:pt x="2002594" y="149262"/>
                      <a:pt x="1997974" y="157662"/>
                    </a:cubicBezTo>
                    <a:cubicBezTo>
                      <a:pt x="1975715" y="196720"/>
                      <a:pt x="1971515" y="238719"/>
                      <a:pt x="1971935" y="282817"/>
                    </a:cubicBezTo>
                    <a:cubicBezTo>
                      <a:pt x="1972775" y="367653"/>
                      <a:pt x="1971515" y="367653"/>
                      <a:pt x="2050472" y="400832"/>
                    </a:cubicBezTo>
                    <a:cubicBezTo>
                      <a:pt x="2059711" y="404612"/>
                      <a:pt x="2069791" y="406711"/>
                      <a:pt x="2079871" y="409231"/>
                    </a:cubicBezTo>
                    <a:cubicBezTo>
                      <a:pt x="2118929" y="419731"/>
                      <a:pt x="2138248" y="449970"/>
                      <a:pt x="2129428" y="490288"/>
                    </a:cubicBezTo>
                    <a:cubicBezTo>
                      <a:pt x="2123549" y="517167"/>
                      <a:pt x="2118509" y="545306"/>
                      <a:pt x="2105910" y="568825"/>
                    </a:cubicBezTo>
                    <a:cubicBezTo>
                      <a:pt x="2092470" y="594023"/>
                      <a:pt x="2079451" y="621322"/>
                      <a:pt x="2048792" y="634342"/>
                    </a:cubicBezTo>
                    <a:cubicBezTo>
                      <a:pt x="2033253" y="640641"/>
                      <a:pt x="2016453" y="651981"/>
                      <a:pt x="2008474" y="665420"/>
                    </a:cubicBezTo>
                    <a:cubicBezTo>
                      <a:pt x="2002594" y="675920"/>
                      <a:pt x="2015193" y="696079"/>
                      <a:pt x="2010154" y="708259"/>
                    </a:cubicBezTo>
                    <a:cubicBezTo>
                      <a:pt x="1997974" y="737237"/>
                      <a:pt x="2017293" y="745217"/>
                      <a:pt x="2035353" y="754876"/>
                    </a:cubicBezTo>
                    <a:cubicBezTo>
                      <a:pt x="2042492" y="759076"/>
                      <a:pt x="2052152" y="759076"/>
                      <a:pt x="2059711" y="762856"/>
                    </a:cubicBezTo>
                    <a:cubicBezTo>
                      <a:pt x="2088690" y="777135"/>
                      <a:pt x="2106750" y="811154"/>
                      <a:pt x="2097510" y="840553"/>
                    </a:cubicBezTo>
                    <a:cubicBezTo>
                      <a:pt x="2088270" y="869952"/>
                      <a:pt x="2075671" y="898930"/>
                      <a:pt x="2044592" y="913630"/>
                    </a:cubicBezTo>
                    <a:cubicBezTo>
                      <a:pt x="2031992" y="919509"/>
                      <a:pt x="2019393" y="925809"/>
                      <a:pt x="2008893" y="934209"/>
                    </a:cubicBezTo>
                    <a:cubicBezTo>
                      <a:pt x="1980335" y="957728"/>
                      <a:pt x="1978235" y="980407"/>
                      <a:pt x="2001754" y="1009385"/>
                    </a:cubicBezTo>
                    <a:cubicBezTo>
                      <a:pt x="2019393" y="1030805"/>
                      <a:pt x="2037452" y="1051804"/>
                      <a:pt x="2054672" y="1073643"/>
                    </a:cubicBezTo>
                    <a:cubicBezTo>
                      <a:pt x="2059711" y="1080363"/>
                      <a:pt x="2064331" y="1088342"/>
                      <a:pt x="2066011" y="1096322"/>
                    </a:cubicBezTo>
                    <a:cubicBezTo>
                      <a:pt x="2076091" y="1149660"/>
                      <a:pt x="2058452" y="1187038"/>
                      <a:pt x="2009733" y="1218957"/>
                    </a:cubicBezTo>
                    <a:cubicBezTo>
                      <a:pt x="2000914" y="1224416"/>
                      <a:pt x="1992934" y="1231136"/>
                      <a:pt x="1984535" y="1237016"/>
                    </a:cubicBezTo>
                    <a:cubicBezTo>
                      <a:pt x="1969415" y="1247515"/>
                      <a:pt x="1969835" y="1250035"/>
                      <a:pt x="1987055" y="1259695"/>
                    </a:cubicBezTo>
                    <a:cubicBezTo>
                      <a:pt x="2007634" y="1271454"/>
                      <a:pt x="2030733" y="1278174"/>
                      <a:pt x="2043752" y="1302113"/>
                    </a:cubicBezTo>
                    <a:cubicBezTo>
                      <a:pt x="2075251" y="1362170"/>
                      <a:pt x="2047952" y="1435667"/>
                      <a:pt x="1983275" y="1458766"/>
                    </a:cubicBezTo>
                    <a:cubicBezTo>
                      <a:pt x="1935397" y="1475986"/>
                      <a:pt x="1927417" y="1495305"/>
                      <a:pt x="1951776" y="1541923"/>
                    </a:cubicBezTo>
                    <a:cubicBezTo>
                      <a:pt x="1961436" y="1559982"/>
                      <a:pt x="1974035" y="1576781"/>
                      <a:pt x="1987474" y="1592321"/>
                    </a:cubicBezTo>
                    <a:cubicBezTo>
                      <a:pt x="2016873" y="1626759"/>
                      <a:pt x="2045432" y="1661198"/>
                      <a:pt x="2035772" y="1712015"/>
                    </a:cubicBezTo>
                    <a:cubicBezTo>
                      <a:pt x="2033673" y="1722515"/>
                      <a:pt x="2039972" y="1735114"/>
                      <a:pt x="2044172" y="1746454"/>
                    </a:cubicBezTo>
                    <a:cubicBezTo>
                      <a:pt x="2061811" y="1796012"/>
                      <a:pt x="2079871" y="1842630"/>
                      <a:pt x="2069371" y="1900167"/>
                    </a:cubicBezTo>
                    <a:cubicBezTo>
                      <a:pt x="2060131" y="1950985"/>
                      <a:pt x="2038712" y="1980804"/>
                      <a:pt x="1994614" y="2003063"/>
                    </a:cubicBezTo>
                    <a:cubicBezTo>
                      <a:pt x="1958076" y="2021542"/>
                      <a:pt x="1917758" y="2030782"/>
                      <a:pt x="1884579" y="2058920"/>
                    </a:cubicBezTo>
                    <a:cubicBezTo>
                      <a:pt x="1863580" y="2076560"/>
                      <a:pt x="1854760" y="2085379"/>
                      <a:pt x="1866100" y="2111838"/>
                    </a:cubicBezTo>
                    <a:cubicBezTo>
                      <a:pt x="1872399" y="2126538"/>
                      <a:pt x="1868620" y="2146277"/>
                      <a:pt x="1867360" y="2163496"/>
                    </a:cubicBezTo>
                    <a:cubicBezTo>
                      <a:pt x="1865680" y="2184075"/>
                      <a:pt x="1875339" y="2197515"/>
                      <a:pt x="1890879" y="2206754"/>
                    </a:cubicBezTo>
                    <a:cubicBezTo>
                      <a:pt x="1905578" y="2215574"/>
                      <a:pt x="1919858" y="2224394"/>
                      <a:pt x="1939177" y="2223133"/>
                    </a:cubicBezTo>
                    <a:cubicBezTo>
                      <a:pt x="1973195" y="2221033"/>
                      <a:pt x="2004694" y="2233213"/>
                      <a:pt x="2030313" y="2254212"/>
                    </a:cubicBezTo>
                    <a:cubicBezTo>
                      <a:pt x="2062231" y="2280671"/>
                      <a:pt x="2099190" y="2282771"/>
                      <a:pt x="2133628" y="2271431"/>
                    </a:cubicBezTo>
                    <a:cubicBezTo>
                      <a:pt x="2163447" y="2261772"/>
                      <a:pt x="2192426" y="2263452"/>
                      <a:pt x="2220984" y="2265552"/>
                    </a:cubicBezTo>
                    <a:cubicBezTo>
                      <a:pt x="2265923" y="2268911"/>
                      <a:pt x="2277682" y="2283191"/>
                      <a:pt x="2287342" y="2330229"/>
                    </a:cubicBezTo>
                    <a:cubicBezTo>
                      <a:pt x="2288182" y="2333589"/>
                      <a:pt x="2286502" y="2338209"/>
                      <a:pt x="2288182" y="2340728"/>
                    </a:cubicBezTo>
                    <a:cubicBezTo>
                      <a:pt x="2312121" y="2376427"/>
                      <a:pt x="2280622" y="2398686"/>
                      <a:pt x="2266763" y="2423885"/>
                    </a:cubicBezTo>
                    <a:cubicBezTo>
                      <a:pt x="2263403" y="2429765"/>
                      <a:pt x="2247863" y="2431445"/>
                      <a:pt x="2238624" y="2430605"/>
                    </a:cubicBezTo>
                    <a:cubicBezTo>
                      <a:pt x="2228964" y="2429765"/>
                      <a:pt x="2219725" y="2422625"/>
                      <a:pt x="2210065" y="2419685"/>
                    </a:cubicBezTo>
                    <a:cubicBezTo>
                      <a:pt x="2172267" y="2408765"/>
                      <a:pt x="2132788" y="2391966"/>
                      <a:pt x="2094150" y="2404146"/>
                    </a:cubicBezTo>
                    <a:cubicBezTo>
                      <a:pt x="2057612" y="2415905"/>
                      <a:pt x="2026533" y="2407925"/>
                      <a:pt x="1992934" y="2399946"/>
                    </a:cubicBezTo>
                    <a:cubicBezTo>
                      <a:pt x="1976555" y="2395746"/>
                      <a:pt x="1958916" y="2388186"/>
                      <a:pt x="1943376" y="2391126"/>
                    </a:cubicBezTo>
                    <a:cubicBezTo>
                      <a:pt x="1922377" y="2395326"/>
                      <a:pt x="1903058" y="2389866"/>
                      <a:pt x="1882899" y="2390286"/>
                    </a:cubicBezTo>
                    <a:cubicBezTo>
                      <a:pt x="1844261" y="2391126"/>
                      <a:pt x="1816542" y="2371807"/>
                      <a:pt x="1796383" y="2340728"/>
                    </a:cubicBezTo>
                    <a:cubicBezTo>
                      <a:pt x="1784203" y="2322249"/>
                      <a:pt x="1773284" y="2302090"/>
                      <a:pt x="1766984" y="2280671"/>
                    </a:cubicBezTo>
                    <a:cubicBezTo>
                      <a:pt x="1760264" y="2259672"/>
                      <a:pt x="1753125" y="2241613"/>
                      <a:pt x="1731705" y="2232793"/>
                    </a:cubicBezTo>
                    <a:cubicBezTo>
                      <a:pt x="1710706" y="2223553"/>
                      <a:pt x="1703147" y="2206334"/>
                      <a:pt x="1697267" y="2184915"/>
                    </a:cubicBezTo>
                    <a:cubicBezTo>
                      <a:pt x="1691807" y="2165596"/>
                      <a:pt x="1686768" y="2144177"/>
                      <a:pt x="1667448" y="2131997"/>
                    </a:cubicBezTo>
                    <a:cubicBezTo>
                      <a:pt x="1621250" y="2102599"/>
                      <a:pt x="1581772" y="2062700"/>
                      <a:pt x="1525914" y="2049681"/>
                    </a:cubicBezTo>
                    <a:cubicBezTo>
                      <a:pt x="1504495" y="2044641"/>
                      <a:pt x="1482236" y="2035821"/>
                      <a:pt x="1464177" y="2023642"/>
                    </a:cubicBezTo>
                    <a:cubicBezTo>
                      <a:pt x="1425959" y="1997603"/>
                      <a:pt x="1383120" y="1989204"/>
                      <a:pt x="1339862" y="1978284"/>
                    </a:cubicBezTo>
                    <a:cubicBezTo>
                      <a:pt x="1292404" y="1966105"/>
                      <a:pt x="1249986" y="1943425"/>
                      <a:pt x="1223527" y="1898487"/>
                    </a:cubicBezTo>
                    <a:cubicBezTo>
                      <a:pt x="1218488" y="1889668"/>
                      <a:pt x="1209668" y="1882948"/>
                      <a:pt x="1201688" y="1876228"/>
                    </a:cubicBezTo>
                    <a:cubicBezTo>
                      <a:pt x="1185309" y="1862789"/>
                      <a:pt x="1170610" y="1861529"/>
                      <a:pt x="1154650" y="1874128"/>
                    </a:cubicBezTo>
                    <a:cubicBezTo>
                      <a:pt x="1130711" y="1893028"/>
                      <a:pt x="1106352" y="1911927"/>
                      <a:pt x="1095013" y="1943006"/>
                    </a:cubicBezTo>
                    <a:cubicBezTo>
                      <a:pt x="1084513" y="1972404"/>
                      <a:pt x="1070234" y="1999703"/>
                      <a:pt x="1047975" y="2022802"/>
                    </a:cubicBezTo>
                    <a:cubicBezTo>
                      <a:pt x="1039155" y="2032042"/>
                      <a:pt x="1034115" y="2046321"/>
                      <a:pt x="1029916" y="2059340"/>
                    </a:cubicBezTo>
                    <a:cubicBezTo>
                      <a:pt x="1020676" y="2089159"/>
                      <a:pt x="1015636" y="2119398"/>
                      <a:pt x="1017316" y="2151317"/>
                    </a:cubicBezTo>
                    <a:cubicBezTo>
                      <a:pt x="1018996" y="2180715"/>
                      <a:pt x="1018996" y="2210534"/>
                      <a:pt x="1017736" y="2240353"/>
                    </a:cubicBezTo>
                    <a:cubicBezTo>
                      <a:pt x="1015636" y="2291170"/>
                      <a:pt x="982458" y="2313850"/>
                      <a:pt x="932480" y="2307130"/>
                    </a:cubicBezTo>
                    <a:cubicBezTo>
                      <a:pt x="898041" y="2302510"/>
                      <a:pt x="869482" y="2286551"/>
                      <a:pt x="843444" y="2268071"/>
                    </a:cubicBezTo>
                    <a:cubicBezTo>
                      <a:pt x="806485" y="2242033"/>
                      <a:pt x="774147" y="2208434"/>
                      <a:pt x="764907" y="2161816"/>
                    </a:cubicBezTo>
                    <a:cubicBezTo>
                      <a:pt x="760707" y="2139557"/>
                      <a:pt x="754827" y="2120658"/>
                      <a:pt x="738868" y="2103859"/>
                    </a:cubicBezTo>
                    <a:cubicBezTo>
                      <a:pt x="729629" y="2094199"/>
                      <a:pt x="724169" y="2080339"/>
                      <a:pt x="716609" y="2069000"/>
                    </a:cubicBezTo>
                    <a:cubicBezTo>
                      <a:pt x="684271" y="2020282"/>
                      <a:pt x="651932" y="1971144"/>
                      <a:pt x="618753" y="1922846"/>
                    </a:cubicBezTo>
                    <a:cubicBezTo>
                      <a:pt x="612034" y="1912767"/>
                      <a:pt x="602374" y="1904367"/>
                      <a:pt x="593134" y="1896808"/>
                    </a:cubicBezTo>
                    <a:cubicBezTo>
                      <a:pt x="559536" y="1869089"/>
                      <a:pt x="539377" y="1869929"/>
                      <a:pt x="508298" y="1900587"/>
                    </a:cubicBezTo>
                    <a:cubicBezTo>
                      <a:pt x="482259" y="1926206"/>
                      <a:pt x="459160" y="1956025"/>
                      <a:pt x="429341" y="1976604"/>
                    </a:cubicBezTo>
                    <a:cubicBezTo>
                      <a:pt x="383563" y="2008523"/>
                      <a:pt x="348705" y="2046741"/>
                      <a:pt x="327286" y="2097979"/>
                    </a:cubicBezTo>
                    <a:cubicBezTo>
                      <a:pt x="317626" y="2120658"/>
                      <a:pt x="303767" y="2139137"/>
                      <a:pt x="280668" y="2151736"/>
                    </a:cubicBezTo>
                    <a:cubicBezTo>
                      <a:pt x="253789" y="2166856"/>
                      <a:pt x="228590" y="2185755"/>
                      <a:pt x="204231" y="2205074"/>
                    </a:cubicBezTo>
                    <a:cubicBezTo>
                      <a:pt x="183232" y="2221454"/>
                      <a:pt x="180292" y="2234893"/>
                      <a:pt x="193312" y="2257572"/>
                    </a:cubicBezTo>
                    <a:cubicBezTo>
                      <a:pt x="206751" y="2281511"/>
                      <a:pt x="221870" y="2305030"/>
                      <a:pt x="238670" y="2326869"/>
                    </a:cubicBezTo>
                    <a:cubicBezTo>
                      <a:pt x="273948" y="2372227"/>
                      <a:pt x="313006" y="2414225"/>
                      <a:pt x="346185" y="2460423"/>
                    </a:cubicBezTo>
                    <a:cubicBezTo>
                      <a:pt x="411282" y="2550299"/>
                      <a:pt x="488979" y="2625476"/>
                      <a:pt x="582635" y="2684694"/>
                    </a:cubicBezTo>
                    <a:cubicBezTo>
                      <a:pt x="613293" y="2704013"/>
                      <a:pt x="645212" y="2722072"/>
                      <a:pt x="674191" y="2743911"/>
                    </a:cubicBezTo>
                    <a:cubicBezTo>
                      <a:pt x="742648" y="2794729"/>
                      <a:pt x="814885" y="2836307"/>
                      <a:pt x="899721" y="2853947"/>
                    </a:cubicBezTo>
                    <a:cubicBezTo>
                      <a:pt x="913161" y="2856886"/>
                      <a:pt x="925760" y="2863186"/>
                      <a:pt x="937939" y="2869486"/>
                    </a:cubicBezTo>
                    <a:cubicBezTo>
                      <a:pt x="990437" y="2895945"/>
                      <a:pt x="1047975" y="2908124"/>
                      <a:pt x="1103832" y="2923244"/>
                    </a:cubicBezTo>
                    <a:cubicBezTo>
                      <a:pt x="1187829" y="2945922"/>
                      <a:pt x="1270985" y="2974061"/>
                      <a:pt x="1357082" y="2989600"/>
                    </a:cubicBezTo>
                    <a:cubicBezTo>
                      <a:pt x="1365481" y="2991280"/>
                      <a:pt x="1372621" y="2997580"/>
                      <a:pt x="1381020" y="3000100"/>
                    </a:cubicBezTo>
                    <a:cubicBezTo>
                      <a:pt x="1413359" y="3010180"/>
                      <a:pt x="1445698" y="3024039"/>
                      <a:pt x="1478876" y="3028239"/>
                    </a:cubicBezTo>
                    <a:cubicBezTo>
                      <a:pt x="1544394" y="3036218"/>
                      <a:pt x="1612011" y="3038739"/>
                      <a:pt x="1679628" y="3043358"/>
                    </a:cubicBezTo>
                    <a:close/>
                    <a:moveTo>
                      <a:pt x="2173947" y="2328129"/>
                    </a:moveTo>
                    <a:cubicBezTo>
                      <a:pt x="2169747" y="2329389"/>
                      <a:pt x="2166387" y="2330649"/>
                      <a:pt x="2163027" y="2331489"/>
                    </a:cubicBezTo>
                    <a:cubicBezTo>
                      <a:pt x="2165547" y="2335689"/>
                      <a:pt x="2167227" y="2341148"/>
                      <a:pt x="2171007" y="2343248"/>
                    </a:cubicBezTo>
                    <a:cubicBezTo>
                      <a:pt x="2176886" y="2346188"/>
                      <a:pt x="2184026" y="2347028"/>
                      <a:pt x="2190746" y="2348288"/>
                    </a:cubicBezTo>
                    <a:cubicBezTo>
                      <a:pt x="2203765" y="2350808"/>
                      <a:pt x="2222245" y="2373907"/>
                      <a:pt x="2228964" y="2349968"/>
                    </a:cubicBezTo>
                    <a:cubicBezTo>
                      <a:pt x="2234424" y="2330649"/>
                      <a:pt x="2203345" y="2342408"/>
                      <a:pt x="2193266" y="2329809"/>
                    </a:cubicBezTo>
                    <a:cubicBezTo>
                      <a:pt x="2190326" y="2326029"/>
                      <a:pt x="2179826" y="2328549"/>
                      <a:pt x="2173947" y="232812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8953ED07-E0FD-8295-CAE6-72A36457E282}"/>
                  </a:ext>
                </a:extLst>
              </p:cNvPr>
              <p:cNvSpPr/>
              <p:nvPr/>
            </p:nvSpPr>
            <p:spPr>
              <a:xfrm>
                <a:off x="7604650" y="4371499"/>
                <a:ext cx="1077001" cy="1060384"/>
              </a:xfrm>
              <a:custGeom>
                <a:avLst/>
                <a:gdLst>
                  <a:gd name="connsiteX0" fmla="*/ 1076972 w 1077001"/>
                  <a:gd name="connsiteY0" fmla="*/ 540609 h 1060384"/>
                  <a:gd name="connsiteX1" fmla="*/ 970297 w 1077001"/>
                  <a:gd name="connsiteY1" fmla="*/ 852656 h 1060384"/>
                  <a:gd name="connsiteX2" fmla="*/ 906879 w 1077001"/>
                  <a:gd name="connsiteY2" fmla="*/ 912293 h 1060384"/>
                  <a:gd name="connsiteX3" fmla="*/ 764926 w 1077001"/>
                  <a:gd name="connsiteY3" fmla="*/ 1016029 h 1060384"/>
                  <a:gd name="connsiteX4" fmla="*/ 755686 w 1077001"/>
                  <a:gd name="connsiteY4" fmla="*/ 1020649 h 1060384"/>
                  <a:gd name="connsiteX5" fmla="*/ 581393 w 1077001"/>
                  <a:gd name="connsiteY5" fmla="*/ 1058867 h 1060384"/>
                  <a:gd name="connsiteX6" fmla="*/ 337384 w 1077001"/>
                  <a:gd name="connsiteY6" fmla="*/ 1026948 h 1060384"/>
                  <a:gd name="connsiteX7" fmla="*/ 318485 w 1077001"/>
                  <a:gd name="connsiteY7" fmla="*/ 1019388 h 1060384"/>
                  <a:gd name="connsiteX8" fmla="*/ 38777 w 1077001"/>
                  <a:gd name="connsiteY8" fmla="*/ 745140 h 1060384"/>
                  <a:gd name="connsiteX9" fmla="*/ 5178 w 1077001"/>
                  <a:gd name="connsiteY9" fmla="*/ 493991 h 1060384"/>
                  <a:gd name="connsiteX10" fmla="*/ 31217 w 1077001"/>
                  <a:gd name="connsiteY10" fmla="*/ 362957 h 1060384"/>
                  <a:gd name="connsiteX11" fmla="*/ 62716 w 1077001"/>
                  <a:gd name="connsiteY11" fmla="*/ 281480 h 1060384"/>
                  <a:gd name="connsiteX12" fmla="*/ 125713 w 1077001"/>
                  <a:gd name="connsiteY12" fmla="*/ 180685 h 1060384"/>
                  <a:gd name="connsiteX13" fmla="*/ 296226 w 1077001"/>
                  <a:gd name="connsiteY13" fmla="*/ 53430 h 1060384"/>
                  <a:gd name="connsiteX14" fmla="*/ 419700 w 1077001"/>
                  <a:gd name="connsiteY14" fmla="*/ 20672 h 1060384"/>
                  <a:gd name="connsiteX15" fmla="*/ 572574 w 1077001"/>
                  <a:gd name="connsiteY15" fmla="*/ 932 h 1060384"/>
                  <a:gd name="connsiteX16" fmla="*/ 674209 w 1077001"/>
                  <a:gd name="connsiteY16" fmla="*/ 15631 h 1060384"/>
                  <a:gd name="connsiteX17" fmla="*/ 919059 w 1077001"/>
                  <a:gd name="connsiteY17" fmla="*/ 144566 h 1060384"/>
                  <a:gd name="connsiteX18" fmla="*/ 1015235 w 1077001"/>
                  <a:gd name="connsiteY18" fmla="*/ 281900 h 1060384"/>
                  <a:gd name="connsiteX19" fmla="*/ 1066053 w 1077001"/>
                  <a:gd name="connsiteY19" fmla="*/ 433094 h 1060384"/>
                  <a:gd name="connsiteX20" fmla="*/ 1076972 w 1077001"/>
                  <a:gd name="connsiteY20" fmla="*/ 540609 h 1060384"/>
                  <a:gd name="connsiteX21" fmla="*/ 1037494 w 1077001"/>
                  <a:gd name="connsiteY21" fmla="*/ 551108 h 1060384"/>
                  <a:gd name="connsiteX22" fmla="*/ 1022374 w 1077001"/>
                  <a:gd name="connsiteY22" fmla="*/ 443593 h 1060384"/>
                  <a:gd name="connsiteX23" fmla="*/ 982056 w 1077001"/>
                  <a:gd name="connsiteY23" fmla="*/ 338178 h 1060384"/>
                  <a:gd name="connsiteX24" fmla="*/ 923679 w 1077001"/>
                  <a:gd name="connsiteY24" fmla="*/ 240742 h 1060384"/>
                  <a:gd name="connsiteX25" fmla="*/ 824983 w 1077001"/>
                  <a:gd name="connsiteY25" fmla="*/ 151706 h 1060384"/>
                  <a:gd name="connsiteX26" fmla="*/ 728387 w 1077001"/>
                  <a:gd name="connsiteY26" fmla="*/ 103828 h 1060384"/>
                  <a:gd name="connsiteX27" fmla="*/ 589373 w 1077001"/>
                  <a:gd name="connsiteY27" fmla="*/ 53430 h 1060384"/>
                  <a:gd name="connsiteX28" fmla="*/ 548635 w 1077001"/>
                  <a:gd name="connsiteY28" fmla="*/ 74009 h 1060384"/>
                  <a:gd name="connsiteX29" fmla="*/ 498657 w 1077001"/>
                  <a:gd name="connsiteY29" fmla="*/ 122307 h 1060384"/>
                  <a:gd name="connsiteX30" fmla="*/ 460019 w 1077001"/>
                  <a:gd name="connsiteY30" fmla="*/ 99628 h 1060384"/>
                  <a:gd name="connsiteX31" fmla="*/ 468839 w 1077001"/>
                  <a:gd name="connsiteY31" fmla="*/ 70649 h 1060384"/>
                  <a:gd name="connsiteX32" fmla="*/ 439019 w 1077001"/>
                  <a:gd name="connsiteY32" fmla="*/ 82829 h 1060384"/>
                  <a:gd name="connsiteX33" fmla="*/ 407941 w 1077001"/>
                  <a:gd name="connsiteY33" fmla="*/ 84089 h 1060384"/>
                  <a:gd name="connsiteX34" fmla="*/ 362163 w 1077001"/>
                  <a:gd name="connsiteY34" fmla="*/ 90808 h 1060384"/>
                  <a:gd name="connsiteX35" fmla="*/ 258427 w 1077001"/>
                  <a:gd name="connsiteY35" fmla="*/ 117267 h 1060384"/>
                  <a:gd name="connsiteX36" fmla="*/ 231128 w 1077001"/>
                  <a:gd name="connsiteY36" fmla="*/ 131967 h 1060384"/>
                  <a:gd name="connsiteX37" fmla="*/ 120254 w 1077001"/>
                  <a:gd name="connsiteY37" fmla="*/ 259221 h 1060384"/>
                  <a:gd name="connsiteX38" fmla="*/ 110594 w 1077001"/>
                  <a:gd name="connsiteY38" fmla="*/ 277700 h 1060384"/>
                  <a:gd name="connsiteX39" fmla="*/ 62296 w 1077001"/>
                  <a:gd name="connsiteY39" fmla="*/ 417134 h 1060384"/>
                  <a:gd name="connsiteX40" fmla="*/ 50957 w 1077001"/>
                  <a:gd name="connsiteY40" fmla="*/ 598567 h 1060384"/>
                  <a:gd name="connsiteX41" fmla="*/ 60196 w 1077001"/>
                  <a:gd name="connsiteY41" fmla="*/ 648964 h 1060384"/>
                  <a:gd name="connsiteX42" fmla="*/ 163931 w 1077001"/>
                  <a:gd name="connsiteY42" fmla="*/ 825777 h 1060384"/>
                  <a:gd name="connsiteX43" fmla="*/ 333604 w 1077001"/>
                  <a:gd name="connsiteY43" fmla="*/ 960591 h 1060384"/>
                  <a:gd name="connsiteX44" fmla="*/ 549055 w 1077001"/>
                  <a:gd name="connsiteY44" fmla="*/ 1005529 h 1060384"/>
                  <a:gd name="connsiteX45" fmla="*/ 681349 w 1077001"/>
                  <a:gd name="connsiteY45" fmla="*/ 987470 h 1060384"/>
                  <a:gd name="connsiteX46" fmla="*/ 971557 w 1077001"/>
                  <a:gd name="connsiteY46" fmla="*/ 782518 h 1060384"/>
                  <a:gd name="connsiteX47" fmla="*/ 1007255 w 1077001"/>
                  <a:gd name="connsiteY47" fmla="*/ 697682 h 1060384"/>
                  <a:gd name="connsiteX48" fmla="*/ 1037494 w 1077001"/>
                  <a:gd name="connsiteY48" fmla="*/ 551108 h 106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077001" h="1060384">
                    <a:moveTo>
                      <a:pt x="1076972" y="540609"/>
                    </a:moveTo>
                    <a:cubicBezTo>
                      <a:pt x="1078232" y="657364"/>
                      <a:pt x="1039174" y="760680"/>
                      <a:pt x="970297" y="852656"/>
                    </a:cubicBezTo>
                    <a:cubicBezTo>
                      <a:pt x="953077" y="875755"/>
                      <a:pt x="925359" y="890454"/>
                      <a:pt x="906879" y="912293"/>
                    </a:cubicBezTo>
                    <a:cubicBezTo>
                      <a:pt x="867821" y="958491"/>
                      <a:pt x="814483" y="984950"/>
                      <a:pt x="764926" y="1016029"/>
                    </a:cubicBezTo>
                    <a:cubicBezTo>
                      <a:pt x="761986" y="1017708"/>
                      <a:pt x="759046" y="1019808"/>
                      <a:pt x="755686" y="1020649"/>
                    </a:cubicBezTo>
                    <a:cubicBezTo>
                      <a:pt x="698568" y="1037448"/>
                      <a:pt x="641031" y="1053827"/>
                      <a:pt x="581393" y="1058867"/>
                    </a:cubicBezTo>
                    <a:cubicBezTo>
                      <a:pt x="498237" y="1066427"/>
                      <a:pt x="418020" y="1044167"/>
                      <a:pt x="337384" y="1026948"/>
                    </a:cubicBezTo>
                    <a:cubicBezTo>
                      <a:pt x="330664" y="1025688"/>
                      <a:pt x="324365" y="1022329"/>
                      <a:pt x="318485" y="1019388"/>
                    </a:cubicBezTo>
                    <a:cubicBezTo>
                      <a:pt x="197110" y="956811"/>
                      <a:pt x="100514" y="870295"/>
                      <a:pt x="38777" y="745140"/>
                    </a:cubicBezTo>
                    <a:cubicBezTo>
                      <a:pt x="-1541" y="663664"/>
                      <a:pt x="-5741" y="582187"/>
                      <a:pt x="5178" y="493991"/>
                    </a:cubicBezTo>
                    <a:cubicBezTo>
                      <a:pt x="10638" y="449053"/>
                      <a:pt x="27437" y="407895"/>
                      <a:pt x="31217" y="362957"/>
                    </a:cubicBezTo>
                    <a:cubicBezTo>
                      <a:pt x="33317" y="335238"/>
                      <a:pt x="48857" y="307099"/>
                      <a:pt x="62716" y="281480"/>
                    </a:cubicBezTo>
                    <a:cubicBezTo>
                      <a:pt x="81615" y="246622"/>
                      <a:pt x="104714" y="214283"/>
                      <a:pt x="125713" y="180685"/>
                    </a:cubicBezTo>
                    <a:cubicBezTo>
                      <a:pt x="166031" y="116427"/>
                      <a:pt x="225249" y="76109"/>
                      <a:pt x="296226" y="53430"/>
                    </a:cubicBezTo>
                    <a:cubicBezTo>
                      <a:pt x="336964" y="40411"/>
                      <a:pt x="381482" y="37471"/>
                      <a:pt x="419700" y="20672"/>
                    </a:cubicBezTo>
                    <a:cubicBezTo>
                      <a:pt x="470098" y="-1588"/>
                      <a:pt x="520916" y="-1168"/>
                      <a:pt x="572574" y="932"/>
                    </a:cubicBezTo>
                    <a:cubicBezTo>
                      <a:pt x="606592" y="2192"/>
                      <a:pt x="641871" y="5552"/>
                      <a:pt x="674209" y="15631"/>
                    </a:cubicBezTo>
                    <a:cubicBezTo>
                      <a:pt x="763666" y="42930"/>
                      <a:pt x="847662" y="81989"/>
                      <a:pt x="919059" y="144566"/>
                    </a:cubicBezTo>
                    <a:cubicBezTo>
                      <a:pt x="961897" y="182365"/>
                      <a:pt x="998436" y="224783"/>
                      <a:pt x="1015235" y="281900"/>
                    </a:cubicBezTo>
                    <a:cubicBezTo>
                      <a:pt x="1030354" y="332718"/>
                      <a:pt x="1047573" y="383116"/>
                      <a:pt x="1066053" y="433094"/>
                    </a:cubicBezTo>
                    <a:cubicBezTo>
                      <a:pt x="1079072" y="468372"/>
                      <a:pt x="1076132" y="504491"/>
                      <a:pt x="1076972" y="540609"/>
                    </a:cubicBezTo>
                    <a:close/>
                    <a:moveTo>
                      <a:pt x="1037494" y="551108"/>
                    </a:moveTo>
                    <a:cubicBezTo>
                      <a:pt x="1032874" y="514990"/>
                      <a:pt x="1031614" y="478452"/>
                      <a:pt x="1022374" y="443593"/>
                    </a:cubicBezTo>
                    <a:cubicBezTo>
                      <a:pt x="1013135" y="407475"/>
                      <a:pt x="998436" y="371776"/>
                      <a:pt x="982056" y="338178"/>
                    </a:cubicBezTo>
                    <a:cubicBezTo>
                      <a:pt x="965257" y="304159"/>
                      <a:pt x="942578" y="273501"/>
                      <a:pt x="923679" y="240742"/>
                    </a:cubicBezTo>
                    <a:cubicBezTo>
                      <a:pt x="900160" y="200424"/>
                      <a:pt x="868241" y="170185"/>
                      <a:pt x="824983" y="151706"/>
                    </a:cubicBezTo>
                    <a:cubicBezTo>
                      <a:pt x="791804" y="137426"/>
                      <a:pt x="756106" y="125667"/>
                      <a:pt x="728387" y="103828"/>
                    </a:cubicBezTo>
                    <a:cubicBezTo>
                      <a:pt x="686389" y="71069"/>
                      <a:pt x="636831" y="66870"/>
                      <a:pt x="589373" y="53430"/>
                    </a:cubicBezTo>
                    <a:cubicBezTo>
                      <a:pt x="571314" y="48390"/>
                      <a:pt x="555775" y="51330"/>
                      <a:pt x="548635" y="74009"/>
                    </a:cubicBezTo>
                    <a:cubicBezTo>
                      <a:pt x="541075" y="98368"/>
                      <a:pt x="524276" y="115587"/>
                      <a:pt x="498657" y="122307"/>
                    </a:cubicBezTo>
                    <a:cubicBezTo>
                      <a:pt x="481858" y="126927"/>
                      <a:pt x="458759" y="114327"/>
                      <a:pt x="460019" y="99628"/>
                    </a:cubicBezTo>
                    <a:cubicBezTo>
                      <a:pt x="460859" y="89548"/>
                      <a:pt x="465898" y="80309"/>
                      <a:pt x="468839" y="70649"/>
                    </a:cubicBezTo>
                    <a:cubicBezTo>
                      <a:pt x="459179" y="74849"/>
                      <a:pt x="449519" y="80729"/>
                      <a:pt x="439019" y="82829"/>
                    </a:cubicBezTo>
                    <a:cubicBezTo>
                      <a:pt x="428940" y="84929"/>
                      <a:pt x="418020" y="82829"/>
                      <a:pt x="407941" y="84089"/>
                    </a:cubicBezTo>
                    <a:cubicBezTo>
                      <a:pt x="392821" y="85769"/>
                      <a:pt x="377282" y="87448"/>
                      <a:pt x="362163" y="90808"/>
                    </a:cubicBezTo>
                    <a:cubicBezTo>
                      <a:pt x="327304" y="98788"/>
                      <a:pt x="292866" y="107608"/>
                      <a:pt x="258427" y="117267"/>
                    </a:cubicBezTo>
                    <a:cubicBezTo>
                      <a:pt x="248768" y="120207"/>
                      <a:pt x="238688" y="125247"/>
                      <a:pt x="231128" y="131967"/>
                    </a:cubicBezTo>
                    <a:cubicBezTo>
                      <a:pt x="187451" y="168505"/>
                      <a:pt x="137893" y="200004"/>
                      <a:pt x="120254" y="259221"/>
                    </a:cubicBezTo>
                    <a:cubicBezTo>
                      <a:pt x="118154" y="265941"/>
                      <a:pt x="115213" y="272661"/>
                      <a:pt x="110594" y="277700"/>
                    </a:cubicBezTo>
                    <a:cubicBezTo>
                      <a:pt x="75735" y="317599"/>
                      <a:pt x="71535" y="369257"/>
                      <a:pt x="62296" y="417134"/>
                    </a:cubicBezTo>
                    <a:cubicBezTo>
                      <a:pt x="50536" y="476352"/>
                      <a:pt x="46336" y="537669"/>
                      <a:pt x="50957" y="598567"/>
                    </a:cubicBezTo>
                    <a:cubicBezTo>
                      <a:pt x="52216" y="615366"/>
                      <a:pt x="55576" y="632585"/>
                      <a:pt x="60196" y="648964"/>
                    </a:cubicBezTo>
                    <a:cubicBezTo>
                      <a:pt x="79515" y="717001"/>
                      <a:pt x="120673" y="770759"/>
                      <a:pt x="163931" y="825777"/>
                    </a:cubicBezTo>
                    <a:cubicBezTo>
                      <a:pt x="210970" y="884994"/>
                      <a:pt x="273547" y="920693"/>
                      <a:pt x="333604" y="960591"/>
                    </a:cubicBezTo>
                    <a:cubicBezTo>
                      <a:pt x="398701" y="1003429"/>
                      <a:pt x="476398" y="994609"/>
                      <a:pt x="549055" y="1005529"/>
                    </a:cubicBezTo>
                    <a:cubicBezTo>
                      <a:pt x="593993" y="1012249"/>
                      <a:pt x="637251" y="997969"/>
                      <a:pt x="681349" y="987470"/>
                    </a:cubicBezTo>
                    <a:cubicBezTo>
                      <a:pt x="806504" y="958071"/>
                      <a:pt x="896380" y="882054"/>
                      <a:pt x="971557" y="782518"/>
                    </a:cubicBezTo>
                    <a:cubicBezTo>
                      <a:pt x="990876" y="756900"/>
                      <a:pt x="994236" y="725401"/>
                      <a:pt x="1007255" y="697682"/>
                    </a:cubicBezTo>
                    <a:cubicBezTo>
                      <a:pt x="1028254" y="651064"/>
                      <a:pt x="1035394" y="602347"/>
                      <a:pt x="1037494" y="55110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C667DBF-8EE4-32E2-9A55-651C53F33F08}"/>
                  </a:ext>
                </a:extLst>
              </p:cNvPr>
              <p:cNvSpPr/>
              <p:nvPr/>
            </p:nvSpPr>
            <p:spPr>
              <a:xfrm>
                <a:off x="6911925" y="2222544"/>
                <a:ext cx="216045" cy="367327"/>
              </a:xfrm>
              <a:custGeom>
                <a:avLst/>
                <a:gdLst>
                  <a:gd name="connsiteX0" fmla="*/ 110769 w 216045"/>
                  <a:gd name="connsiteY0" fmla="*/ 0 h 367327"/>
                  <a:gd name="connsiteX1" fmla="*/ 198966 w 216045"/>
                  <a:gd name="connsiteY1" fmla="*/ 41578 h 367327"/>
                  <a:gd name="connsiteX2" fmla="*/ 210305 w 216045"/>
                  <a:gd name="connsiteY2" fmla="*/ 133554 h 367327"/>
                  <a:gd name="connsiteX3" fmla="*/ 187626 w 216045"/>
                  <a:gd name="connsiteY3" fmla="*/ 243169 h 367327"/>
                  <a:gd name="connsiteX4" fmla="*/ 146468 w 216045"/>
                  <a:gd name="connsiteY4" fmla="*/ 341865 h 367327"/>
                  <a:gd name="connsiteX5" fmla="*/ 80951 w 216045"/>
                  <a:gd name="connsiteY5" fmla="*/ 358664 h 367327"/>
                  <a:gd name="connsiteX6" fmla="*/ 36013 w 216045"/>
                  <a:gd name="connsiteY6" fmla="*/ 293987 h 367327"/>
                  <a:gd name="connsiteX7" fmla="*/ 30133 w 216045"/>
                  <a:gd name="connsiteY7" fmla="*/ 260389 h 367327"/>
                  <a:gd name="connsiteX8" fmla="*/ 9134 w 216045"/>
                  <a:gd name="connsiteY8" fmla="*/ 197392 h 367327"/>
                  <a:gd name="connsiteX9" fmla="*/ 70871 w 216045"/>
                  <a:gd name="connsiteY9" fmla="*/ 14279 h 367327"/>
                  <a:gd name="connsiteX10" fmla="*/ 110769 w 216045"/>
                  <a:gd name="connsiteY10" fmla="*/ 0 h 367327"/>
                  <a:gd name="connsiteX11" fmla="*/ 167887 w 216045"/>
                  <a:gd name="connsiteY11" fmla="*/ 120535 h 367327"/>
                  <a:gd name="connsiteX12" fmla="*/ 156967 w 216045"/>
                  <a:gd name="connsiteY12" fmla="*/ 92816 h 367327"/>
                  <a:gd name="connsiteX13" fmla="*/ 77171 w 216045"/>
                  <a:gd name="connsiteY13" fmla="*/ 78117 h 367327"/>
                  <a:gd name="connsiteX14" fmla="*/ 76751 w 216045"/>
                  <a:gd name="connsiteY14" fmla="*/ 94496 h 367327"/>
                  <a:gd name="connsiteX15" fmla="*/ 78431 w 216045"/>
                  <a:gd name="connsiteY15" fmla="*/ 146994 h 367327"/>
                  <a:gd name="connsiteX16" fmla="*/ 67511 w 216045"/>
                  <a:gd name="connsiteY16" fmla="*/ 157913 h 367327"/>
                  <a:gd name="connsiteX17" fmla="*/ 66671 w 216045"/>
                  <a:gd name="connsiteY17" fmla="*/ 211671 h 367327"/>
                  <a:gd name="connsiteX18" fmla="*/ 78011 w 216045"/>
                  <a:gd name="connsiteY18" fmla="*/ 220910 h 367327"/>
                  <a:gd name="connsiteX19" fmla="*/ 91450 w 216045"/>
                  <a:gd name="connsiteY19" fmla="*/ 209571 h 367327"/>
                  <a:gd name="connsiteX20" fmla="*/ 110349 w 216045"/>
                  <a:gd name="connsiteY20" fmla="*/ 190672 h 367327"/>
                  <a:gd name="connsiteX21" fmla="*/ 119169 w 216045"/>
                  <a:gd name="connsiteY21" fmla="*/ 213771 h 367327"/>
                  <a:gd name="connsiteX22" fmla="*/ 127149 w 216045"/>
                  <a:gd name="connsiteY22" fmla="*/ 229310 h 367327"/>
                  <a:gd name="connsiteX23" fmla="*/ 141008 w 216045"/>
                  <a:gd name="connsiteY23" fmla="*/ 217970 h 367327"/>
                  <a:gd name="connsiteX24" fmla="*/ 159067 w 216045"/>
                  <a:gd name="connsiteY24" fmla="*/ 151194 h 367327"/>
                  <a:gd name="connsiteX25" fmla="*/ 167887 w 216045"/>
                  <a:gd name="connsiteY25" fmla="*/ 120535 h 367327"/>
                  <a:gd name="connsiteX26" fmla="*/ 113289 w 216045"/>
                  <a:gd name="connsiteY26" fmla="*/ 314566 h 367327"/>
                  <a:gd name="connsiteX27" fmla="*/ 122949 w 216045"/>
                  <a:gd name="connsiteY27" fmla="*/ 296927 h 367327"/>
                  <a:gd name="connsiteX28" fmla="*/ 102790 w 216045"/>
                  <a:gd name="connsiteY28" fmla="*/ 248629 h 367327"/>
                  <a:gd name="connsiteX29" fmla="*/ 85151 w 216045"/>
                  <a:gd name="connsiteY29" fmla="*/ 247369 h 367327"/>
                  <a:gd name="connsiteX30" fmla="*/ 75491 w 216045"/>
                  <a:gd name="connsiteY30" fmla="*/ 268368 h 367327"/>
                  <a:gd name="connsiteX31" fmla="*/ 99430 w 216045"/>
                  <a:gd name="connsiteY31" fmla="*/ 307427 h 367327"/>
                  <a:gd name="connsiteX32" fmla="*/ 113289 w 216045"/>
                  <a:gd name="connsiteY32" fmla="*/ 314566 h 367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16045" h="367327">
                    <a:moveTo>
                      <a:pt x="110769" y="0"/>
                    </a:moveTo>
                    <a:cubicBezTo>
                      <a:pt x="150668" y="5460"/>
                      <a:pt x="182586" y="12599"/>
                      <a:pt x="198966" y="41578"/>
                    </a:cubicBezTo>
                    <a:cubicBezTo>
                      <a:pt x="214505" y="68877"/>
                      <a:pt x="222065" y="99116"/>
                      <a:pt x="210305" y="133554"/>
                    </a:cubicBezTo>
                    <a:cubicBezTo>
                      <a:pt x="198126" y="168413"/>
                      <a:pt x="194766" y="206631"/>
                      <a:pt x="187626" y="243169"/>
                    </a:cubicBezTo>
                    <a:cubicBezTo>
                      <a:pt x="180486" y="278868"/>
                      <a:pt x="167467" y="312466"/>
                      <a:pt x="146468" y="341865"/>
                    </a:cubicBezTo>
                    <a:cubicBezTo>
                      <a:pt x="125049" y="371684"/>
                      <a:pt x="117489" y="372524"/>
                      <a:pt x="80951" y="358664"/>
                    </a:cubicBezTo>
                    <a:cubicBezTo>
                      <a:pt x="46512" y="346065"/>
                      <a:pt x="35173" y="328846"/>
                      <a:pt x="36013" y="293987"/>
                    </a:cubicBezTo>
                    <a:cubicBezTo>
                      <a:pt x="36433" y="282648"/>
                      <a:pt x="33073" y="271308"/>
                      <a:pt x="30133" y="260389"/>
                    </a:cubicBezTo>
                    <a:cubicBezTo>
                      <a:pt x="23833" y="238970"/>
                      <a:pt x="16694" y="218391"/>
                      <a:pt x="9134" y="197392"/>
                    </a:cubicBezTo>
                    <a:cubicBezTo>
                      <a:pt x="-18165" y="120535"/>
                      <a:pt x="19633" y="64257"/>
                      <a:pt x="70871" y="14279"/>
                    </a:cubicBezTo>
                    <a:cubicBezTo>
                      <a:pt x="81371" y="4200"/>
                      <a:pt x="101530" y="3360"/>
                      <a:pt x="110769" y="0"/>
                    </a:cubicBezTo>
                    <a:close/>
                    <a:moveTo>
                      <a:pt x="167887" y="120535"/>
                    </a:moveTo>
                    <a:cubicBezTo>
                      <a:pt x="164527" y="111295"/>
                      <a:pt x="162427" y="100796"/>
                      <a:pt x="156967" y="92816"/>
                    </a:cubicBezTo>
                    <a:cubicBezTo>
                      <a:pt x="136388" y="62997"/>
                      <a:pt x="109090" y="57957"/>
                      <a:pt x="77171" y="78117"/>
                    </a:cubicBezTo>
                    <a:cubicBezTo>
                      <a:pt x="74651" y="79797"/>
                      <a:pt x="74231" y="92816"/>
                      <a:pt x="76751" y="94496"/>
                    </a:cubicBezTo>
                    <a:cubicBezTo>
                      <a:pt x="102370" y="111715"/>
                      <a:pt x="88930" y="129354"/>
                      <a:pt x="78431" y="146994"/>
                    </a:cubicBezTo>
                    <a:cubicBezTo>
                      <a:pt x="75911" y="151194"/>
                      <a:pt x="70031" y="153713"/>
                      <a:pt x="67511" y="157913"/>
                    </a:cubicBezTo>
                    <a:cubicBezTo>
                      <a:pt x="56592" y="175552"/>
                      <a:pt x="58692" y="194032"/>
                      <a:pt x="66671" y="211671"/>
                    </a:cubicBezTo>
                    <a:cubicBezTo>
                      <a:pt x="68351" y="215871"/>
                      <a:pt x="75071" y="221750"/>
                      <a:pt x="78011" y="220910"/>
                    </a:cubicBezTo>
                    <a:cubicBezTo>
                      <a:pt x="83470" y="219651"/>
                      <a:pt x="90190" y="214611"/>
                      <a:pt x="91450" y="209571"/>
                    </a:cubicBezTo>
                    <a:cubicBezTo>
                      <a:pt x="94390" y="199071"/>
                      <a:pt x="96070" y="188152"/>
                      <a:pt x="110349" y="190672"/>
                    </a:cubicBezTo>
                    <a:cubicBezTo>
                      <a:pt x="125049" y="193192"/>
                      <a:pt x="123369" y="202011"/>
                      <a:pt x="119169" y="213771"/>
                    </a:cubicBezTo>
                    <a:cubicBezTo>
                      <a:pt x="117909" y="217551"/>
                      <a:pt x="124209" y="223850"/>
                      <a:pt x="127149" y="229310"/>
                    </a:cubicBezTo>
                    <a:cubicBezTo>
                      <a:pt x="132189" y="225530"/>
                      <a:pt x="141428" y="220910"/>
                      <a:pt x="141008" y="217970"/>
                    </a:cubicBezTo>
                    <a:cubicBezTo>
                      <a:pt x="138068" y="192772"/>
                      <a:pt x="149828" y="172612"/>
                      <a:pt x="159067" y="151194"/>
                    </a:cubicBezTo>
                    <a:cubicBezTo>
                      <a:pt x="163267" y="141954"/>
                      <a:pt x="164947" y="131874"/>
                      <a:pt x="167887" y="120535"/>
                    </a:cubicBezTo>
                    <a:close/>
                    <a:moveTo>
                      <a:pt x="113289" y="314566"/>
                    </a:moveTo>
                    <a:cubicBezTo>
                      <a:pt x="117069" y="307427"/>
                      <a:pt x="124209" y="298607"/>
                      <a:pt x="122949" y="296927"/>
                    </a:cubicBezTo>
                    <a:cubicBezTo>
                      <a:pt x="111189" y="282648"/>
                      <a:pt x="100690" y="268788"/>
                      <a:pt x="102790" y="248629"/>
                    </a:cubicBezTo>
                    <a:cubicBezTo>
                      <a:pt x="96490" y="247789"/>
                      <a:pt x="87670" y="244430"/>
                      <a:pt x="85151" y="247369"/>
                    </a:cubicBezTo>
                    <a:cubicBezTo>
                      <a:pt x="79691" y="252409"/>
                      <a:pt x="73391" y="263329"/>
                      <a:pt x="75491" y="268368"/>
                    </a:cubicBezTo>
                    <a:cubicBezTo>
                      <a:pt x="81371" y="282228"/>
                      <a:pt x="90610" y="294827"/>
                      <a:pt x="99430" y="307427"/>
                    </a:cubicBezTo>
                    <a:cubicBezTo>
                      <a:pt x="101530" y="310787"/>
                      <a:pt x="107410" y="311627"/>
                      <a:pt x="113289" y="31456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5302A7C5-D357-38E9-A52C-1924D8E8EC67}"/>
                  </a:ext>
                </a:extLst>
              </p:cNvPr>
              <p:cNvSpPr/>
              <p:nvPr/>
            </p:nvSpPr>
            <p:spPr>
              <a:xfrm>
                <a:off x="7016112" y="3440191"/>
                <a:ext cx="232112" cy="229002"/>
              </a:xfrm>
              <a:custGeom>
                <a:avLst/>
                <a:gdLst>
                  <a:gd name="connsiteX0" fmla="*/ 232113 w 232112"/>
                  <a:gd name="connsiteY0" fmla="*/ 119996 h 229002"/>
                  <a:gd name="connsiteX1" fmla="*/ 164915 w 232112"/>
                  <a:gd name="connsiteY1" fmla="*/ 224991 h 229002"/>
                  <a:gd name="connsiteX2" fmla="*/ 30941 w 232112"/>
                  <a:gd name="connsiteY2" fmla="*/ 205252 h 229002"/>
                  <a:gd name="connsiteX3" fmla="*/ 9102 w 232112"/>
                  <a:gd name="connsiteY3" fmla="*/ 160734 h 229002"/>
                  <a:gd name="connsiteX4" fmla="*/ 7842 w 232112"/>
                  <a:gd name="connsiteY4" fmla="*/ 145195 h 229002"/>
                  <a:gd name="connsiteX5" fmla="*/ 14562 w 232112"/>
                  <a:gd name="connsiteY5" fmla="*/ 71698 h 229002"/>
                  <a:gd name="connsiteX6" fmla="*/ 82599 w 232112"/>
                  <a:gd name="connsiteY6" fmla="*/ 5341 h 229002"/>
                  <a:gd name="connsiteX7" fmla="*/ 102338 w 232112"/>
                  <a:gd name="connsiteY7" fmla="*/ 721 h 229002"/>
                  <a:gd name="connsiteX8" fmla="*/ 133837 w 232112"/>
                  <a:gd name="connsiteY8" fmla="*/ 11221 h 229002"/>
                  <a:gd name="connsiteX9" fmla="*/ 106538 w 232112"/>
                  <a:gd name="connsiteY9" fmla="*/ 51959 h 229002"/>
                  <a:gd name="connsiteX10" fmla="*/ 52780 w 232112"/>
                  <a:gd name="connsiteY10" fmla="*/ 84717 h 229002"/>
                  <a:gd name="connsiteX11" fmla="*/ 83439 w 232112"/>
                  <a:gd name="connsiteY11" fmla="*/ 152335 h 229002"/>
                  <a:gd name="connsiteX12" fmla="*/ 115777 w 232112"/>
                  <a:gd name="connsiteY12" fmla="*/ 167034 h 229002"/>
                  <a:gd name="connsiteX13" fmla="*/ 130897 w 232112"/>
                  <a:gd name="connsiteY13" fmla="*/ 165354 h 229002"/>
                  <a:gd name="connsiteX14" fmla="*/ 163655 w 232112"/>
                  <a:gd name="connsiteY14" fmla="*/ 100257 h 229002"/>
                  <a:gd name="connsiteX15" fmla="*/ 191374 w 232112"/>
                  <a:gd name="connsiteY15" fmla="*/ 35160 h 229002"/>
                  <a:gd name="connsiteX16" fmla="*/ 206493 w 232112"/>
                  <a:gd name="connsiteY16" fmla="*/ 41039 h 229002"/>
                  <a:gd name="connsiteX17" fmla="*/ 227072 w 232112"/>
                  <a:gd name="connsiteY17" fmla="*/ 98997 h 229002"/>
                  <a:gd name="connsiteX18" fmla="*/ 232113 w 232112"/>
                  <a:gd name="connsiteY18" fmla="*/ 119996 h 229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2112" h="229002">
                    <a:moveTo>
                      <a:pt x="232113" y="119996"/>
                    </a:moveTo>
                    <a:cubicBezTo>
                      <a:pt x="224133" y="163254"/>
                      <a:pt x="202294" y="199793"/>
                      <a:pt x="164915" y="224991"/>
                    </a:cubicBezTo>
                    <a:cubicBezTo>
                      <a:pt x="147276" y="236751"/>
                      <a:pt x="48580" y="220371"/>
                      <a:pt x="30941" y="205252"/>
                    </a:cubicBezTo>
                    <a:cubicBezTo>
                      <a:pt x="17081" y="193493"/>
                      <a:pt x="7002" y="180053"/>
                      <a:pt x="9102" y="160734"/>
                    </a:cubicBezTo>
                    <a:cubicBezTo>
                      <a:pt x="9522" y="155694"/>
                      <a:pt x="10362" y="149395"/>
                      <a:pt x="7842" y="145195"/>
                    </a:cubicBezTo>
                    <a:cubicBezTo>
                      <a:pt x="-7277" y="118736"/>
                      <a:pt x="1962" y="95637"/>
                      <a:pt x="14562" y="71698"/>
                    </a:cubicBezTo>
                    <a:cubicBezTo>
                      <a:pt x="30521" y="41879"/>
                      <a:pt x="50260" y="17100"/>
                      <a:pt x="82599" y="5341"/>
                    </a:cubicBezTo>
                    <a:cubicBezTo>
                      <a:pt x="88899" y="2821"/>
                      <a:pt x="96038" y="301"/>
                      <a:pt x="102338" y="721"/>
                    </a:cubicBezTo>
                    <a:cubicBezTo>
                      <a:pt x="113677" y="1141"/>
                      <a:pt x="127957" y="-4739"/>
                      <a:pt x="133837" y="11221"/>
                    </a:cubicBezTo>
                    <a:cubicBezTo>
                      <a:pt x="139296" y="25920"/>
                      <a:pt x="124177" y="50279"/>
                      <a:pt x="106538" y="51959"/>
                    </a:cubicBezTo>
                    <a:cubicBezTo>
                      <a:pt x="82599" y="54479"/>
                      <a:pt x="60340" y="60358"/>
                      <a:pt x="52780" y="84717"/>
                    </a:cubicBezTo>
                    <a:cubicBezTo>
                      <a:pt x="43120" y="114116"/>
                      <a:pt x="69159" y="132175"/>
                      <a:pt x="83439" y="152335"/>
                    </a:cubicBezTo>
                    <a:cubicBezTo>
                      <a:pt x="89318" y="160734"/>
                      <a:pt x="104438" y="163254"/>
                      <a:pt x="115777" y="167034"/>
                    </a:cubicBezTo>
                    <a:cubicBezTo>
                      <a:pt x="119977" y="168294"/>
                      <a:pt x="126277" y="167454"/>
                      <a:pt x="130897" y="165354"/>
                    </a:cubicBezTo>
                    <a:cubicBezTo>
                      <a:pt x="143916" y="159054"/>
                      <a:pt x="168275" y="113276"/>
                      <a:pt x="163655" y="100257"/>
                    </a:cubicBezTo>
                    <a:cubicBezTo>
                      <a:pt x="152736" y="69178"/>
                      <a:pt x="171635" y="51959"/>
                      <a:pt x="191374" y="35160"/>
                    </a:cubicBezTo>
                    <a:cubicBezTo>
                      <a:pt x="193474" y="33480"/>
                      <a:pt x="206493" y="38939"/>
                      <a:pt x="206493" y="41039"/>
                    </a:cubicBezTo>
                    <a:cubicBezTo>
                      <a:pt x="206493" y="62878"/>
                      <a:pt x="216993" y="80518"/>
                      <a:pt x="227072" y="98997"/>
                    </a:cubicBezTo>
                    <a:cubicBezTo>
                      <a:pt x="230852" y="104037"/>
                      <a:pt x="230433" y="111596"/>
                      <a:pt x="232113" y="11999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8C51E2B9-DB7B-E7D8-ED22-7038B660E63D}"/>
                  </a:ext>
                </a:extLst>
              </p:cNvPr>
              <p:cNvSpPr/>
              <p:nvPr/>
            </p:nvSpPr>
            <p:spPr>
              <a:xfrm>
                <a:off x="7123934" y="3774622"/>
                <a:ext cx="132585" cy="158508"/>
              </a:xfrm>
              <a:custGeom>
                <a:avLst/>
                <a:gdLst>
                  <a:gd name="connsiteX0" fmla="*/ 72213 w 132585"/>
                  <a:gd name="connsiteY0" fmla="*/ 158508 h 158508"/>
                  <a:gd name="connsiteX1" fmla="*/ 5435 w 132585"/>
                  <a:gd name="connsiteY1" fmla="*/ 113150 h 158508"/>
                  <a:gd name="connsiteX2" fmla="*/ 18035 w 132585"/>
                  <a:gd name="connsiteY2" fmla="*/ 31674 h 158508"/>
                  <a:gd name="connsiteX3" fmla="*/ 103291 w 132585"/>
                  <a:gd name="connsiteY3" fmla="*/ 17395 h 158508"/>
                  <a:gd name="connsiteX4" fmla="*/ 102031 w 132585"/>
                  <a:gd name="connsiteY4" fmla="*/ 148849 h 158508"/>
                  <a:gd name="connsiteX5" fmla="*/ 72213 w 132585"/>
                  <a:gd name="connsiteY5" fmla="*/ 158508 h 158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2585" h="158508">
                    <a:moveTo>
                      <a:pt x="72213" y="158508"/>
                    </a:moveTo>
                    <a:cubicBezTo>
                      <a:pt x="26435" y="158089"/>
                      <a:pt x="18875" y="147589"/>
                      <a:pt x="5435" y="113150"/>
                    </a:cubicBezTo>
                    <a:cubicBezTo>
                      <a:pt x="-6744" y="81232"/>
                      <a:pt x="3336" y="57293"/>
                      <a:pt x="18035" y="31674"/>
                    </a:cubicBezTo>
                    <a:cubicBezTo>
                      <a:pt x="39034" y="-4445"/>
                      <a:pt x="73052" y="-10324"/>
                      <a:pt x="103291" y="17395"/>
                    </a:cubicBezTo>
                    <a:cubicBezTo>
                      <a:pt x="142349" y="53093"/>
                      <a:pt x="142769" y="115670"/>
                      <a:pt x="102031" y="148849"/>
                    </a:cubicBezTo>
                    <a:cubicBezTo>
                      <a:pt x="92372" y="156828"/>
                      <a:pt x="76412" y="157248"/>
                      <a:pt x="72213" y="15850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4BBFCF65-865A-A0BB-6AF2-1961D7A94E11}"/>
                  </a:ext>
                </a:extLst>
              </p:cNvPr>
              <p:cNvSpPr/>
              <p:nvPr/>
            </p:nvSpPr>
            <p:spPr>
              <a:xfrm>
                <a:off x="7098700" y="3156989"/>
                <a:ext cx="126694" cy="157705"/>
              </a:xfrm>
              <a:custGeom>
                <a:avLst/>
                <a:gdLst>
                  <a:gd name="connsiteX0" fmla="*/ 10 w 126694"/>
                  <a:gd name="connsiteY0" fmla="*/ 80651 h 157705"/>
                  <a:gd name="connsiteX1" fmla="*/ 10 w 126694"/>
                  <a:gd name="connsiteY1" fmla="*/ 75611 h 157705"/>
                  <a:gd name="connsiteX2" fmla="*/ 39909 w 126694"/>
                  <a:gd name="connsiteY2" fmla="*/ 2534 h 157705"/>
                  <a:gd name="connsiteX3" fmla="*/ 115506 w 126694"/>
                  <a:gd name="connsiteY3" fmla="*/ 37393 h 157705"/>
                  <a:gd name="connsiteX4" fmla="*/ 123905 w 126694"/>
                  <a:gd name="connsiteY4" fmla="*/ 91151 h 157705"/>
                  <a:gd name="connsiteX5" fmla="*/ 115085 w 126694"/>
                  <a:gd name="connsiteY5" fmla="*/ 109630 h 157705"/>
                  <a:gd name="connsiteX6" fmla="*/ 62168 w 126694"/>
                  <a:gd name="connsiteY6" fmla="*/ 157087 h 157705"/>
                  <a:gd name="connsiteX7" fmla="*/ 10 w 126694"/>
                  <a:gd name="connsiteY7" fmla="*/ 80651 h 157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6694" h="157705">
                    <a:moveTo>
                      <a:pt x="10" y="80651"/>
                    </a:moveTo>
                    <a:cubicBezTo>
                      <a:pt x="10" y="78971"/>
                      <a:pt x="10" y="77291"/>
                      <a:pt x="10" y="75611"/>
                    </a:cubicBezTo>
                    <a:cubicBezTo>
                      <a:pt x="-410" y="43692"/>
                      <a:pt x="11770" y="17654"/>
                      <a:pt x="39909" y="2534"/>
                    </a:cubicBezTo>
                    <a:cubicBezTo>
                      <a:pt x="57968" y="-7125"/>
                      <a:pt x="94086" y="12194"/>
                      <a:pt x="115506" y="37393"/>
                    </a:cubicBezTo>
                    <a:cubicBezTo>
                      <a:pt x="129785" y="54192"/>
                      <a:pt x="127685" y="72251"/>
                      <a:pt x="123905" y="91151"/>
                    </a:cubicBezTo>
                    <a:cubicBezTo>
                      <a:pt x="122645" y="97870"/>
                      <a:pt x="118865" y="103750"/>
                      <a:pt x="115085" y="109630"/>
                    </a:cubicBezTo>
                    <a:cubicBezTo>
                      <a:pt x="102066" y="130629"/>
                      <a:pt x="96606" y="162547"/>
                      <a:pt x="62168" y="157087"/>
                    </a:cubicBezTo>
                    <a:cubicBezTo>
                      <a:pt x="21010" y="149528"/>
                      <a:pt x="10" y="121809"/>
                      <a:pt x="10" y="8065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60B6AD31-B8CC-5963-9F6B-AC9A667A63FB}"/>
                  </a:ext>
                </a:extLst>
              </p:cNvPr>
              <p:cNvSpPr/>
              <p:nvPr/>
            </p:nvSpPr>
            <p:spPr>
              <a:xfrm>
                <a:off x="7109389" y="3523130"/>
                <a:ext cx="40588" cy="52595"/>
              </a:xfrm>
              <a:custGeom>
                <a:avLst/>
                <a:gdLst>
                  <a:gd name="connsiteX0" fmla="*/ 22500 w 40588"/>
                  <a:gd name="connsiteY0" fmla="*/ 52595 h 52595"/>
                  <a:gd name="connsiteX1" fmla="*/ 9061 w 40588"/>
                  <a:gd name="connsiteY1" fmla="*/ 46296 h 52595"/>
                  <a:gd name="connsiteX2" fmla="*/ 4441 w 40588"/>
                  <a:gd name="connsiteY2" fmla="*/ 14377 h 52595"/>
                  <a:gd name="connsiteX3" fmla="*/ 33840 w 40588"/>
                  <a:gd name="connsiteY3" fmla="*/ 1358 h 52595"/>
                  <a:gd name="connsiteX4" fmla="*/ 40560 w 40588"/>
                  <a:gd name="connsiteY4" fmla="*/ 7657 h 52595"/>
                  <a:gd name="connsiteX5" fmla="*/ 22500 w 40588"/>
                  <a:gd name="connsiteY5" fmla="*/ 52595 h 52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88" h="52595">
                    <a:moveTo>
                      <a:pt x="22500" y="52595"/>
                    </a:moveTo>
                    <a:cubicBezTo>
                      <a:pt x="14941" y="49235"/>
                      <a:pt x="11161" y="48396"/>
                      <a:pt x="9061" y="46296"/>
                    </a:cubicBezTo>
                    <a:cubicBezTo>
                      <a:pt x="-1859" y="37056"/>
                      <a:pt x="-2279" y="26136"/>
                      <a:pt x="4441" y="14377"/>
                    </a:cubicBezTo>
                    <a:cubicBezTo>
                      <a:pt x="11161" y="3037"/>
                      <a:pt x="20400" y="-2842"/>
                      <a:pt x="33840" y="1358"/>
                    </a:cubicBezTo>
                    <a:cubicBezTo>
                      <a:pt x="36780" y="2198"/>
                      <a:pt x="40979" y="6397"/>
                      <a:pt x="40560" y="7657"/>
                    </a:cubicBezTo>
                    <a:cubicBezTo>
                      <a:pt x="35100" y="22777"/>
                      <a:pt x="28800" y="37476"/>
                      <a:pt x="22500" y="5259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E9247E9-8541-4463-017C-E7B281F7C7E5}"/>
                  </a:ext>
                </a:extLst>
              </p:cNvPr>
              <p:cNvSpPr/>
              <p:nvPr/>
            </p:nvSpPr>
            <p:spPr>
              <a:xfrm>
                <a:off x="6295082" y="3241840"/>
                <a:ext cx="48035" cy="134814"/>
              </a:xfrm>
              <a:custGeom>
                <a:avLst/>
                <a:gdLst>
                  <a:gd name="connsiteX0" fmla="*/ 16162 w 48035"/>
                  <a:gd name="connsiteY0" fmla="*/ 78536 h 134814"/>
                  <a:gd name="connsiteX1" fmla="*/ 8603 w 48035"/>
                  <a:gd name="connsiteY1" fmla="*/ 64677 h 134814"/>
                  <a:gd name="connsiteX2" fmla="*/ 9862 w 48035"/>
                  <a:gd name="connsiteY2" fmla="*/ 21419 h 134814"/>
                  <a:gd name="connsiteX3" fmla="*/ 28762 w 48035"/>
                  <a:gd name="connsiteY3" fmla="*/ 0 h 134814"/>
                  <a:gd name="connsiteX4" fmla="*/ 47661 w 48035"/>
                  <a:gd name="connsiteY4" fmla="*/ 31919 h 134814"/>
                  <a:gd name="connsiteX5" fmla="*/ 39261 w 48035"/>
                  <a:gd name="connsiteY5" fmla="*/ 97856 h 134814"/>
                  <a:gd name="connsiteX6" fmla="*/ 25402 w 48035"/>
                  <a:gd name="connsiteY6" fmla="*/ 124315 h 134814"/>
                  <a:gd name="connsiteX7" fmla="*/ 3563 w 48035"/>
                  <a:gd name="connsiteY7" fmla="*/ 134814 h 134814"/>
                  <a:gd name="connsiteX8" fmla="*/ 623 w 48035"/>
                  <a:gd name="connsiteY8" fmla="*/ 110875 h 134814"/>
                  <a:gd name="connsiteX9" fmla="*/ 16162 w 48035"/>
                  <a:gd name="connsiteY9" fmla="*/ 78536 h 134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35" h="134814">
                    <a:moveTo>
                      <a:pt x="16162" y="78536"/>
                    </a:moveTo>
                    <a:cubicBezTo>
                      <a:pt x="13642" y="73917"/>
                      <a:pt x="11962" y="68457"/>
                      <a:pt x="8603" y="64677"/>
                    </a:cubicBezTo>
                    <a:cubicBezTo>
                      <a:pt x="-4417" y="49978"/>
                      <a:pt x="5243" y="34858"/>
                      <a:pt x="9862" y="21419"/>
                    </a:cubicBezTo>
                    <a:cubicBezTo>
                      <a:pt x="12802" y="13019"/>
                      <a:pt x="22462" y="7139"/>
                      <a:pt x="28762" y="0"/>
                    </a:cubicBezTo>
                    <a:cubicBezTo>
                      <a:pt x="35481" y="10919"/>
                      <a:pt x="50601" y="26039"/>
                      <a:pt x="47661" y="31919"/>
                    </a:cubicBezTo>
                    <a:cubicBezTo>
                      <a:pt x="36321" y="53758"/>
                      <a:pt x="42201" y="76017"/>
                      <a:pt x="39261" y="97856"/>
                    </a:cubicBezTo>
                    <a:cubicBezTo>
                      <a:pt x="38001" y="107515"/>
                      <a:pt x="31702" y="117175"/>
                      <a:pt x="25402" y="124315"/>
                    </a:cubicBezTo>
                    <a:cubicBezTo>
                      <a:pt x="20362" y="129774"/>
                      <a:pt x="11122" y="131454"/>
                      <a:pt x="3563" y="134814"/>
                    </a:cubicBezTo>
                    <a:cubicBezTo>
                      <a:pt x="2303" y="126834"/>
                      <a:pt x="-1477" y="118015"/>
                      <a:pt x="623" y="110875"/>
                    </a:cubicBezTo>
                    <a:cubicBezTo>
                      <a:pt x="3143" y="99536"/>
                      <a:pt x="10703" y="89456"/>
                      <a:pt x="16162" y="7853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113D4613-8021-811F-4C0B-71FC8F3DBA5D}"/>
                  </a:ext>
                </a:extLst>
              </p:cNvPr>
              <p:cNvSpPr/>
              <p:nvPr/>
            </p:nvSpPr>
            <p:spPr>
              <a:xfrm>
                <a:off x="6014008" y="2009613"/>
                <a:ext cx="59029" cy="117395"/>
              </a:xfrm>
              <a:custGeom>
                <a:avLst/>
                <a:gdLst>
                  <a:gd name="connsiteX0" fmla="*/ 26348 w 59029"/>
                  <a:gd name="connsiteY0" fmla="*/ 0 h 117395"/>
                  <a:gd name="connsiteX1" fmla="*/ 35588 w 59029"/>
                  <a:gd name="connsiteY1" fmla="*/ 10920 h 117395"/>
                  <a:gd name="connsiteX2" fmla="*/ 57427 w 59029"/>
                  <a:gd name="connsiteY2" fmla="*/ 88196 h 117395"/>
                  <a:gd name="connsiteX3" fmla="*/ 58687 w 59029"/>
                  <a:gd name="connsiteY3" fmla="*/ 103316 h 117395"/>
                  <a:gd name="connsiteX4" fmla="*/ 52807 w 59029"/>
                  <a:gd name="connsiteY4" fmla="*/ 116335 h 117395"/>
                  <a:gd name="connsiteX5" fmla="*/ 39368 w 59029"/>
                  <a:gd name="connsiteY5" fmla="*/ 114655 h 117395"/>
                  <a:gd name="connsiteX6" fmla="*/ 17109 w 59029"/>
                  <a:gd name="connsiteY6" fmla="*/ 86936 h 117395"/>
                  <a:gd name="connsiteX7" fmla="*/ 7029 w 59029"/>
                  <a:gd name="connsiteY7" fmla="*/ 63837 h 117395"/>
                  <a:gd name="connsiteX8" fmla="*/ 16269 w 59029"/>
                  <a:gd name="connsiteY8" fmla="*/ 1260 h 117395"/>
                  <a:gd name="connsiteX9" fmla="*/ 26348 w 59029"/>
                  <a:gd name="connsiteY9" fmla="*/ 0 h 11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029" h="117395">
                    <a:moveTo>
                      <a:pt x="26348" y="0"/>
                    </a:moveTo>
                    <a:cubicBezTo>
                      <a:pt x="29288" y="3360"/>
                      <a:pt x="36008" y="7560"/>
                      <a:pt x="35588" y="10920"/>
                    </a:cubicBezTo>
                    <a:cubicBezTo>
                      <a:pt x="33488" y="39478"/>
                      <a:pt x="46927" y="63417"/>
                      <a:pt x="57427" y="88196"/>
                    </a:cubicBezTo>
                    <a:cubicBezTo>
                      <a:pt x="59527" y="92816"/>
                      <a:pt x="59107" y="98696"/>
                      <a:pt x="58687" y="103316"/>
                    </a:cubicBezTo>
                    <a:cubicBezTo>
                      <a:pt x="57847" y="107935"/>
                      <a:pt x="56587" y="114235"/>
                      <a:pt x="52807" y="116335"/>
                    </a:cubicBezTo>
                    <a:cubicBezTo>
                      <a:pt x="49867" y="118435"/>
                      <a:pt x="41888" y="117175"/>
                      <a:pt x="39368" y="114655"/>
                    </a:cubicBezTo>
                    <a:cubicBezTo>
                      <a:pt x="30968" y="106255"/>
                      <a:pt x="23828" y="97016"/>
                      <a:pt x="17109" y="86936"/>
                    </a:cubicBezTo>
                    <a:cubicBezTo>
                      <a:pt x="12489" y="80217"/>
                      <a:pt x="11229" y="71397"/>
                      <a:pt x="7029" y="63837"/>
                    </a:cubicBezTo>
                    <a:cubicBezTo>
                      <a:pt x="-4730" y="41578"/>
                      <a:pt x="-1791" y="17639"/>
                      <a:pt x="16269" y="1260"/>
                    </a:cubicBezTo>
                    <a:cubicBezTo>
                      <a:pt x="18789" y="0"/>
                      <a:pt x="22568" y="420"/>
                      <a:pt x="26348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9D5C88E-9C90-16E1-1836-FE956B6ABEED}"/>
                  </a:ext>
                </a:extLst>
              </p:cNvPr>
              <p:cNvSpPr/>
              <p:nvPr/>
            </p:nvSpPr>
            <p:spPr>
              <a:xfrm>
                <a:off x="5738183" y="1821240"/>
                <a:ext cx="72443" cy="111146"/>
              </a:xfrm>
              <a:custGeom>
                <a:avLst/>
                <a:gdLst>
                  <a:gd name="connsiteX0" fmla="*/ 72443 w 72443"/>
                  <a:gd name="connsiteY0" fmla="*/ 10720 h 111146"/>
                  <a:gd name="connsiteX1" fmla="*/ 68663 w 72443"/>
                  <a:gd name="connsiteY1" fmla="*/ 25840 h 111146"/>
                  <a:gd name="connsiteX2" fmla="*/ 31285 w 72443"/>
                  <a:gd name="connsiteY2" fmla="*/ 99757 h 111146"/>
                  <a:gd name="connsiteX3" fmla="*/ 6086 w 72443"/>
                  <a:gd name="connsiteY3" fmla="*/ 108156 h 111146"/>
                  <a:gd name="connsiteX4" fmla="*/ 206 w 72443"/>
                  <a:gd name="connsiteY4" fmla="*/ 85477 h 111146"/>
                  <a:gd name="connsiteX5" fmla="*/ 9866 w 72443"/>
                  <a:gd name="connsiteY5" fmla="*/ 67418 h 111146"/>
                  <a:gd name="connsiteX6" fmla="*/ 53124 w 72443"/>
                  <a:gd name="connsiteY6" fmla="*/ 3161 h 111146"/>
                  <a:gd name="connsiteX7" fmla="*/ 60684 w 72443"/>
                  <a:gd name="connsiteY7" fmla="*/ 221 h 111146"/>
                  <a:gd name="connsiteX8" fmla="*/ 72443 w 72443"/>
                  <a:gd name="connsiteY8" fmla="*/ 10720 h 11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443" h="111146">
                    <a:moveTo>
                      <a:pt x="72443" y="10720"/>
                    </a:moveTo>
                    <a:cubicBezTo>
                      <a:pt x="71183" y="16180"/>
                      <a:pt x="70763" y="21220"/>
                      <a:pt x="68663" y="25840"/>
                    </a:cubicBezTo>
                    <a:cubicBezTo>
                      <a:pt x="56484" y="50619"/>
                      <a:pt x="43044" y="74978"/>
                      <a:pt x="31285" y="99757"/>
                    </a:cubicBezTo>
                    <a:cubicBezTo>
                      <a:pt x="25405" y="112776"/>
                      <a:pt x="14486" y="113196"/>
                      <a:pt x="6086" y="108156"/>
                    </a:cubicBezTo>
                    <a:cubicBezTo>
                      <a:pt x="1046" y="105216"/>
                      <a:pt x="-634" y="93457"/>
                      <a:pt x="206" y="85477"/>
                    </a:cubicBezTo>
                    <a:cubicBezTo>
                      <a:pt x="626" y="79177"/>
                      <a:pt x="6086" y="73298"/>
                      <a:pt x="9866" y="67418"/>
                    </a:cubicBezTo>
                    <a:cubicBezTo>
                      <a:pt x="24145" y="45999"/>
                      <a:pt x="38425" y="24580"/>
                      <a:pt x="53124" y="3161"/>
                    </a:cubicBezTo>
                    <a:cubicBezTo>
                      <a:pt x="54384" y="1061"/>
                      <a:pt x="59004" y="-619"/>
                      <a:pt x="60684" y="221"/>
                    </a:cubicBezTo>
                    <a:cubicBezTo>
                      <a:pt x="64463" y="2741"/>
                      <a:pt x="68243" y="6521"/>
                      <a:pt x="72443" y="1072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C5F5BBA4-BB96-DA8A-4562-B68C8FD5F7DB}"/>
                  </a:ext>
                </a:extLst>
              </p:cNvPr>
              <p:cNvSpPr/>
              <p:nvPr/>
            </p:nvSpPr>
            <p:spPr>
              <a:xfrm>
                <a:off x="6325524" y="1829307"/>
                <a:ext cx="91300" cy="90916"/>
              </a:xfrm>
              <a:custGeom>
                <a:avLst/>
                <a:gdLst>
                  <a:gd name="connsiteX0" fmla="*/ 0 w 91300"/>
                  <a:gd name="connsiteY0" fmla="*/ 77830 h 90916"/>
                  <a:gd name="connsiteX1" fmla="*/ 10920 w 91300"/>
                  <a:gd name="connsiteY1" fmla="*/ 62711 h 90916"/>
                  <a:gd name="connsiteX2" fmla="*/ 56278 w 91300"/>
                  <a:gd name="connsiteY2" fmla="*/ 7693 h 90916"/>
                  <a:gd name="connsiteX3" fmla="*/ 77697 w 91300"/>
                  <a:gd name="connsiteY3" fmla="*/ 553 h 90916"/>
                  <a:gd name="connsiteX4" fmla="*/ 88196 w 91300"/>
                  <a:gd name="connsiteY4" fmla="*/ 24912 h 90916"/>
                  <a:gd name="connsiteX5" fmla="*/ 56278 w 91300"/>
                  <a:gd name="connsiteY5" fmla="*/ 53471 h 90916"/>
                  <a:gd name="connsiteX6" fmla="*/ 26879 w 91300"/>
                  <a:gd name="connsiteY6" fmla="*/ 87490 h 90916"/>
                  <a:gd name="connsiteX7" fmla="*/ 13439 w 91300"/>
                  <a:gd name="connsiteY7" fmla="*/ 90430 h 90916"/>
                  <a:gd name="connsiteX8" fmla="*/ 0 w 91300"/>
                  <a:gd name="connsiteY8" fmla="*/ 77830 h 90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300" h="90916">
                    <a:moveTo>
                      <a:pt x="0" y="77830"/>
                    </a:moveTo>
                    <a:cubicBezTo>
                      <a:pt x="3780" y="72790"/>
                      <a:pt x="7140" y="67331"/>
                      <a:pt x="10920" y="62711"/>
                    </a:cubicBezTo>
                    <a:cubicBezTo>
                      <a:pt x="25619" y="44232"/>
                      <a:pt x="40318" y="25332"/>
                      <a:pt x="56278" y="7693"/>
                    </a:cubicBezTo>
                    <a:cubicBezTo>
                      <a:pt x="60897" y="2653"/>
                      <a:pt x="71817" y="-1546"/>
                      <a:pt x="77697" y="553"/>
                    </a:cubicBezTo>
                    <a:cubicBezTo>
                      <a:pt x="87356" y="3913"/>
                      <a:pt x="96176" y="14833"/>
                      <a:pt x="88196" y="24912"/>
                    </a:cubicBezTo>
                    <a:cubicBezTo>
                      <a:pt x="79797" y="35832"/>
                      <a:pt x="84836" y="64811"/>
                      <a:pt x="56278" y="53471"/>
                    </a:cubicBezTo>
                    <a:cubicBezTo>
                      <a:pt x="46618" y="64811"/>
                      <a:pt x="37378" y="76570"/>
                      <a:pt x="26879" y="87490"/>
                    </a:cubicBezTo>
                    <a:cubicBezTo>
                      <a:pt x="23939" y="90430"/>
                      <a:pt x="17219" y="91689"/>
                      <a:pt x="13439" y="90430"/>
                    </a:cubicBezTo>
                    <a:cubicBezTo>
                      <a:pt x="9660" y="88750"/>
                      <a:pt x="6300" y="83710"/>
                      <a:pt x="0" y="778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901FE5A9-B7D6-6AEE-1C6C-698C84291F02}"/>
                  </a:ext>
                </a:extLst>
              </p:cNvPr>
              <p:cNvSpPr/>
              <p:nvPr/>
            </p:nvSpPr>
            <p:spPr>
              <a:xfrm>
                <a:off x="6452219" y="3371694"/>
                <a:ext cx="52636" cy="74701"/>
              </a:xfrm>
              <a:custGeom>
                <a:avLst/>
                <a:gdLst>
                  <a:gd name="connsiteX0" fmla="*/ 52637 w 52636"/>
                  <a:gd name="connsiteY0" fmla="*/ 19240 h 74701"/>
                  <a:gd name="connsiteX1" fmla="*/ 27858 w 52636"/>
                  <a:gd name="connsiteY1" fmla="*/ 68798 h 74701"/>
                  <a:gd name="connsiteX2" fmla="*/ 11899 w 52636"/>
                  <a:gd name="connsiteY2" fmla="*/ 74258 h 74701"/>
                  <a:gd name="connsiteX3" fmla="*/ 139 w 52636"/>
                  <a:gd name="connsiteY3" fmla="*/ 59558 h 74701"/>
                  <a:gd name="connsiteX4" fmla="*/ 29538 w 52636"/>
                  <a:gd name="connsiteY4" fmla="*/ 1181 h 74701"/>
                  <a:gd name="connsiteX5" fmla="*/ 37938 w 52636"/>
                  <a:gd name="connsiteY5" fmla="*/ 761 h 74701"/>
                  <a:gd name="connsiteX6" fmla="*/ 52637 w 52636"/>
                  <a:gd name="connsiteY6" fmla="*/ 19240 h 74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636" h="74701">
                    <a:moveTo>
                      <a:pt x="52637" y="19240"/>
                    </a:moveTo>
                    <a:cubicBezTo>
                      <a:pt x="44657" y="36039"/>
                      <a:pt x="37098" y="52839"/>
                      <a:pt x="27858" y="68798"/>
                    </a:cubicBezTo>
                    <a:cubicBezTo>
                      <a:pt x="25758" y="72578"/>
                      <a:pt x="16099" y="75938"/>
                      <a:pt x="11899" y="74258"/>
                    </a:cubicBezTo>
                    <a:cubicBezTo>
                      <a:pt x="6439" y="71738"/>
                      <a:pt x="-1121" y="62498"/>
                      <a:pt x="139" y="59558"/>
                    </a:cubicBezTo>
                    <a:cubicBezTo>
                      <a:pt x="8539" y="39399"/>
                      <a:pt x="19459" y="20500"/>
                      <a:pt x="29538" y="1181"/>
                    </a:cubicBezTo>
                    <a:cubicBezTo>
                      <a:pt x="30378" y="-79"/>
                      <a:pt x="36258" y="-499"/>
                      <a:pt x="37938" y="761"/>
                    </a:cubicBezTo>
                    <a:cubicBezTo>
                      <a:pt x="42977" y="5380"/>
                      <a:pt x="46337" y="11260"/>
                      <a:pt x="52637" y="192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47537767-F584-FB23-1912-2AB0A2CF4E21}"/>
                  </a:ext>
                </a:extLst>
              </p:cNvPr>
              <p:cNvSpPr/>
              <p:nvPr/>
            </p:nvSpPr>
            <p:spPr>
              <a:xfrm>
                <a:off x="5078989" y="2444125"/>
                <a:ext cx="62606" cy="52874"/>
              </a:xfrm>
              <a:custGeom>
                <a:avLst/>
                <a:gdLst>
                  <a:gd name="connsiteX0" fmla="*/ 62606 w 62606"/>
                  <a:gd name="connsiteY0" fmla="*/ 29568 h 52874"/>
                  <a:gd name="connsiteX1" fmla="*/ 43707 w 62606"/>
                  <a:gd name="connsiteY1" fmla="*/ 52247 h 52874"/>
                  <a:gd name="connsiteX2" fmla="*/ 29 w 62606"/>
                  <a:gd name="connsiteY2" fmla="*/ 33348 h 52874"/>
                  <a:gd name="connsiteX3" fmla="*/ 26908 w 62606"/>
                  <a:gd name="connsiteY3" fmla="*/ 169 h 52874"/>
                  <a:gd name="connsiteX4" fmla="*/ 62606 w 62606"/>
                  <a:gd name="connsiteY4" fmla="*/ 29568 h 52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06" h="52874">
                    <a:moveTo>
                      <a:pt x="62606" y="29568"/>
                    </a:moveTo>
                    <a:cubicBezTo>
                      <a:pt x="58407" y="35027"/>
                      <a:pt x="52527" y="45527"/>
                      <a:pt x="43707" y="52247"/>
                    </a:cubicBezTo>
                    <a:cubicBezTo>
                      <a:pt x="38247" y="56447"/>
                      <a:pt x="449" y="38387"/>
                      <a:pt x="29" y="33348"/>
                    </a:cubicBezTo>
                    <a:cubicBezTo>
                      <a:pt x="-811" y="22428"/>
                      <a:pt x="16828" y="1009"/>
                      <a:pt x="26908" y="169"/>
                    </a:cubicBezTo>
                    <a:cubicBezTo>
                      <a:pt x="44547" y="-1511"/>
                      <a:pt x="60506" y="9409"/>
                      <a:pt x="62606" y="2956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A118481-9CEC-AD00-7596-6ADE7AF95CBB}"/>
                  </a:ext>
                </a:extLst>
              </p:cNvPr>
              <p:cNvSpPr/>
              <p:nvPr/>
            </p:nvSpPr>
            <p:spPr>
              <a:xfrm>
                <a:off x="5036532" y="3442885"/>
                <a:ext cx="55924" cy="65470"/>
              </a:xfrm>
              <a:custGeom>
                <a:avLst/>
                <a:gdLst>
                  <a:gd name="connsiteX0" fmla="*/ 55925 w 55924"/>
                  <a:gd name="connsiteY0" fmla="*/ 13986 h 65470"/>
                  <a:gd name="connsiteX1" fmla="*/ 18546 w 55924"/>
                  <a:gd name="connsiteY1" fmla="*/ 65224 h 65470"/>
                  <a:gd name="connsiteX2" fmla="*/ 3007 w 55924"/>
                  <a:gd name="connsiteY2" fmla="*/ 58924 h 65470"/>
                  <a:gd name="connsiteX3" fmla="*/ 26946 w 55924"/>
                  <a:gd name="connsiteY3" fmla="*/ 127 h 65470"/>
                  <a:gd name="connsiteX4" fmla="*/ 55925 w 55924"/>
                  <a:gd name="connsiteY4" fmla="*/ 13986 h 65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24" h="65470">
                    <a:moveTo>
                      <a:pt x="55925" y="13986"/>
                    </a:moveTo>
                    <a:cubicBezTo>
                      <a:pt x="42065" y="33305"/>
                      <a:pt x="30726" y="49684"/>
                      <a:pt x="18546" y="65224"/>
                    </a:cubicBezTo>
                    <a:cubicBezTo>
                      <a:pt x="17286" y="66484"/>
                      <a:pt x="5527" y="62704"/>
                      <a:pt x="3007" y="58924"/>
                    </a:cubicBezTo>
                    <a:cubicBezTo>
                      <a:pt x="-6652" y="41705"/>
                      <a:pt x="8467" y="3067"/>
                      <a:pt x="26946" y="127"/>
                    </a:cubicBezTo>
                    <a:cubicBezTo>
                      <a:pt x="34506" y="-1133"/>
                      <a:pt x="43325" y="7266"/>
                      <a:pt x="55925" y="1398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5185A472-56C0-4A1D-E804-CFCCCB3CC213}"/>
                  </a:ext>
                </a:extLst>
              </p:cNvPr>
              <p:cNvSpPr/>
              <p:nvPr/>
            </p:nvSpPr>
            <p:spPr>
              <a:xfrm>
                <a:off x="4944123" y="3335381"/>
                <a:ext cx="48022" cy="62692"/>
              </a:xfrm>
              <a:custGeom>
                <a:avLst/>
                <a:gdLst>
                  <a:gd name="connsiteX0" fmla="*/ 13940 w 48022"/>
                  <a:gd name="connsiteY0" fmla="*/ 62692 h 62692"/>
                  <a:gd name="connsiteX1" fmla="*/ 920 w 48022"/>
                  <a:gd name="connsiteY1" fmla="*/ 49673 h 62692"/>
                  <a:gd name="connsiteX2" fmla="*/ 3860 w 48022"/>
                  <a:gd name="connsiteY2" fmla="*/ 21114 h 62692"/>
                  <a:gd name="connsiteX3" fmla="*/ 36199 w 48022"/>
                  <a:gd name="connsiteY3" fmla="*/ 955 h 62692"/>
                  <a:gd name="connsiteX4" fmla="*/ 47958 w 48022"/>
                  <a:gd name="connsiteY4" fmla="*/ 14394 h 62692"/>
                  <a:gd name="connsiteX5" fmla="*/ 25279 w 48022"/>
                  <a:gd name="connsiteY5" fmla="*/ 59333 h 62692"/>
                  <a:gd name="connsiteX6" fmla="*/ 13940 w 48022"/>
                  <a:gd name="connsiteY6" fmla="*/ 62692 h 62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022" h="62692">
                    <a:moveTo>
                      <a:pt x="13940" y="62692"/>
                    </a:moveTo>
                    <a:cubicBezTo>
                      <a:pt x="10160" y="58913"/>
                      <a:pt x="1760" y="54713"/>
                      <a:pt x="920" y="49673"/>
                    </a:cubicBezTo>
                    <a:cubicBezTo>
                      <a:pt x="-760" y="40433"/>
                      <a:pt x="-340" y="29094"/>
                      <a:pt x="3860" y="21114"/>
                    </a:cubicBezTo>
                    <a:cubicBezTo>
                      <a:pt x="10160" y="9355"/>
                      <a:pt x="19819" y="-3665"/>
                      <a:pt x="36199" y="955"/>
                    </a:cubicBezTo>
                    <a:cubicBezTo>
                      <a:pt x="41238" y="2215"/>
                      <a:pt x="48798" y="11875"/>
                      <a:pt x="47958" y="14394"/>
                    </a:cubicBezTo>
                    <a:cubicBezTo>
                      <a:pt x="41658" y="29934"/>
                      <a:pt x="33259" y="44633"/>
                      <a:pt x="25279" y="59333"/>
                    </a:cubicBezTo>
                    <a:cubicBezTo>
                      <a:pt x="24439" y="61432"/>
                      <a:pt x="19399" y="61013"/>
                      <a:pt x="13940" y="626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15799C7A-EE6E-D359-3F9E-CE0520BC5C6E}"/>
                  </a:ext>
                </a:extLst>
              </p:cNvPr>
              <p:cNvSpPr/>
              <p:nvPr/>
            </p:nvSpPr>
            <p:spPr>
              <a:xfrm>
                <a:off x="5476515" y="3201489"/>
                <a:ext cx="49117" cy="59731"/>
              </a:xfrm>
              <a:custGeom>
                <a:avLst/>
                <a:gdLst>
                  <a:gd name="connsiteX0" fmla="*/ 36763 w 49117"/>
                  <a:gd name="connsiteY0" fmla="*/ 33 h 59731"/>
                  <a:gd name="connsiteX1" fmla="*/ 48943 w 49117"/>
                  <a:gd name="connsiteY1" fmla="*/ 17672 h 59731"/>
                  <a:gd name="connsiteX2" fmla="*/ 41803 w 49117"/>
                  <a:gd name="connsiteY2" fmla="*/ 35731 h 59731"/>
                  <a:gd name="connsiteX3" fmla="*/ 8625 w 49117"/>
                  <a:gd name="connsiteY3" fmla="*/ 57990 h 59731"/>
                  <a:gd name="connsiteX4" fmla="*/ 225 w 49117"/>
                  <a:gd name="connsiteY4" fmla="*/ 32791 h 59731"/>
                  <a:gd name="connsiteX5" fmla="*/ 36763 w 49117"/>
                  <a:gd name="connsiteY5" fmla="*/ 33 h 59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117" h="59731">
                    <a:moveTo>
                      <a:pt x="36763" y="33"/>
                    </a:moveTo>
                    <a:cubicBezTo>
                      <a:pt x="40123" y="4653"/>
                      <a:pt x="47263" y="10532"/>
                      <a:pt x="48943" y="17672"/>
                    </a:cubicBezTo>
                    <a:cubicBezTo>
                      <a:pt x="50203" y="22712"/>
                      <a:pt x="44323" y="29431"/>
                      <a:pt x="41803" y="35731"/>
                    </a:cubicBezTo>
                    <a:cubicBezTo>
                      <a:pt x="35504" y="50851"/>
                      <a:pt x="27104" y="64710"/>
                      <a:pt x="8625" y="57990"/>
                    </a:cubicBezTo>
                    <a:cubicBezTo>
                      <a:pt x="3165" y="55890"/>
                      <a:pt x="-1035" y="40771"/>
                      <a:pt x="225" y="32791"/>
                    </a:cubicBezTo>
                    <a:cubicBezTo>
                      <a:pt x="2325" y="14732"/>
                      <a:pt x="20384" y="-807"/>
                      <a:pt x="36763" y="3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8BDF638A-F692-286A-77BA-7DFA83E7A266}"/>
                  </a:ext>
                </a:extLst>
              </p:cNvPr>
              <p:cNvSpPr/>
              <p:nvPr/>
            </p:nvSpPr>
            <p:spPr>
              <a:xfrm>
                <a:off x="6406823" y="2047824"/>
                <a:ext cx="43435" cy="70982"/>
              </a:xfrm>
              <a:custGeom>
                <a:avLst/>
                <a:gdLst>
                  <a:gd name="connsiteX0" fmla="*/ 43435 w 43435"/>
                  <a:gd name="connsiteY0" fmla="*/ 21847 h 70982"/>
                  <a:gd name="connsiteX1" fmla="*/ 42176 w 43435"/>
                  <a:gd name="connsiteY1" fmla="*/ 39906 h 70982"/>
                  <a:gd name="connsiteX2" fmla="*/ 22436 w 43435"/>
                  <a:gd name="connsiteY2" fmla="*/ 69725 h 70982"/>
                  <a:gd name="connsiteX3" fmla="*/ 597 w 43435"/>
                  <a:gd name="connsiteY3" fmla="*/ 37806 h 70982"/>
                  <a:gd name="connsiteX4" fmla="*/ 3957 w 43435"/>
                  <a:gd name="connsiteY4" fmla="*/ 23527 h 70982"/>
                  <a:gd name="connsiteX5" fmla="*/ 26216 w 43435"/>
                  <a:gd name="connsiteY5" fmla="*/ 1268 h 70982"/>
                  <a:gd name="connsiteX6" fmla="*/ 43435 w 43435"/>
                  <a:gd name="connsiteY6" fmla="*/ 21847 h 70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435" h="70982">
                    <a:moveTo>
                      <a:pt x="43435" y="21847"/>
                    </a:moveTo>
                    <a:cubicBezTo>
                      <a:pt x="42595" y="32766"/>
                      <a:pt x="42595" y="36546"/>
                      <a:pt x="42176" y="39906"/>
                    </a:cubicBezTo>
                    <a:cubicBezTo>
                      <a:pt x="40496" y="60065"/>
                      <a:pt x="29996" y="75605"/>
                      <a:pt x="22436" y="69725"/>
                    </a:cubicBezTo>
                    <a:cubicBezTo>
                      <a:pt x="12777" y="61745"/>
                      <a:pt x="6477" y="49146"/>
                      <a:pt x="597" y="37806"/>
                    </a:cubicBezTo>
                    <a:cubicBezTo>
                      <a:pt x="-1083" y="34446"/>
                      <a:pt x="1017" y="26467"/>
                      <a:pt x="3957" y="23527"/>
                    </a:cubicBezTo>
                    <a:cubicBezTo>
                      <a:pt x="12357" y="16387"/>
                      <a:pt x="8577" y="-5452"/>
                      <a:pt x="26216" y="1268"/>
                    </a:cubicBezTo>
                    <a:cubicBezTo>
                      <a:pt x="35456" y="4208"/>
                      <a:pt x="40076" y="17647"/>
                      <a:pt x="43435" y="218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40E9228-D5BB-7F4B-805E-5FE389509D2A}"/>
                  </a:ext>
                </a:extLst>
              </p:cNvPr>
              <p:cNvSpPr/>
              <p:nvPr/>
            </p:nvSpPr>
            <p:spPr>
              <a:xfrm>
                <a:off x="5577116" y="3251115"/>
                <a:ext cx="55019" cy="59138"/>
              </a:xfrm>
              <a:custGeom>
                <a:avLst/>
                <a:gdLst>
                  <a:gd name="connsiteX0" fmla="*/ 0 w 55019"/>
                  <a:gd name="connsiteY0" fmla="*/ 31463 h 59138"/>
                  <a:gd name="connsiteX1" fmla="*/ 28559 w 55019"/>
                  <a:gd name="connsiteY1" fmla="*/ 1225 h 59138"/>
                  <a:gd name="connsiteX2" fmla="*/ 54598 w 55019"/>
                  <a:gd name="connsiteY2" fmla="*/ 20124 h 59138"/>
                  <a:gd name="connsiteX3" fmla="*/ 33599 w 55019"/>
                  <a:gd name="connsiteY3" fmla="*/ 58762 h 59138"/>
                  <a:gd name="connsiteX4" fmla="*/ 20999 w 55019"/>
                  <a:gd name="connsiteY4" fmla="*/ 55402 h 59138"/>
                  <a:gd name="connsiteX5" fmla="*/ 0 w 55019"/>
                  <a:gd name="connsiteY5" fmla="*/ 31463 h 59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019" h="59138">
                    <a:moveTo>
                      <a:pt x="0" y="31463"/>
                    </a:moveTo>
                    <a:cubicBezTo>
                      <a:pt x="10919" y="19284"/>
                      <a:pt x="18059" y="5845"/>
                      <a:pt x="28559" y="1225"/>
                    </a:cubicBezTo>
                    <a:cubicBezTo>
                      <a:pt x="40738" y="-3815"/>
                      <a:pt x="50818" y="7525"/>
                      <a:pt x="54598" y="20124"/>
                    </a:cubicBezTo>
                    <a:cubicBezTo>
                      <a:pt x="57537" y="30624"/>
                      <a:pt x="44518" y="54562"/>
                      <a:pt x="33599" y="58762"/>
                    </a:cubicBezTo>
                    <a:cubicBezTo>
                      <a:pt x="30238" y="60022"/>
                      <a:pt x="23939" y="57923"/>
                      <a:pt x="20999" y="55402"/>
                    </a:cubicBezTo>
                    <a:cubicBezTo>
                      <a:pt x="13859" y="48683"/>
                      <a:pt x="7980" y="40703"/>
                      <a:pt x="0" y="314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82E82B4-0C4A-F612-A859-EEAC01AE06B5}"/>
                  </a:ext>
                </a:extLst>
              </p:cNvPr>
              <p:cNvSpPr/>
              <p:nvPr/>
            </p:nvSpPr>
            <p:spPr>
              <a:xfrm>
                <a:off x="6054372" y="3210321"/>
                <a:ext cx="56961" cy="60130"/>
              </a:xfrm>
              <a:custGeom>
                <a:avLst/>
                <a:gdLst>
                  <a:gd name="connsiteX0" fmla="*/ 56961 w 56961"/>
                  <a:gd name="connsiteY0" fmla="*/ 8000 h 60130"/>
                  <a:gd name="connsiteX1" fmla="*/ 23363 w 56961"/>
                  <a:gd name="connsiteY1" fmla="*/ 58818 h 60130"/>
                  <a:gd name="connsiteX2" fmla="*/ 9923 w 56961"/>
                  <a:gd name="connsiteY2" fmla="*/ 57558 h 60130"/>
                  <a:gd name="connsiteX3" fmla="*/ 264 w 56961"/>
                  <a:gd name="connsiteY3" fmla="*/ 41179 h 60130"/>
                  <a:gd name="connsiteX4" fmla="*/ 29662 w 56961"/>
                  <a:gd name="connsiteY4" fmla="*/ 441 h 60130"/>
                  <a:gd name="connsiteX5" fmla="*/ 56961 w 56961"/>
                  <a:gd name="connsiteY5" fmla="*/ 8000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961" h="60130">
                    <a:moveTo>
                      <a:pt x="56961" y="8000"/>
                    </a:moveTo>
                    <a:cubicBezTo>
                      <a:pt x="43942" y="28580"/>
                      <a:pt x="34282" y="44119"/>
                      <a:pt x="23363" y="58818"/>
                    </a:cubicBezTo>
                    <a:cubicBezTo>
                      <a:pt x="21683" y="60918"/>
                      <a:pt x="12443" y="60498"/>
                      <a:pt x="9923" y="57558"/>
                    </a:cubicBezTo>
                    <a:cubicBezTo>
                      <a:pt x="5303" y="53358"/>
                      <a:pt x="-1416" y="44119"/>
                      <a:pt x="264" y="41179"/>
                    </a:cubicBezTo>
                    <a:cubicBezTo>
                      <a:pt x="8663" y="26480"/>
                      <a:pt x="18323" y="12620"/>
                      <a:pt x="29662" y="441"/>
                    </a:cubicBezTo>
                    <a:cubicBezTo>
                      <a:pt x="32182" y="-1659"/>
                      <a:pt x="43102" y="4221"/>
                      <a:pt x="56961" y="80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6B2D336F-F3F8-AA34-F9FA-9864DF6D89C9}"/>
                  </a:ext>
                </a:extLst>
              </p:cNvPr>
              <p:cNvSpPr/>
              <p:nvPr/>
            </p:nvSpPr>
            <p:spPr>
              <a:xfrm>
                <a:off x="6051334" y="1831722"/>
                <a:ext cx="38116" cy="68276"/>
              </a:xfrm>
              <a:custGeom>
                <a:avLst/>
                <a:gdLst>
                  <a:gd name="connsiteX0" fmla="*/ 15481 w 38116"/>
                  <a:gd name="connsiteY0" fmla="*/ 68276 h 68276"/>
                  <a:gd name="connsiteX1" fmla="*/ 2881 w 38116"/>
                  <a:gd name="connsiteY1" fmla="*/ 53577 h 68276"/>
                  <a:gd name="connsiteX2" fmla="*/ 15061 w 38116"/>
                  <a:gd name="connsiteY2" fmla="*/ 659 h 68276"/>
                  <a:gd name="connsiteX3" fmla="*/ 30600 w 38116"/>
                  <a:gd name="connsiteY3" fmla="*/ 4019 h 68276"/>
                  <a:gd name="connsiteX4" fmla="*/ 26400 w 38116"/>
                  <a:gd name="connsiteY4" fmla="*/ 64916 h 68276"/>
                  <a:gd name="connsiteX5" fmla="*/ 15481 w 38116"/>
                  <a:gd name="connsiteY5" fmla="*/ 68276 h 6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16" h="68276">
                    <a:moveTo>
                      <a:pt x="15481" y="68276"/>
                    </a:moveTo>
                    <a:cubicBezTo>
                      <a:pt x="11281" y="63656"/>
                      <a:pt x="5401" y="59457"/>
                      <a:pt x="2881" y="53577"/>
                    </a:cubicBezTo>
                    <a:cubicBezTo>
                      <a:pt x="-5099" y="33418"/>
                      <a:pt x="4981" y="16618"/>
                      <a:pt x="15061" y="659"/>
                    </a:cubicBezTo>
                    <a:cubicBezTo>
                      <a:pt x="16321" y="-1021"/>
                      <a:pt x="28080" y="659"/>
                      <a:pt x="30600" y="4019"/>
                    </a:cubicBezTo>
                    <a:cubicBezTo>
                      <a:pt x="42360" y="19978"/>
                      <a:pt x="39840" y="49797"/>
                      <a:pt x="26400" y="64916"/>
                    </a:cubicBezTo>
                    <a:cubicBezTo>
                      <a:pt x="24300" y="66596"/>
                      <a:pt x="20100" y="66596"/>
                      <a:pt x="15481" y="6827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1737767-2E85-974A-099B-0F4B22D5B861}"/>
                  </a:ext>
                </a:extLst>
              </p:cNvPr>
              <p:cNvSpPr/>
              <p:nvPr/>
            </p:nvSpPr>
            <p:spPr>
              <a:xfrm>
                <a:off x="6171225" y="1837421"/>
                <a:ext cx="47839" cy="61502"/>
              </a:xfrm>
              <a:custGeom>
                <a:avLst/>
                <a:gdLst>
                  <a:gd name="connsiteX0" fmla="*/ 32924 w 47839"/>
                  <a:gd name="connsiteY0" fmla="*/ 0 h 61502"/>
                  <a:gd name="connsiteX1" fmla="*/ 47204 w 47839"/>
                  <a:gd name="connsiteY1" fmla="*/ 18479 h 61502"/>
                  <a:gd name="connsiteX2" fmla="*/ 26204 w 47839"/>
                  <a:gd name="connsiteY2" fmla="*/ 61317 h 61502"/>
                  <a:gd name="connsiteX3" fmla="*/ 3945 w 47839"/>
                  <a:gd name="connsiteY3" fmla="*/ 53758 h 61502"/>
                  <a:gd name="connsiteX4" fmla="*/ 166 w 47839"/>
                  <a:gd name="connsiteY4" fmla="*/ 45358 h 61502"/>
                  <a:gd name="connsiteX5" fmla="*/ 21165 w 47839"/>
                  <a:gd name="connsiteY5" fmla="*/ 4200 h 61502"/>
                  <a:gd name="connsiteX6" fmla="*/ 32924 w 47839"/>
                  <a:gd name="connsiteY6" fmla="*/ 0 h 61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39" h="61502">
                    <a:moveTo>
                      <a:pt x="32924" y="0"/>
                    </a:moveTo>
                    <a:cubicBezTo>
                      <a:pt x="37544" y="5460"/>
                      <a:pt x="44684" y="11340"/>
                      <a:pt x="47204" y="18479"/>
                    </a:cubicBezTo>
                    <a:cubicBezTo>
                      <a:pt x="50984" y="31079"/>
                      <a:pt x="37124" y="59637"/>
                      <a:pt x="26204" y="61317"/>
                    </a:cubicBezTo>
                    <a:cubicBezTo>
                      <a:pt x="19065" y="62577"/>
                      <a:pt x="11085" y="57118"/>
                      <a:pt x="3945" y="53758"/>
                    </a:cubicBezTo>
                    <a:cubicBezTo>
                      <a:pt x="1846" y="52498"/>
                      <a:pt x="-674" y="47458"/>
                      <a:pt x="166" y="45358"/>
                    </a:cubicBezTo>
                    <a:cubicBezTo>
                      <a:pt x="6466" y="31499"/>
                      <a:pt x="13605" y="17639"/>
                      <a:pt x="21165" y="4200"/>
                    </a:cubicBezTo>
                    <a:cubicBezTo>
                      <a:pt x="22005" y="1680"/>
                      <a:pt x="27045" y="1680"/>
                      <a:pt x="32924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3541077A-CAA0-66A8-319A-26CBC00BD1CB}"/>
                  </a:ext>
                </a:extLst>
              </p:cNvPr>
              <p:cNvSpPr/>
              <p:nvPr/>
            </p:nvSpPr>
            <p:spPr>
              <a:xfrm>
                <a:off x="5047628" y="2897504"/>
                <a:ext cx="52808" cy="56924"/>
              </a:xfrm>
              <a:custGeom>
                <a:avLst/>
                <a:gdLst>
                  <a:gd name="connsiteX0" fmla="*/ 52809 w 52808"/>
                  <a:gd name="connsiteY0" fmla="*/ 18010 h 56924"/>
                  <a:gd name="connsiteX1" fmla="*/ 26350 w 52808"/>
                  <a:gd name="connsiteY1" fmla="*/ 55388 h 56924"/>
                  <a:gd name="connsiteX2" fmla="*/ 8711 w 52808"/>
                  <a:gd name="connsiteY2" fmla="*/ 53708 h 56924"/>
                  <a:gd name="connsiteX3" fmla="*/ 311 w 52808"/>
                  <a:gd name="connsiteY3" fmla="*/ 37329 h 56924"/>
                  <a:gd name="connsiteX4" fmla="*/ 20470 w 52808"/>
                  <a:gd name="connsiteY4" fmla="*/ 2470 h 56924"/>
                  <a:gd name="connsiteX5" fmla="*/ 38109 w 52808"/>
                  <a:gd name="connsiteY5" fmla="*/ 1630 h 56924"/>
                  <a:gd name="connsiteX6" fmla="*/ 52809 w 52808"/>
                  <a:gd name="connsiteY6" fmla="*/ 18010 h 56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08" h="56924">
                    <a:moveTo>
                      <a:pt x="52809" y="18010"/>
                    </a:moveTo>
                    <a:cubicBezTo>
                      <a:pt x="43569" y="31449"/>
                      <a:pt x="36009" y="44469"/>
                      <a:pt x="26350" y="55388"/>
                    </a:cubicBezTo>
                    <a:cubicBezTo>
                      <a:pt x="23830" y="58328"/>
                      <a:pt x="13330" y="56648"/>
                      <a:pt x="8711" y="53708"/>
                    </a:cubicBezTo>
                    <a:cubicBezTo>
                      <a:pt x="4091" y="50348"/>
                      <a:pt x="-1369" y="41529"/>
                      <a:pt x="311" y="37329"/>
                    </a:cubicBezTo>
                    <a:cubicBezTo>
                      <a:pt x="5351" y="25150"/>
                      <a:pt x="12070" y="12970"/>
                      <a:pt x="20470" y="2470"/>
                    </a:cubicBezTo>
                    <a:cubicBezTo>
                      <a:pt x="22990" y="-889"/>
                      <a:pt x="33070" y="-469"/>
                      <a:pt x="38109" y="1630"/>
                    </a:cubicBezTo>
                    <a:cubicBezTo>
                      <a:pt x="43989" y="4570"/>
                      <a:pt x="47349" y="11290"/>
                      <a:pt x="52809" y="180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EDD0D061-1065-C4B9-368A-6D9C54C98F4D}"/>
                  </a:ext>
                </a:extLst>
              </p:cNvPr>
              <p:cNvSpPr/>
              <p:nvPr/>
            </p:nvSpPr>
            <p:spPr>
              <a:xfrm>
                <a:off x="4952810" y="3534567"/>
                <a:ext cx="48658" cy="61126"/>
              </a:xfrm>
              <a:custGeom>
                <a:avLst/>
                <a:gdLst>
                  <a:gd name="connsiteX0" fmla="*/ 40531 w 48658"/>
                  <a:gd name="connsiteY0" fmla="*/ 0 h 61126"/>
                  <a:gd name="connsiteX1" fmla="*/ 48510 w 48658"/>
                  <a:gd name="connsiteY1" fmla="*/ 13020 h 61126"/>
                  <a:gd name="connsiteX2" fmla="*/ 28351 w 48658"/>
                  <a:gd name="connsiteY2" fmla="*/ 54598 h 61126"/>
                  <a:gd name="connsiteX3" fmla="*/ 16172 w 48658"/>
                  <a:gd name="connsiteY3" fmla="*/ 60897 h 61126"/>
                  <a:gd name="connsiteX4" fmla="*/ 1052 w 48658"/>
                  <a:gd name="connsiteY4" fmla="*/ 47878 h 61126"/>
                  <a:gd name="connsiteX5" fmla="*/ 40531 w 48658"/>
                  <a:gd name="connsiteY5" fmla="*/ 0 h 61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658" h="61126">
                    <a:moveTo>
                      <a:pt x="40531" y="0"/>
                    </a:moveTo>
                    <a:cubicBezTo>
                      <a:pt x="42631" y="3360"/>
                      <a:pt x="49770" y="9660"/>
                      <a:pt x="48510" y="13020"/>
                    </a:cubicBezTo>
                    <a:cubicBezTo>
                      <a:pt x="43471" y="27299"/>
                      <a:pt x="36331" y="41158"/>
                      <a:pt x="28351" y="54598"/>
                    </a:cubicBezTo>
                    <a:cubicBezTo>
                      <a:pt x="26251" y="57958"/>
                      <a:pt x="18692" y="62158"/>
                      <a:pt x="16172" y="60897"/>
                    </a:cubicBezTo>
                    <a:cubicBezTo>
                      <a:pt x="10292" y="58378"/>
                      <a:pt x="3152" y="53338"/>
                      <a:pt x="1052" y="47878"/>
                    </a:cubicBezTo>
                    <a:cubicBezTo>
                      <a:pt x="-5247" y="30239"/>
                      <a:pt x="17852" y="420"/>
                      <a:pt x="4053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BD07ACD-FA1A-EA8F-8BD3-7E896064B2D2}"/>
                  </a:ext>
                </a:extLst>
              </p:cNvPr>
              <p:cNvSpPr/>
              <p:nvPr/>
            </p:nvSpPr>
            <p:spPr>
              <a:xfrm>
                <a:off x="5174151" y="2971039"/>
                <a:ext cx="46941" cy="60389"/>
              </a:xfrm>
              <a:custGeom>
                <a:avLst/>
                <a:gdLst>
                  <a:gd name="connsiteX0" fmla="*/ 11542 w 46941"/>
                  <a:gd name="connsiteY0" fmla="*/ 60390 h 60389"/>
                  <a:gd name="connsiteX1" fmla="*/ 202 w 46941"/>
                  <a:gd name="connsiteY1" fmla="*/ 37291 h 60389"/>
                  <a:gd name="connsiteX2" fmla="*/ 20781 w 46941"/>
                  <a:gd name="connsiteY2" fmla="*/ 3272 h 60389"/>
                  <a:gd name="connsiteX3" fmla="*/ 33801 w 46941"/>
                  <a:gd name="connsiteY3" fmla="*/ 752 h 60389"/>
                  <a:gd name="connsiteX4" fmla="*/ 46820 w 46941"/>
                  <a:gd name="connsiteY4" fmla="*/ 14612 h 60389"/>
                  <a:gd name="connsiteX5" fmla="*/ 24141 w 46941"/>
                  <a:gd name="connsiteY5" fmla="*/ 57870 h 60389"/>
                  <a:gd name="connsiteX6" fmla="*/ 11542 w 46941"/>
                  <a:gd name="connsiteY6" fmla="*/ 60390 h 60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41" h="60389">
                    <a:moveTo>
                      <a:pt x="11542" y="60390"/>
                    </a:moveTo>
                    <a:cubicBezTo>
                      <a:pt x="7762" y="53250"/>
                      <a:pt x="-1478" y="43591"/>
                      <a:pt x="202" y="37291"/>
                    </a:cubicBezTo>
                    <a:cubicBezTo>
                      <a:pt x="3562" y="25112"/>
                      <a:pt x="12802" y="13772"/>
                      <a:pt x="20781" y="3272"/>
                    </a:cubicBezTo>
                    <a:cubicBezTo>
                      <a:pt x="22881" y="332"/>
                      <a:pt x="30861" y="-927"/>
                      <a:pt x="33801" y="752"/>
                    </a:cubicBezTo>
                    <a:cubicBezTo>
                      <a:pt x="39260" y="4112"/>
                      <a:pt x="48080" y="12092"/>
                      <a:pt x="46820" y="14612"/>
                    </a:cubicBezTo>
                    <a:cubicBezTo>
                      <a:pt x="40520" y="29731"/>
                      <a:pt x="32121" y="44011"/>
                      <a:pt x="24141" y="57870"/>
                    </a:cubicBezTo>
                    <a:cubicBezTo>
                      <a:pt x="23301" y="59970"/>
                      <a:pt x="18261" y="59550"/>
                      <a:pt x="11542" y="6039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FD3B8881-E021-450E-85DA-163CA3322FF2}"/>
                  </a:ext>
                </a:extLst>
              </p:cNvPr>
              <p:cNvSpPr/>
              <p:nvPr/>
            </p:nvSpPr>
            <p:spPr>
              <a:xfrm>
                <a:off x="6165511" y="2070914"/>
                <a:ext cx="42097" cy="55753"/>
              </a:xfrm>
              <a:custGeom>
                <a:avLst/>
                <a:gdLst>
                  <a:gd name="connsiteX0" fmla="*/ 0 w 42097"/>
                  <a:gd name="connsiteY0" fmla="*/ 30675 h 55753"/>
                  <a:gd name="connsiteX1" fmla="*/ 2520 w 42097"/>
                  <a:gd name="connsiteY1" fmla="*/ 13036 h 55753"/>
                  <a:gd name="connsiteX2" fmla="*/ 21839 w 42097"/>
                  <a:gd name="connsiteY2" fmla="*/ 17 h 55753"/>
                  <a:gd name="connsiteX3" fmla="*/ 40318 w 42097"/>
                  <a:gd name="connsiteY3" fmla="*/ 13876 h 55753"/>
                  <a:gd name="connsiteX4" fmla="*/ 20579 w 42097"/>
                  <a:gd name="connsiteY4" fmla="*/ 55454 h 55753"/>
                  <a:gd name="connsiteX5" fmla="*/ 8400 w 42097"/>
                  <a:gd name="connsiteY5" fmla="*/ 50835 h 55753"/>
                  <a:gd name="connsiteX6" fmla="*/ 0 w 42097"/>
                  <a:gd name="connsiteY6" fmla="*/ 30675 h 55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097" h="55753">
                    <a:moveTo>
                      <a:pt x="0" y="30675"/>
                    </a:moveTo>
                    <a:cubicBezTo>
                      <a:pt x="840" y="22696"/>
                      <a:pt x="0" y="15976"/>
                      <a:pt x="2520" y="13036"/>
                    </a:cubicBezTo>
                    <a:cubicBezTo>
                      <a:pt x="7560" y="7156"/>
                      <a:pt x="15119" y="-403"/>
                      <a:pt x="21839" y="17"/>
                    </a:cubicBezTo>
                    <a:cubicBezTo>
                      <a:pt x="28139" y="17"/>
                      <a:pt x="37378" y="7576"/>
                      <a:pt x="40318" y="13876"/>
                    </a:cubicBezTo>
                    <a:cubicBezTo>
                      <a:pt x="46618" y="27316"/>
                      <a:pt x="35279" y="50415"/>
                      <a:pt x="20579" y="55454"/>
                    </a:cubicBezTo>
                    <a:cubicBezTo>
                      <a:pt x="17219" y="56714"/>
                      <a:pt x="10080" y="53774"/>
                      <a:pt x="8400" y="50835"/>
                    </a:cubicBezTo>
                    <a:cubicBezTo>
                      <a:pt x="3780" y="44115"/>
                      <a:pt x="1680" y="35715"/>
                      <a:pt x="0" y="3067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757C0B32-5730-C750-C4A5-59CE2205F19C}"/>
                  </a:ext>
                </a:extLst>
              </p:cNvPr>
              <p:cNvSpPr/>
              <p:nvPr/>
            </p:nvSpPr>
            <p:spPr>
              <a:xfrm>
                <a:off x="5398204" y="2280501"/>
                <a:ext cx="46198" cy="58328"/>
              </a:xfrm>
              <a:custGeom>
                <a:avLst/>
                <a:gdLst>
                  <a:gd name="connsiteX0" fmla="*/ 46198 w 46198"/>
                  <a:gd name="connsiteY0" fmla="*/ 47458 h 58328"/>
                  <a:gd name="connsiteX1" fmla="*/ 38638 w 46198"/>
                  <a:gd name="connsiteY1" fmla="*/ 57538 h 58328"/>
                  <a:gd name="connsiteX2" fmla="*/ 9240 w 46198"/>
                  <a:gd name="connsiteY2" fmla="*/ 55018 h 58328"/>
                  <a:gd name="connsiteX3" fmla="*/ 0 w 46198"/>
                  <a:gd name="connsiteY3" fmla="*/ 28559 h 58328"/>
                  <a:gd name="connsiteX4" fmla="*/ 10920 w 46198"/>
                  <a:gd name="connsiteY4" fmla="*/ 5460 h 58328"/>
                  <a:gd name="connsiteX5" fmla="*/ 19739 w 46198"/>
                  <a:gd name="connsiteY5" fmla="*/ 0 h 58328"/>
                  <a:gd name="connsiteX6" fmla="*/ 46198 w 46198"/>
                  <a:gd name="connsiteY6" fmla="*/ 47458 h 58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198" h="58328">
                    <a:moveTo>
                      <a:pt x="46198" y="47458"/>
                    </a:moveTo>
                    <a:cubicBezTo>
                      <a:pt x="42838" y="52498"/>
                      <a:pt x="40738" y="57538"/>
                      <a:pt x="38638" y="57538"/>
                    </a:cubicBezTo>
                    <a:cubicBezTo>
                      <a:pt x="28559" y="57957"/>
                      <a:pt x="15959" y="60057"/>
                      <a:pt x="9240" y="55018"/>
                    </a:cubicBezTo>
                    <a:cubicBezTo>
                      <a:pt x="2940" y="50398"/>
                      <a:pt x="0" y="37798"/>
                      <a:pt x="0" y="28559"/>
                    </a:cubicBezTo>
                    <a:cubicBezTo>
                      <a:pt x="0" y="20999"/>
                      <a:pt x="6300" y="13019"/>
                      <a:pt x="10920" y="5460"/>
                    </a:cubicBezTo>
                    <a:cubicBezTo>
                      <a:pt x="12599" y="2940"/>
                      <a:pt x="16799" y="1680"/>
                      <a:pt x="19739" y="0"/>
                    </a:cubicBezTo>
                    <a:cubicBezTo>
                      <a:pt x="28559" y="16379"/>
                      <a:pt x="37378" y="32339"/>
                      <a:pt x="46198" y="474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AB8336A7-D10E-938F-BB4A-3B9DA33C6488}"/>
                  </a:ext>
                </a:extLst>
              </p:cNvPr>
              <p:cNvSpPr/>
              <p:nvPr/>
            </p:nvSpPr>
            <p:spPr>
              <a:xfrm>
                <a:off x="6549252" y="3483487"/>
                <a:ext cx="43985" cy="59479"/>
              </a:xfrm>
              <a:custGeom>
                <a:avLst/>
                <a:gdLst>
                  <a:gd name="connsiteX0" fmla="*/ 10622 w 43985"/>
                  <a:gd name="connsiteY0" fmla="*/ 59480 h 59479"/>
                  <a:gd name="connsiteX1" fmla="*/ 122 w 43985"/>
                  <a:gd name="connsiteY1" fmla="*/ 43101 h 59479"/>
                  <a:gd name="connsiteX2" fmla="*/ 17342 w 43985"/>
                  <a:gd name="connsiteY2" fmla="*/ 6562 h 59479"/>
                  <a:gd name="connsiteX3" fmla="*/ 41700 w 43985"/>
                  <a:gd name="connsiteY3" fmla="*/ 8662 h 59479"/>
                  <a:gd name="connsiteX4" fmla="*/ 10622 w 43985"/>
                  <a:gd name="connsiteY4" fmla="*/ 59480 h 5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985" h="59479">
                    <a:moveTo>
                      <a:pt x="10622" y="59480"/>
                    </a:moveTo>
                    <a:cubicBezTo>
                      <a:pt x="7682" y="55280"/>
                      <a:pt x="-1138" y="47720"/>
                      <a:pt x="122" y="43101"/>
                    </a:cubicBezTo>
                    <a:cubicBezTo>
                      <a:pt x="3482" y="30501"/>
                      <a:pt x="10622" y="18322"/>
                      <a:pt x="17342" y="6562"/>
                    </a:cubicBezTo>
                    <a:cubicBezTo>
                      <a:pt x="23221" y="-3097"/>
                      <a:pt x="35821" y="-1838"/>
                      <a:pt x="41700" y="8662"/>
                    </a:cubicBezTo>
                    <a:cubicBezTo>
                      <a:pt x="50520" y="25461"/>
                      <a:pt x="32461" y="58640"/>
                      <a:pt x="10622" y="594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B21A2FB2-1D4D-1C87-B758-FF4AD163780F}"/>
                  </a:ext>
                </a:extLst>
              </p:cNvPr>
              <p:cNvSpPr/>
              <p:nvPr/>
            </p:nvSpPr>
            <p:spPr>
              <a:xfrm>
                <a:off x="5972685" y="1693204"/>
                <a:ext cx="43712" cy="58540"/>
              </a:xfrm>
              <a:custGeom>
                <a:avLst/>
                <a:gdLst>
                  <a:gd name="connsiteX0" fmla="*/ 11813 w 43712"/>
                  <a:gd name="connsiteY0" fmla="*/ 58540 h 58540"/>
                  <a:gd name="connsiteX1" fmla="*/ 54 w 43712"/>
                  <a:gd name="connsiteY1" fmla="*/ 46781 h 58540"/>
                  <a:gd name="connsiteX2" fmla="*/ 25673 w 43712"/>
                  <a:gd name="connsiteY2" fmla="*/ 163 h 58540"/>
                  <a:gd name="connsiteX3" fmla="*/ 38272 w 43712"/>
                  <a:gd name="connsiteY3" fmla="*/ 5203 h 58540"/>
                  <a:gd name="connsiteX4" fmla="*/ 42892 w 43712"/>
                  <a:gd name="connsiteY4" fmla="*/ 27042 h 58540"/>
                  <a:gd name="connsiteX5" fmla="*/ 11813 w 43712"/>
                  <a:gd name="connsiteY5" fmla="*/ 58540 h 58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712" h="58540">
                    <a:moveTo>
                      <a:pt x="11813" y="58540"/>
                    </a:moveTo>
                    <a:cubicBezTo>
                      <a:pt x="8453" y="55600"/>
                      <a:pt x="-786" y="48881"/>
                      <a:pt x="54" y="46781"/>
                    </a:cubicBezTo>
                    <a:cubicBezTo>
                      <a:pt x="7193" y="30821"/>
                      <a:pt x="16433" y="15282"/>
                      <a:pt x="25673" y="163"/>
                    </a:cubicBezTo>
                    <a:cubicBezTo>
                      <a:pt x="26093" y="-677"/>
                      <a:pt x="36592" y="1843"/>
                      <a:pt x="38272" y="5203"/>
                    </a:cubicBezTo>
                    <a:cubicBezTo>
                      <a:pt x="41632" y="11922"/>
                      <a:pt x="45412" y="21582"/>
                      <a:pt x="42892" y="27042"/>
                    </a:cubicBezTo>
                    <a:cubicBezTo>
                      <a:pt x="36592" y="39221"/>
                      <a:pt x="34912" y="57700"/>
                      <a:pt x="11813" y="585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63ABB162-C85A-44C5-B49E-172CB8ABE846}"/>
                  </a:ext>
                </a:extLst>
              </p:cNvPr>
              <p:cNvSpPr/>
              <p:nvPr/>
            </p:nvSpPr>
            <p:spPr>
              <a:xfrm>
                <a:off x="6177358" y="3179263"/>
                <a:ext cx="50730" cy="52171"/>
              </a:xfrm>
              <a:custGeom>
                <a:avLst/>
                <a:gdLst>
                  <a:gd name="connsiteX0" fmla="*/ 50730 w 50730"/>
                  <a:gd name="connsiteY0" fmla="*/ 11340 h 52171"/>
                  <a:gd name="connsiteX1" fmla="*/ 41071 w 50730"/>
                  <a:gd name="connsiteY1" fmla="*/ 33599 h 52171"/>
                  <a:gd name="connsiteX2" fmla="*/ 7472 w 50730"/>
                  <a:gd name="connsiteY2" fmla="*/ 50818 h 52171"/>
                  <a:gd name="connsiteX3" fmla="*/ 333 w 50730"/>
                  <a:gd name="connsiteY3" fmla="*/ 34018 h 52171"/>
                  <a:gd name="connsiteX4" fmla="*/ 25532 w 50730"/>
                  <a:gd name="connsiteY4" fmla="*/ 0 h 52171"/>
                  <a:gd name="connsiteX5" fmla="*/ 50730 w 50730"/>
                  <a:gd name="connsiteY5" fmla="*/ 11340 h 52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30" h="52171">
                    <a:moveTo>
                      <a:pt x="50730" y="11340"/>
                    </a:moveTo>
                    <a:cubicBezTo>
                      <a:pt x="46531" y="20999"/>
                      <a:pt x="44011" y="27299"/>
                      <a:pt x="41071" y="33599"/>
                    </a:cubicBezTo>
                    <a:cubicBezTo>
                      <a:pt x="34351" y="47878"/>
                      <a:pt x="23012" y="55438"/>
                      <a:pt x="7472" y="50818"/>
                    </a:cubicBezTo>
                    <a:cubicBezTo>
                      <a:pt x="3692" y="49558"/>
                      <a:pt x="-1347" y="38218"/>
                      <a:pt x="333" y="34018"/>
                    </a:cubicBezTo>
                    <a:cubicBezTo>
                      <a:pt x="5792" y="20999"/>
                      <a:pt x="4532" y="0"/>
                      <a:pt x="25532" y="0"/>
                    </a:cubicBezTo>
                    <a:cubicBezTo>
                      <a:pt x="34351" y="0"/>
                      <a:pt x="42751" y="7560"/>
                      <a:pt x="50730" y="113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1A148725-728E-86D3-0BA1-FABE829A4AB6}"/>
                  </a:ext>
                </a:extLst>
              </p:cNvPr>
              <p:cNvSpPr/>
              <p:nvPr/>
            </p:nvSpPr>
            <p:spPr>
              <a:xfrm>
                <a:off x="5624306" y="3443432"/>
                <a:ext cx="37281" cy="66776"/>
              </a:xfrm>
              <a:custGeom>
                <a:avLst/>
                <a:gdLst>
                  <a:gd name="connsiteX0" fmla="*/ 7408 w 37281"/>
                  <a:gd name="connsiteY0" fmla="*/ 66777 h 66776"/>
                  <a:gd name="connsiteX1" fmla="*/ 688 w 37281"/>
                  <a:gd name="connsiteY1" fmla="*/ 55858 h 66776"/>
                  <a:gd name="connsiteX2" fmla="*/ 1528 w 37281"/>
                  <a:gd name="connsiteY2" fmla="*/ 20999 h 66776"/>
                  <a:gd name="connsiteX3" fmla="*/ 14128 w 37281"/>
                  <a:gd name="connsiteY3" fmla="*/ 0 h 66776"/>
                  <a:gd name="connsiteX4" fmla="*/ 35967 w 37281"/>
                  <a:gd name="connsiteY4" fmla="*/ 21419 h 66776"/>
                  <a:gd name="connsiteX5" fmla="*/ 15808 w 37281"/>
                  <a:gd name="connsiteY5" fmla="*/ 65517 h 66776"/>
                  <a:gd name="connsiteX6" fmla="*/ 7408 w 37281"/>
                  <a:gd name="connsiteY6" fmla="*/ 66777 h 66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281" h="66776">
                    <a:moveTo>
                      <a:pt x="7408" y="66777"/>
                    </a:moveTo>
                    <a:cubicBezTo>
                      <a:pt x="6148" y="64677"/>
                      <a:pt x="1108" y="60477"/>
                      <a:pt x="688" y="55858"/>
                    </a:cubicBezTo>
                    <a:cubicBezTo>
                      <a:pt x="-152" y="44098"/>
                      <a:pt x="-572" y="32338"/>
                      <a:pt x="1528" y="20999"/>
                    </a:cubicBezTo>
                    <a:cubicBezTo>
                      <a:pt x="3208" y="13439"/>
                      <a:pt x="9928" y="7139"/>
                      <a:pt x="14128" y="0"/>
                    </a:cubicBezTo>
                    <a:cubicBezTo>
                      <a:pt x="21687" y="7139"/>
                      <a:pt x="30927" y="13019"/>
                      <a:pt x="35967" y="21419"/>
                    </a:cubicBezTo>
                    <a:cubicBezTo>
                      <a:pt x="41846" y="30659"/>
                      <a:pt x="26727" y="60057"/>
                      <a:pt x="15808" y="65517"/>
                    </a:cubicBezTo>
                    <a:cubicBezTo>
                      <a:pt x="14548" y="65937"/>
                      <a:pt x="12868" y="65937"/>
                      <a:pt x="7408" y="6677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D15AC889-CE95-2338-2ACA-F95377721AD8}"/>
                  </a:ext>
                </a:extLst>
              </p:cNvPr>
              <p:cNvSpPr/>
              <p:nvPr/>
            </p:nvSpPr>
            <p:spPr>
              <a:xfrm>
                <a:off x="5118916" y="2308783"/>
                <a:ext cx="52629" cy="50749"/>
              </a:xfrm>
              <a:custGeom>
                <a:avLst/>
                <a:gdLst>
                  <a:gd name="connsiteX0" fmla="*/ 0 w 52629"/>
                  <a:gd name="connsiteY0" fmla="*/ 38076 h 50749"/>
                  <a:gd name="connsiteX1" fmla="*/ 23939 w 52629"/>
                  <a:gd name="connsiteY1" fmla="*/ 3637 h 50749"/>
                  <a:gd name="connsiteX2" fmla="*/ 49138 w 52629"/>
                  <a:gd name="connsiteY2" fmla="*/ 12037 h 50749"/>
                  <a:gd name="connsiteX3" fmla="*/ 38219 w 52629"/>
                  <a:gd name="connsiteY3" fmla="*/ 47315 h 50749"/>
                  <a:gd name="connsiteX4" fmla="*/ 6300 w 52629"/>
                  <a:gd name="connsiteY4" fmla="*/ 49415 h 50749"/>
                  <a:gd name="connsiteX5" fmla="*/ 0 w 52629"/>
                  <a:gd name="connsiteY5" fmla="*/ 38076 h 50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629" h="50749">
                    <a:moveTo>
                      <a:pt x="0" y="38076"/>
                    </a:moveTo>
                    <a:cubicBezTo>
                      <a:pt x="7140" y="27156"/>
                      <a:pt x="13859" y="13297"/>
                      <a:pt x="23939" y="3637"/>
                    </a:cubicBezTo>
                    <a:cubicBezTo>
                      <a:pt x="33179" y="-4763"/>
                      <a:pt x="43258" y="2797"/>
                      <a:pt x="49138" y="12037"/>
                    </a:cubicBezTo>
                    <a:cubicBezTo>
                      <a:pt x="59218" y="27156"/>
                      <a:pt x="44938" y="38916"/>
                      <a:pt x="38219" y="47315"/>
                    </a:cubicBezTo>
                    <a:cubicBezTo>
                      <a:pt x="33599" y="53195"/>
                      <a:pt x="17219" y="49835"/>
                      <a:pt x="6300" y="49415"/>
                    </a:cubicBezTo>
                    <a:cubicBezTo>
                      <a:pt x="4620" y="48995"/>
                      <a:pt x="2940" y="43955"/>
                      <a:pt x="0" y="3807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91E3CACC-FE18-8878-04DE-62A418B989F3}"/>
                  </a:ext>
                </a:extLst>
              </p:cNvPr>
              <p:cNvSpPr/>
              <p:nvPr/>
            </p:nvSpPr>
            <p:spPr>
              <a:xfrm>
                <a:off x="4962238" y="2570701"/>
                <a:ext cx="49864" cy="51993"/>
              </a:xfrm>
              <a:custGeom>
                <a:avLst/>
                <a:gdLst>
                  <a:gd name="connsiteX0" fmla="*/ 43283 w 49864"/>
                  <a:gd name="connsiteY0" fmla="*/ 8 h 51993"/>
                  <a:gd name="connsiteX1" fmla="*/ 49582 w 49864"/>
                  <a:gd name="connsiteY1" fmla="*/ 13867 h 51993"/>
                  <a:gd name="connsiteX2" fmla="*/ 28163 w 49864"/>
                  <a:gd name="connsiteY2" fmla="*/ 48726 h 51993"/>
                  <a:gd name="connsiteX3" fmla="*/ 9264 w 49864"/>
                  <a:gd name="connsiteY3" fmla="*/ 50406 h 51993"/>
                  <a:gd name="connsiteX4" fmla="*/ 25 w 49864"/>
                  <a:gd name="connsiteY4" fmla="*/ 34026 h 51993"/>
                  <a:gd name="connsiteX5" fmla="*/ 43283 w 49864"/>
                  <a:gd name="connsiteY5" fmla="*/ 8 h 51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864" h="51993">
                    <a:moveTo>
                      <a:pt x="43283" y="8"/>
                    </a:moveTo>
                    <a:cubicBezTo>
                      <a:pt x="44963" y="3368"/>
                      <a:pt x="51262" y="10507"/>
                      <a:pt x="49582" y="13867"/>
                    </a:cubicBezTo>
                    <a:cubicBezTo>
                      <a:pt x="44123" y="26047"/>
                      <a:pt x="36983" y="38226"/>
                      <a:pt x="28163" y="48726"/>
                    </a:cubicBezTo>
                    <a:cubicBezTo>
                      <a:pt x="25223" y="52505"/>
                      <a:pt x="14304" y="52926"/>
                      <a:pt x="9264" y="50406"/>
                    </a:cubicBezTo>
                    <a:cubicBezTo>
                      <a:pt x="4644" y="47886"/>
                      <a:pt x="-395" y="39906"/>
                      <a:pt x="25" y="34026"/>
                    </a:cubicBezTo>
                    <a:cubicBezTo>
                      <a:pt x="1284" y="16387"/>
                      <a:pt x="21444" y="-412"/>
                      <a:pt x="43283" y="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C38A2C93-B913-69BE-40AA-66591DC6F09A}"/>
                  </a:ext>
                </a:extLst>
              </p:cNvPr>
              <p:cNvSpPr/>
              <p:nvPr/>
            </p:nvSpPr>
            <p:spPr>
              <a:xfrm>
                <a:off x="6165426" y="3240914"/>
                <a:ext cx="38866" cy="61682"/>
              </a:xfrm>
              <a:custGeom>
                <a:avLst/>
                <a:gdLst>
                  <a:gd name="connsiteX0" fmla="*/ 23603 w 38866"/>
                  <a:gd name="connsiteY0" fmla="*/ 926 h 61682"/>
                  <a:gd name="connsiteX1" fmla="*/ 31163 w 38866"/>
                  <a:gd name="connsiteY1" fmla="*/ 6805 h 61682"/>
                  <a:gd name="connsiteX2" fmla="*/ 34103 w 38866"/>
                  <a:gd name="connsiteY2" fmla="*/ 39564 h 61682"/>
                  <a:gd name="connsiteX3" fmla="*/ 9744 w 38866"/>
                  <a:gd name="connsiteY3" fmla="*/ 61403 h 61682"/>
                  <a:gd name="connsiteX4" fmla="*/ 924 w 38866"/>
                  <a:gd name="connsiteY4" fmla="*/ 45444 h 61682"/>
                  <a:gd name="connsiteX5" fmla="*/ 18144 w 38866"/>
                  <a:gd name="connsiteY5" fmla="*/ 86 h 61682"/>
                  <a:gd name="connsiteX6" fmla="*/ 23603 w 38866"/>
                  <a:gd name="connsiteY6" fmla="*/ 926 h 6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866" h="61682">
                    <a:moveTo>
                      <a:pt x="23603" y="926"/>
                    </a:moveTo>
                    <a:cubicBezTo>
                      <a:pt x="26123" y="3026"/>
                      <a:pt x="29903" y="4286"/>
                      <a:pt x="31163" y="6805"/>
                    </a:cubicBezTo>
                    <a:cubicBezTo>
                      <a:pt x="36623" y="16885"/>
                      <a:pt x="43763" y="26545"/>
                      <a:pt x="34103" y="39564"/>
                    </a:cubicBezTo>
                    <a:cubicBezTo>
                      <a:pt x="26963" y="48804"/>
                      <a:pt x="25703" y="63923"/>
                      <a:pt x="9744" y="61403"/>
                    </a:cubicBezTo>
                    <a:cubicBezTo>
                      <a:pt x="5964" y="60983"/>
                      <a:pt x="1764" y="51324"/>
                      <a:pt x="924" y="45444"/>
                    </a:cubicBezTo>
                    <a:cubicBezTo>
                      <a:pt x="-1596" y="27804"/>
                      <a:pt x="84" y="10585"/>
                      <a:pt x="18144" y="86"/>
                    </a:cubicBezTo>
                    <a:cubicBezTo>
                      <a:pt x="19403" y="-334"/>
                      <a:pt x="21924" y="926"/>
                      <a:pt x="23603" y="92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E479985-9C28-2DD0-7FC4-624D9A9A3B99}"/>
                  </a:ext>
                </a:extLst>
              </p:cNvPr>
              <p:cNvSpPr/>
              <p:nvPr/>
            </p:nvSpPr>
            <p:spPr>
              <a:xfrm>
                <a:off x="6647630" y="2583652"/>
                <a:ext cx="41250" cy="58873"/>
              </a:xfrm>
              <a:custGeom>
                <a:avLst/>
                <a:gdLst>
                  <a:gd name="connsiteX0" fmla="*/ 10520 w 41250"/>
                  <a:gd name="connsiteY0" fmla="*/ 58874 h 58873"/>
                  <a:gd name="connsiteX1" fmla="*/ 5900 w 41250"/>
                  <a:gd name="connsiteY1" fmla="*/ 57194 h 58873"/>
                  <a:gd name="connsiteX2" fmla="*/ 21019 w 41250"/>
                  <a:gd name="connsiteY2" fmla="*/ 76 h 58873"/>
                  <a:gd name="connsiteX3" fmla="*/ 41178 w 41250"/>
                  <a:gd name="connsiteY3" fmla="*/ 16876 h 58873"/>
                  <a:gd name="connsiteX4" fmla="*/ 19759 w 41250"/>
                  <a:gd name="connsiteY4" fmla="*/ 56774 h 58873"/>
                  <a:gd name="connsiteX5" fmla="*/ 10520 w 41250"/>
                  <a:gd name="connsiteY5" fmla="*/ 58874 h 58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250" h="58873">
                    <a:moveTo>
                      <a:pt x="10520" y="58874"/>
                    </a:moveTo>
                    <a:cubicBezTo>
                      <a:pt x="8840" y="58454"/>
                      <a:pt x="7160" y="58034"/>
                      <a:pt x="5900" y="57194"/>
                    </a:cubicBezTo>
                    <a:cubicBezTo>
                      <a:pt x="-7120" y="45014"/>
                      <a:pt x="2960" y="3436"/>
                      <a:pt x="21019" y="76"/>
                    </a:cubicBezTo>
                    <a:cubicBezTo>
                      <a:pt x="26899" y="-1184"/>
                      <a:pt x="42439" y="13516"/>
                      <a:pt x="41178" y="16876"/>
                    </a:cubicBezTo>
                    <a:cubicBezTo>
                      <a:pt x="36979" y="31155"/>
                      <a:pt x="27739" y="43754"/>
                      <a:pt x="19759" y="56774"/>
                    </a:cubicBezTo>
                    <a:cubicBezTo>
                      <a:pt x="18919" y="58454"/>
                      <a:pt x="13880" y="58034"/>
                      <a:pt x="10520" y="5887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4B61F857-1BC9-43AE-5D0C-9A286F8538A5}"/>
                  </a:ext>
                </a:extLst>
              </p:cNvPr>
              <p:cNvSpPr/>
              <p:nvPr/>
            </p:nvSpPr>
            <p:spPr>
              <a:xfrm>
                <a:off x="6622005" y="2467640"/>
                <a:ext cx="52524" cy="50277"/>
              </a:xfrm>
              <a:custGeom>
                <a:avLst/>
                <a:gdLst>
                  <a:gd name="connsiteX0" fmla="*/ 52524 w 52524"/>
                  <a:gd name="connsiteY0" fmla="*/ 17392 h 50277"/>
                  <a:gd name="connsiteX1" fmla="*/ 21026 w 52524"/>
                  <a:gd name="connsiteY1" fmla="*/ 50151 h 50277"/>
                  <a:gd name="connsiteX2" fmla="*/ 27 w 52524"/>
                  <a:gd name="connsiteY2" fmla="*/ 35032 h 50277"/>
                  <a:gd name="connsiteX3" fmla="*/ 25645 w 52524"/>
                  <a:gd name="connsiteY3" fmla="*/ 173 h 50277"/>
                  <a:gd name="connsiteX4" fmla="*/ 52524 w 52524"/>
                  <a:gd name="connsiteY4" fmla="*/ 17392 h 50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524" h="50277">
                    <a:moveTo>
                      <a:pt x="52524" y="17392"/>
                    </a:moveTo>
                    <a:cubicBezTo>
                      <a:pt x="40345" y="30412"/>
                      <a:pt x="31945" y="42171"/>
                      <a:pt x="21026" y="50151"/>
                    </a:cubicBezTo>
                    <a:cubicBezTo>
                      <a:pt x="18506" y="51831"/>
                      <a:pt x="-813" y="36291"/>
                      <a:pt x="27" y="35032"/>
                    </a:cubicBezTo>
                    <a:cubicBezTo>
                      <a:pt x="6746" y="22432"/>
                      <a:pt x="15566" y="10253"/>
                      <a:pt x="25645" y="173"/>
                    </a:cubicBezTo>
                    <a:cubicBezTo>
                      <a:pt x="26905" y="-1507"/>
                      <a:pt x="39925" y="9413"/>
                      <a:pt x="52524" y="173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284AC4F9-474D-1C70-A6A0-6F0288D42299}"/>
                  </a:ext>
                </a:extLst>
              </p:cNvPr>
              <p:cNvSpPr/>
              <p:nvPr/>
            </p:nvSpPr>
            <p:spPr>
              <a:xfrm>
                <a:off x="5383294" y="3054528"/>
                <a:ext cx="44728" cy="57863"/>
              </a:xfrm>
              <a:custGeom>
                <a:avLst/>
                <a:gdLst>
                  <a:gd name="connsiteX0" fmla="*/ 44729 w 44728"/>
                  <a:gd name="connsiteY0" fmla="*/ 26879 h 57863"/>
                  <a:gd name="connsiteX1" fmla="*/ 25829 w 44728"/>
                  <a:gd name="connsiteY1" fmla="*/ 55858 h 57863"/>
                  <a:gd name="connsiteX2" fmla="*/ 8190 w 44728"/>
                  <a:gd name="connsiteY2" fmla="*/ 55438 h 57863"/>
                  <a:gd name="connsiteX3" fmla="*/ 210 w 44728"/>
                  <a:gd name="connsiteY3" fmla="*/ 38638 h 57863"/>
                  <a:gd name="connsiteX4" fmla="*/ 13650 w 44728"/>
                  <a:gd name="connsiteY4" fmla="*/ 17219 h 57863"/>
                  <a:gd name="connsiteX5" fmla="*/ 29189 w 44728"/>
                  <a:gd name="connsiteY5" fmla="*/ 0 h 57863"/>
                  <a:gd name="connsiteX6" fmla="*/ 44729 w 44728"/>
                  <a:gd name="connsiteY6" fmla="*/ 26879 h 5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728" h="57863">
                    <a:moveTo>
                      <a:pt x="44729" y="26879"/>
                    </a:moveTo>
                    <a:cubicBezTo>
                      <a:pt x="38429" y="37378"/>
                      <a:pt x="33389" y="47878"/>
                      <a:pt x="25829" y="55858"/>
                    </a:cubicBezTo>
                    <a:cubicBezTo>
                      <a:pt x="22889" y="58797"/>
                      <a:pt x="12390" y="58378"/>
                      <a:pt x="8190" y="55438"/>
                    </a:cubicBezTo>
                    <a:cubicBezTo>
                      <a:pt x="3570" y="52078"/>
                      <a:pt x="-1050" y="43678"/>
                      <a:pt x="210" y="38638"/>
                    </a:cubicBezTo>
                    <a:cubicBezTo>
                      <a:pt x="1890" y="30659"/>
                      <a:pt x="8190" y="23939"/>
                      <a:pt x="13650" y="17219"/>
                    </a:cubicBezTo>
                    <a:cubicBezTo>
                      <a:pt x="18270" y="11340"/>
                      <a:pt x="24149" y="5880"/>
                      <a:pt x="29189" y="0"/>
                    </a:cubicBezTo>
                    <a:cubicBezTo>
                      <a:pt x="33809" y="7980"/>
                      <a:pt x="38429" y="15959"/>
                      <a:pt x="44729" y="2687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7CCB4F1E-A352-D7C5-DBD1-678516D18AEB}"/>
                  </a:ext>
                </a:extLst>
              </p:cNvPr>
              <p:cNvSpPr/>
              <p:nvPr/>
            </p:nvSpPr>
            <p:spPr>
              <a:xfrm>
                <a:off x="5000286" y="2687402"/>
                <a:ext cx="42810" cy="58019"/>
              </a:xfrm>
              <a:custGeom>
                <a:avLst/>
                <a:gdLst>
                  <a:gd name="connsiteX0" fmla="*/ 17414 w 42810"/>
                  <a:gd name="connsiteY0" fmla="*/ 58019 h 58019"/>
                  <a:gd name="connsiteX1" fmla="*/ 1455 w 42810"/>
                  <a:gd name="connsiteY1" fmla="*/ 26941 h 58019"/>
                  <a:gd name="connsiteX2" fmla="*/ 15734 w 42810"/>
                  <a:gd name="connsiteY2" fmla="*/ 5522 h 58019"/>
                  <a:gd name="connsiteX3" fmla="*/ 41353 w 42810"/>
                  <a:gd name="connsiteY3" fmla="*/ 9301 h 58019"/>
                  <a:gd name="connsiteX4" fmla="*/ 22034 w 42810"/>
                  <a:gd name="connsiteY4" fmla="*/ 57599 h 58019"/>
                  <a:gd name="connsiteX5" fmla="*/ 17414 w 42810"/>
                  <a:gd name="connsiteY5" fmla="*/ 58019 h 58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810" h="58019">
                    <a:moveTo>
                      <a:pt x="17414" y="58019"/>
                    </a:moveTo>
                    <a:cubicBezTo>
                      <a:pt x="6915" y="56759"/>
                      <a:pt x="-4005" y="36180"/>
                      <a:pt x="1455" y="26941"/>
                    </a:cubicBezTo>
                    <a:cubicBezTo>
                      <a:pt x="6075" y="19801"/>
                      <a:pt x="10274" y="12241"/>
                      <a:pt x="15734" y="5522"/>
                    </a:cubicBezTo>
                    <a:cubicBezTo>
                      <a:pt x="22874" y="-3298"/>
                      <a:pt x="35893" y="-1198"/>
                      <a:pt x="41353" y="9301"/>
                    </a:cubicBezTo>
                    <a:cubicBezTo>
                      <a:pt x="47233" y="20641"/>
                      <a:pt x="34213" y="52979"/>
                      <a:pt x="22034" y="57599"/>
                    </a:cubicBezTo>
                    <a:cubicBezTo>
                      <a:pt x="20774" y="57599"/>
                      <a:pt x="19094" y="57599"/>
                      <a:pt x="17414" y="580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1976FADD-C7F9-CFB6-2584-975BD9BEA284}"/>
                  </a:ext>
                </a:extLst>
              </p:cNvPr>
              <p:cNvSpPr/>
              <p:nvPr/>
            </p:nvSpPr>
            <p:spPr>
              <a:xfrm>
                <a:off x="5087512" y="3338140"/>
                <a:ext cx="51982" cy="51147"/>
              </a:xfrm>
              <a:custGeom>
                <a:avLst/>
                <a:gdLst>
                  <a:gd name="connsiteX0" fmla="*/ 51983 w 51982"/>
                  <a:gd name="connsiteY0" fmla="*/ 7855 h 51147"/>
                  <a:gd name="connsiteX1" fmla="*/ 37703 w 51982"/>
                  <a:gd name="connsiteY1" fmla="*/ 38094 h 51147"/>
                  <a:gd name="connsiteX2" fmla="*/ 7465 w 51982"/>
                  <a:gd name="connsiteY2" fmla="*/ 47754 h 51147"/>
                  <a:gd name="connsiteX3" fmla="*/ 7885 w 51982"/>
                  <a:gd name="connsiteY3" fmla="*/ 17095 h 51147"/>
                  <a:gd name="connsiteX4" fmla="*/ 25524 w 51982"/>
                  <a:gd name="connsiteY4" fmla="*/ 296 h 51147"/>
                  <a:gd name="connsiteX5" fmla="*/ 51983 w 51982"/>
                  <a:gd name="connsiteY5" fmla="*/ 7855 h 5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982" h="51147">
                    <a:moveTo>
                      <a:pt x="51983" y="7855"/>
                    </a:moveTo>
                    <a:cubicBezTo>
                      <a:pt x="46103" y="20455"/>
                      <a:pt x="42743" y="29694"/>
                      <a:pt x="37703" y="38094"/>
                    </a:cubicBezTo>
                    <a:cubicBezTo>
                      <a:pt x="30564" y="49433"/>
                      <a:pt x="18384" y="55313"/>
                      <a:pt x="7465" y="47754"/>
                    </a:cubicBezTo>
                    <a:cubicBezTo>
                      <a:pt x="-4715" y="39354"/>
                      <a:pt x="-95" y="26754"/>
                      <a:pt x="7885" y="17095"/>
                    </a:cubicBezTo>
                    <a:cubicBezTo>
                      <a:pt x="13344" y="10795"/>
                      <a:pt x="18804" y="1556"/>
                      <a:pt x="25524" y="296"/>
                    </a:cubicBezTo>
                    <a:cubicBezTo>
                      <a:pt x="33084" y="-1384"/>
                      <a:pt x="42323" y="4495"/>
                      <a:pt x="51983" y="78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B6A8B60F-D7CB-9172-561D-239AC58BEC1D}"/>
                  </a:ext>
                </a:extLst>
              </p:cNvPr>
              <p:cNvSpPr/>
              <p:nvPr/>
            </p:nvSpPr>
            <p:spPr>
              <a:xfrm>
                <a:off x="6726792" y="2236728"/>
                <a:ext cx="48113" cy="58519"/>
              </a:xfrm>
              <a:custGeom>
                <a:avLst/>
                <a:gdLst>
                  <a:gd name="connsiteX0" fmla="*/ 47273 w 48113"/>
                  <a:gd name="connsiteY0" fmla="*/ 8495 h 58519"/>
                  <a:gd name="connsiteX1" fmla="*/ 28794 w 48113"/>
                  <a:gd name="connsiteY1" fmla="*/ 48814 h 58519"/>
                  <a:gd name="connsiteX2" fmla="*/ 3175 w 48113"/>
                  <a:gd name="connsiteY2" fmla="*/ 52593 h 58519"/>
                  <a:gd name="connsiteX3" fmla="*/ 1075 w 48113"/>
                  <a:gd name="connsiteY3" fmla="*/ 30754 h 58519"/>
                  <a:gd name="connsiteX4" fmla="*/ 12835 w 48113"/>
                  <a:gd name="connsiteY4" fmla="*/ 14375 h 58519"/>
                  <a:gd name="connsiteX5" fmla="*/ 48113 w 48113"/>
                  <a:gd name="connsiteY5" fmla="*/ 9335 h 58519"/>
                  <a:gd name="connsiteX6" fmla="*/ 47273 w 48113"/>
                  <a:gd name="connsiteY6" fmla="*/ 8495 h 58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113" h="58519">
                    <a:moveTo>
                      <a:pt x="47273" y="8495"/>
                    </a:moveTo>
                    <a:cubicBezTo>
                      <a:pt x="41393" y="22355"/>
                      <a:pt x="37613" y="37054"/>
                      <a:pt x="28794" y="48814"/>
                    </a:cubicBezTo>
                    <a:cubicBezTo>
                      <a:pt x="25014" y="53853"/>
                      <a:pt x="12415" y="65613"/>
                      <a:pt x="3175" y="52593"/>
                    </a:cubicBezTo>
                    <a:cubicBezTo>
                      <a:pt x="-605" y="47554"/>
                      <a:pt x="-605" y="37894"/>
                      <a:pt x="1075" y="30754"/>
                    </a:cubicBezTo>
                    <a:cubicBezTo>
                      <a:pt x="2755" y="24875"/>
                      <a:pt x="10735" y="20255"/>
                      <a:pt x="12835" y="14375"/>
                    </a:cubicBezTo>
                    <a:cubicBezTo>
                      <a:pt x="22074" y="-10404"/>
                      <a:pt x="35514" y="3035"/>
                      <a:pt x="48113" y="9335"/>
                    </a:cubicBezTo>
                    <a:lnTo>
                      <a:pt x="47273" y="8495"/>
                    </a:ln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BF87138F-142F-5458-BD70-ED6E483C79A1}"/>
                  </a:ext>
                </a:extLst>
              </p:cNvPr>
              <p:cNvSpPr/>
              <p:nvPr/>
            </p:nvSpPr>
            <p:spPr>
              <a:xfrm>
                <a:off x="5160629" y="3219773"/>
                <a:ext cx="42283" cy="52775"/>
              </a:xfrm>
              <a:custGeom>
                <a:avLst/>
                <a:gdLst>
                  <a:gd name="connsiteX0" fmla="*/ 42284 w 42283"/>
                  <a:gd name="connsiteY0" fmla="*/ 10308 h 52775"/>
                  <a:gd name="connsiteX1" fmla="*/ 15825 w 42283"/>
                  <a:gd name="connsiteY1" fmla="*/ 52726 h 52775"/>
                  <a:gd name="connsiteX2" fmla="*/ 285 w 42283"/>
                  <a:gd name="connsiteY2" fmla="*/ 32567 h 52775"/>
                  <a:gd name="connsiteX3" fmla="*/ 30524 w 42283"/>
                  <a:gd name="connsiteY3" fmla="*/ 648 h 52775"/>
                  <a:gd name="connsiteX4" fmla="*/ 42284 w 42283"/>
                  <a:gd name="connsiteY4" fmla="*/ 10308 h 52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83" h="52775">
                    <a:moveTo>
                      <a:pt x="42284" y="10308"/>
                    </a:moveTo>
                    <a:cubicBezTo>
                      <a:pt x="41444" y="32147"/>
                      <a:pt x="28424" y="52306"/>
                      <a:pt x="15825" y="52726"/>
                    </a:cubicBezTo>
                    <a:cubicBezTo>
                      <a:pt x="1545" y="53566"/>
                      <a:pt x="-975" y="43487"/>
                      <a:pt x="285" y="32567"/>
                    </a:cubicBezTo>
                    <a:cubicBezTo>
                      <a:pt x="1965" y="9888"/>
                      <a:pt x="14145" y="-3131"/>
                      <a:pt x="30524" y="648"/>
                    </a:cubicBezTo>
                    <a:cubicBezTo>
                      <a:pt x="35564" y="1908"/>
                      <a:pt x="39344" y="7788"/>
                      <a:pt x="42284" y="1030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4AEE7E07-FDB3-5C31-4520-68944C36BBBA}"/>
                  </a:ext>
                </a:extLst>
              </p:cNvPr>
              <p:cNvSpPr/>
              <p:nvPr/>
            </p:nvSpPr>
            <p:spPr>
              <a:xfrm>
                <a:off x="6587539" y="1943664"/>
                <a:ext cx="49248" cy="58389"/>
              </a:xfrm>
              <a:custGeom>
                <a:avLst/>
                <a:gdLst>
                  <a:gd name="connsiteX0" fmla="*/ 10554 w 49248"/>
                  <a:gd name="connsiteY0" fmla="*/ 58389 h 58389"/>
                  <a:gd name="connsiteX1" fmla="*/ 54 w 49248"/>
                  <a:gd name="connsiteY1" fmla="*/ 42850 h 58389"/>
                  <a:gd name="connsiteX2" fmla="*/ 37852 w 49248"/>
                  <a:gd name="connsiteY2" fmla="*/ 12 h 58389"/>
                  <a:gd name="connsiteX3" fmla="*/ 49192 w 49248"/>
                  <a:gd name="connsiteY3" fmla="*/ 11771 h 58389"/>
                  <a:gd name="connsiteX4" fmla="*/ 21473 w 49248"/>
                  <a:gd name="connsiteY4" fmla="*/ 54190 h 58389"/>
                  <a:gd name="connsiteX5" fmla="*/ 10554 w 49248"/>
                  <a:gd name="connsiteY5" fmla="*/ 58389 h 5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248" h="58389">
                    <a:moveTo>
                      <a:pt x="10554" y="58389"/>
                    </a:moveTo>
                    <a:cubicBezTo>
                      <a:pt x="7194" y="53350"/>
                      <a:pt x="474" y="48310"/>
                      <a:pt x="54" y="42850"/>
                    </a:cubicBezTo>
                    <a:cubicBezTo>
                      <a:pt x="-1206" y="26891"/>
                      <a:pt x="19793" y="2952"/>
                      <a:pt x="37852" y="12"/>
                    </a:cubicBezTo>
                    <a:cubicBezTo>
                      <a:pt x="41212" y="-408"/>
                      <a:pt x="50032" y="10511"/>
                      <a:pt x="49192" y="11771"/>
                    </a:cubicBezTo>
                    <a:cubicBezTo>
                      <a:pt x="40792" y="26471"/>
                      <a:pt x="31133" y="40750"/>
                      <a:pt x="21473" y="54190"/>
                    </a:cubicBezTo>
                    <a:cubicBezTo>
                      <a:pt x="19793" y="56709"/>
                      <a:pt x="15593" y="56709"/>
                      <a:pt x="10554" y="5838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FF01CCA6-DF0F-C60B-F576-B269D70ED1FB}"/>
                  </a:ext>
                </a:extLst>
              </p:cNvPr>
              <p:cNvSpPr/>
              <p:nvPr/>
            </p:nvSpPr>
            <p:spPr>
              <a:xfrm>
                <a:off x="5204224" y="2100064"/>
                <a:ext cx="41526" cy="56304"/>
              </a:xfrm>
              <a:custGeom>
                <a:avLst/>
                <a:gdLst>
                  <a:gd name="connsiteX0" fmla="*/ 41526 w 41526"/>
                  <a:gd name="connsiteY0" fmla="*/ 8245 h 56304"/>
                  <a:gd name="connsiteX1" fmla="*/ 18847 w 41526"/>
                  <a:gd name="connsiteY1" fmla="*/ 55703 h 56304"/>
                  <a:gd name="connsiteX2" fmla="*/ 3308 w 41526"/>
                  <a:gd name="connsiteY2" fmla="*/ 50244 h 56304"/>
                  <a:gd name="connsiteX3" fmla="*/ 22207 w 41526"/>
                  <a:gd name="connsiteY3" fmla="*/ 266 h 56304"/>
                  <a:gd name="connsiteX4" fmla="*/ 41526 w 41526"/>
                  <a:gd name="connsiteY4" fmla="*/ 8245 h 5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26" h="56304">
                    <a:moveTo>
                      <a:pt x="41526" y="8245"/>
                    </a:moveTo>
                    <a:cubicBezTo>
                      <a:pt x="38586" y="29664"/>
                      <a:pt x="32707" y="45204"/>
                      <a:pt x="18847" y="55703"/>
                    </a:cubicBezTo>
                    <a:cubicBezTo>
                      <a:pt x="16327" y="57803"/>
                      <a:pt x="5408" y="54023"/>
                      <a:pt x="3308" y="50244"/>
                    </a:cubicBezTo>
                    <a:cubicBezTo>
                      <a:pt x="-5932" y="34704"/>
                      <a:pt x="5408" y="4466"/>
                      <a:pt x="22207" y="266"/>
                    </a:cubicBezTo>
                    <a:cubicBezTo>
                      <a:pt x="27247" y="-1414"/>
                      <a:pt x="34807" y="5305"/>
                      <a:pt x="41526" y="824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3807733A-7661-019D-2727-0B345AA22F36}"/>
                  </a:ext>
                </a:extLst>
              </p:cNvPr>
              <p:cNvSpPr/>
              <p:nvPr/>
            </p:nvSpPr>
            <p:spPr>
              <a:xfrm>
                <a:off x="5968034" y="1910587"/>
                <a:ext cx="40908" cy="52453"/>
              </a:xfrm>
              <a:custGeom>
                <a:avLst/>
                <a:gdLst>
                  <a:gd name="connsiteX0" fmla="*/ 40824 w 40908"/>
                  <a:gd name="connsiteY0" fmla="*/ 10410 h 52453"/>
                  <a:gd name="connsiteX1" fmla="*/ 16045 w 40908"/>
                  <a:gd name="connsiteY1" fmla="*/ 52408 h 52453"/>
                  <a:gd name="connsiteX2" fmla="*/ 2605 w 40908"/>
                  <a:gd name="connsiteY2" fmla="*/ 46948 h 52453"/>
                  <a:gd name="connsiteX3" fmla="*/ 17304 w 40908"/>
                  <a:gd name="connsiteY3" fmla="*/ 1590 h 52453"/>
                  <a:gd name="connsiteX4" fmla="*/ 32424 w 40908"/>
                  <a:gd name="connsiteY4" fmla="*/ 1590 h 52453"/>
                  <a:gd name="connsiteX5" fmla="*/ 40824 w 40908"/>
                  <a:gd name="connsiteY5" fmla="*/ 10410 h 52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908" h="52453">
                    <a:moveTo>
                      <a:pt x="40824" y="10410"/>
                    </a:moveTo>
                    <a:cubicBezTo>
                      <a:pt x="42084" y="30149"/>
                      <a:pt x="29064" y="51568"/>
                      <a:pt x="16045" y="52408"/>
                    </a:cubicBezTo>
                    <a:cubicBezTo>
                      <a:pt x="11425" y="52828"/>
                      <a:pt x="5125" y="50308"/>
                      <a:pt x="2605" y="46948"/>
                    </a:cubicBezTo>
                    <a:cubicBezTo>
                      <a:pt x="-4534" y="36869"/>
                      <a:pt x="3865" y="9990"/>
                      <a:pt x="17304" y="1590"/>
                    </a:cubicBezTo>
                    <a:cubicBezTo>
                      <a:pt x="21084" y="-929"/>
                      <a:pt x="27804" y="-90"/>
                      <a:pt x="32424" y="1590"/>
                    </a:cubicBezTo>
                    <a:cubicBezTo>
                      <a:pt x="36204" y="3270"/>
                      <a:pt x="38724" y="8310"/>
                      <a:pt x="40824" y="104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F9C02371-20E8-F924-9979-054D5D468D07}"/>
                  </a:ext>
                </a:extLst>
              </p:cNvPr>
              <p:cNvSpPr/>
              <p:nvPr/>
            </p:nvSpPr>
            <p:spPr>
              <a:xfrm>
                <a:off x="6617261" y="3294338"/>
                <a:ext cx="41047" cy="60111"/>
              </a:xfrm>
              <a:custGeom>
                <a:avLst/>
                <a:gdLst>
                  <a:gd name="connsiteX0" fmla="*/ 28289 w 41047"/>
                  <a:gd name="connsiteY0" fmla="*/ 0 h 60111"/>
                  <a:gd name="connsiteX1" fmla="*/ 40469 w 41047"/>
                  <a:gd name="connsiteY1" fmla="*/ 14699 h 60111"/>
                  <a:gd name="connsiteX2" fmla="*/ 38369 w 41047"/>
                  <a:gd name="connsiteY2" fmla="*/ 28979 h 60111"/>
                  <a:gd name="connsiteX3" fmla="*/ 9390 w 41047"/>
                  <a:gd name="connsiteY3" fmla="*/ 60057 h 60111"/>
                  <a:gd name="connsiteX4" fmla="*/ 1830 w 41047"/>
                  <a:gd name="connsiteY4" fmla="*/ 54178 h 60111"/>
                  <a:gd name="connsiteX5" fmla="*/ 13590 w 41047"/>
                  <a:gd name="connsiteY5" fmla="*/ 11759 h 60111"/>
                  <a:gd name="connsiteX6" fmla="*/ 28289 w 41047"/>
                  <a:gd name="connsiteY6" fmla="*/ 0 h 60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047" h="60111">
                    <a:moveTo>
                      <a:pt x="28289" y="0"/>
                    </a:moveTo>
                    <a:cubicBezTo>
                      <a:pt x="34169" y="6720"/>
                      <a:pt x="39209" y="10079"/>
                      <a:pt x="40469" y="14699"/>
                    </a:cubicBezTo>
                    <a:cubicBezTo>
                      <a:pt x="41729" y="18899"/>
                      <a:pt x="40889" y="25619"/>
                      <a:pt x="38369" y="28979"/>
                    </a:cubicBezTo>
                    <a:cubicBezTo>
                      <a:pt x="29969" y="40318"/>
                      <a:pt x="30809" y="61317"/>
                      <a:pt x="9390" y="60057"/>
                    </a:cubicBezTo>
                    <a:cubicBezTo>
                      <a:pt x="6450" y="60057"/>
                      <a:pt x="2250" y="56698"/>
                      <a:pt x="1830" y="54178"/>
                    </a:cubicBezTo>
                    <a:cubicBezTo>
                      <a:pt x="-2789" y="37798"/>
                      <a:pt x="1410" y="23519"/>
                      <a:pt x="13590" y="11759"/>
                    </a:cubicBezTo>
                    <a:cubicBezTo>
                      <a:pt x="17790" y="7560"/>
                      <a:pt x="22829" y="4200"/>
                      <a:pt x="2828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A96E7BC9-B2C2-507B-D1F1-1115B1204451}"/>
                  </a:ext>
                </a:extLst>
              </p:cNvPr>
              <p:cNvSpPr/>
              <p:nvPr/>
            </p:nvSpPr>
            <p:spPr>
              <a:xfrm>
                <a:off x="6725670" y="2539821"/>
                <a:ext cx="47166" cy="51532"/>
              </a:xfrm>
              <a:custGeom>
                <a:avLst/>
                <a:gdLst>
                  <a:gd name="connsiteX0" fmla="*/ 47135 w 47166"/>
                  <a:gd name="connsiteY0" fmla="*/ 14089 h 51532"/>
                  <a:gd name="connsiteX1" fmla="*/ 19416 w 47166"/>
                  <a:gd name="connsiteY1" fmla="*/ 51047 h 51532"/>
                  <a:gd name="connsiteX2" fmla="*/ 14376 w 47166"/>
                  <a:gd name="connsiteY2" fmla="*/ 51047 h 51532"/>
                  <a:gd name="connsiteX3" fmla="*/ 97 w 47166"/>
                  <a:gd name="connsiteY3" fmla="*/ 37188 h 51532"/>
                  <a:gd name="connsiteX4" fmla="*/ 29076 w 47166"/>
                  <a:gd name="connsiteY4" fmla="*/ 229 h 51532"/>
                  <a:gd name="connsiteX5" fmla="*/ 47135 w 47166"/>
                  <a:gd name="connsiteY5" fmla="*/ 14089 h 51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166" h="51532">
                    <a:moveTo>
                      <a:pt x="47135" y="14089"/>
                    </a:moveTo>
                    <a:cubicBezTo>
                      <a:pt x="47975" y="28788"/>
                      <a:pt x="32015" y="48107"/>
                      <a:pt x="19416" y="51047"/>
                    </a:cubicBezTo>
                    <a:cubicBezTo>
                      <a:pt x="17736" y="51467"/>
                      <a:pt x="15216" y="51887"/>
                      <a:pt x="14376" y="51047"/>
                    </a:cubicBezTo>
                    <a:cubicBezTo>
                      <a:pt x="9336" y="46848"/>
                      <a:pt x="937" y="42648"/>
                      <a:pt x="97" y="37188"/>
                    </a:cubicBezTo>
                    <a:cubicBezTo>
                      <a:pt x="-1583" y="23328"/>
                      <a:pt x="18996" y="-2711"/>
                      <a:pt x="29076" y="229"/>
                    </a:cubicBezTo>
                    <a:cubicBezTo>
                      <a:pt x="36635" y="2329"/>
                      <a:pt x="42095" y="9889"/>
                      <a:pt x="47135" y="1408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92E5E026-B7B8-D01A-1C3A-50603CDF67C8}"/>
                  </a:ext>
                </a:extLst>
              </p:cNvPr>
              <p:cNvSpPr/>
              <p:nvPr/>
            </p:nvSpPr>
            <p:spPr>
              <a:xfrm>
                <a:off x="5721590" y="3571223"/>
                <a:ext cx="57117" cy="48077"/>
              </a:xfrm>
              <a:custGeom>
                <a:avLst/>
                <a:gdLst>
                  <a:gd name="connsiteX0" fmla="*/ 57118 w 57117"/>
                  <a:gd name="connsiteY0" fmla="*/ 10382 h 48077"/>
                  <a:gd name="connsiteX1" fmla="*/ 18899 w 57117"/>
                  <a:gd name="connsiteY1" fmla="*/ 47341 h 48077"/>
                  <a:gd name="connsiteX2" fmla="*/ 0 w 57117"/>
                  <a:gd name="connsiteY2" fmla="*/ 43561 h 48077"/>
                  <a:gd name="connsiteX3" fmla="*/ 3780 w 57117"/>
                  <a:gd name="connsiteY3" fmla="*/ 30541 h 48077"/>
                  <a:gd name="connsiteX4" fmla="*/ 17639 w 57117"/>
                  <a:gd name="connsiteY4" fmla="*/ 3663 h 48077"/>
                  <a:gd name="connsiteX5" fmla="*/ 34019 w 57117"/>
                  <a:gd name="connsiteY5" fmla="*/ 303 h 48077"/>
                  <a:gd name="connsiteX6" fmla="*/ 57118 w 57117"/>
                  <a:gd name="connsiteY6" fmla="*/ 10382 h 48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17" h="48077">
                    <a:moveTo>
                      <a:pt x="57118" y="10382"/>
                    </a:moveTo>
                    <a:cubicBezTo>
                      <a:pt x="39058" y="28442"/>
                      <a:pt x="30239" y="39361"/>
                      <a:pt x="18899" y="47341"/>
                    </a:cubicBezTo>
                    <a:cubicBezTo>
                      <a:pt x="15539" y="49861"/>
                      <a:pt x="6300" y="45241"/>
                      <a:pt x="0" y="43561"/>
                    </a:cubicBezTo>
                    <a:cubicBezTo>
                      <a:pt x="1260" y="39361"/>
                      <a:pt x="1680" y="34741"/>
                      <a:pt x="3780" y="30541"/>
                    </a:cubicBezTo>
                    <a:cubicBezTo>
                      <a:pt x="7980" y="21302"/>
                      <a:pt x="11340" y="11642"/>
                      <a:pt x="17639" y="3663"/>
                    </a:cubicBezTo>
                    <a:cubicBezTo>
                      <a:pt x="20159" y="303"/>
                      <a:pt x="28559" y="-537"/>
                      <a:pt x="34019" y="303"/>
                    </a:cubicBezTo>
                    <a:cubicBezTo>
                      <a:pt x="40738" y="1563"/>
                      <a:pt x="46618" y="5763"/>
                      <a:pt x="57118" y="1038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A648A902-272E-FC40-25C6-D597F69496EF}"/>
                  </a:ext>
                </a:extLst>
              </p:cNvPr>
              <p:cNvSpPr/>
              <p:nvPr/>
            </p:nvSpPr>
            <p:spPr>
              <a:xfrm>
                <a:off x="6452134" y="1953991"/>
                <a:ext cx="36343" cy="59298"/>
              </a:xfrm>
              <a:custGeom>
                <a:avLst/>
                <a:gdLst>
                  <a:gd name="connsiteX0" fmla="*/ 36343 w 36343"/>
                  <a:gd name="connsiteY0" fmla="*/ 12364 h 59298"/>
                  <a:gd name="connsiteX1" fmla="*/ 28783 w 36343"/>
                  <a:gd name="connsiteY1" fmla="*/ 38823 h 59298"/>
                  <a:gd name="connsiteX2" fmla="*/ 4844 w 36343"/>
                  <a:gd name="connsiteY2" fmla="*/ 57722 h 59298"/>
                  <a:gd name="connsiteX3" fmla="*/ 224 w 36343"/>
                  <a:gd name="connsiteY3" fmla="*/ 26223 h 59298"/>
                  <a:gd name="connsiteX4" fmla="*/ 9464 w 36343"/>
                  <a:gd name="connsiteY4" fmla="*/ 8584 h 59298"/>
                  <a:gd name="connsiteX5" fmla="*/ 24163 w 36343"/>
                  <a:gd name="connsiteY5" fmla="*/ 184 h 59298"/>
                  <a:gd name="connsiteX6" fmla="*/ 36343 w 36343"/>
                  <a:gd name="connsiteY6" fmla="*/ 12364 h 59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343" h="59298">
                    <a:moveTo>
                      <a:pt x="36343" y="12364"/>
                    </a:moveTo>
                    <a:cubicBezTo>
                      <a:pt x="33403" y="22443"/>
                      <a:pt x="31303" y="30843"/>
                      <a:pt x="28783" y="38823"/>
                    </a:cubicBezTo>
                    <a:cubicBezTo>
                      <a:pt x="24583" y="50162"/>
                      <a:pt x="18704" y="64022"/>
                      <a:pt x="4844" y="57722"/>
                    </a:cubicBezTo>
                    <a:cubicBezTo>
                      <a:pt x="-616" y="55202"/>
                      <a:pt x="-195" y="37143"/>
                      <a:pt x="224" y="26223"/>
                    </a:cubicBezTo>
                    <a:cubicBezTo>
                      <a:pt x="224" y="20344"/>
                      <a:pt x="4844" y="13204"/>
                      <a:pt x="9464" y="8584"/>
                    </a:cubicBezTo>
                    <a:cubicBezTo>
                      <a:pt x="13244" y="4384"/>
                      <a:pt x="20384" y="-1076"/>
                      <a:pt x="24163" y="184"/>
                    </a:cubicBezTo>
                    <a:cubicBezTo>
                      <a:pt x="29203" y="1444"/>
                      <a:pt x="32983" y="9004"/>
                      <a:pt x="36343" y="123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B132B561-6211-C259-4D64-A314E8DDAF6F}"/>
                  </a:ext>
                </a:extLst>
              </p:cNvPr>
              <p:cNvSpPr/>
              <p:nvPr/>
            </p:nvSpPr>
            <p:spPr>
              <a:xfrm>
                <a:off x="5250115" y="2308197"/>
                <a:ext cx="50233" cy="49872"/>
              </a:xfrm>
              <a:custGeom>
                <a:avLst/>
                <a:gdLst>
                  <a:gd name="connsiteX0" fmla="*/ 50233 w 50233"/>
                  <a:gd name="connsiteY0" fmla="*/ 9683 h 49872"/>
                  <a:gd name="connsiteX1" fmla="*/ 21254 w 50233"/>
                  <a:gd name="connsiteY1" fmla="*/ 49581 h 49872"/>
                  <a:gd name="connsiteX2" fmla="*/ 1095 w 50233"/>
                  <a:gd name="connsiteY2" fmla="*/ 39921 h 49872"/>
                  <a:gd name="connsiteX3" fmla="*/ 31334 w 50233"/>
                  <a:gd name="connsiteY3" fmla="*/ 23 h 49872"/>
                  <a:gd name="connsiteX4" fmla="*/ 50233 w 50233"/>
                  <a:gd name="connsiteY4" fmla="*/ 9683 h 4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33" h="49872">
                    <a:moveTo>
                      <a:pt x="50233" y="9683"/>
                    </a:moveTo>
                    <a:cubicBezTo>
                      <a:pt x="39314" y="25642"/>
                      <a:pt x="31334" y="38661"/>
                      <a:pt x="21254" y="49581"/>
                    </a:cubicBezTo>
                    <a:cubicBezTo>
                      <a:pt x="19575" y="51261"/>
                      <a:pt x="3195" y="45381"/>
                      <a:pt x="1095" y="39921"/>
                    </a:cubicBezTo>
                    <a:cubicBezTo>
                      <a:pt x="-4784" y="25222"/>
                      <a:pt x="14115" y="863"/>
                      <a:pt x="31334" y="23"/>
                    </a:cubicBezTo>
                    <a:cubicBezTo>
                      <a:pt x="35954" y="-397"/>
                      <a:pt x="41414" y="5063"/>
                      <a:pt x="50233" y="96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B3A6D20B-2A7B-448F-B327-0BEDBE6734D9}"/>
                  </a:ext>
                </a:extLst>
              </p:cNvPr>
              <p:cNvSpPr/>
              <p:nvPr/>
            </p:nvSpPr>
            <p:spPr>
              <a:xfrm>
                <a:off x="5577956" y="1973350"/>
                <a:ext cx="39504" cy="62309"/>
              </a:xfrm>
              <a:custGeom>
                <a:avLst/>
                <a:gdLst>
                  <a:gd name="connsiteX0" fmla="*/ 0 w 39504"/>
                  <a:gd name="connsiteY0" fmla="*/ 41723 h 62309"/>
                  <a:gd name="connsiteX1" fmla="*/ 11340 w 39504"/>
                  <a:gd name="connsiteY1" fmla="*/ 13584 h 62309"/>
                  <a:gd name="connsiteX2" fmla="*/ 28559 w 39504"/>
                  <a:gd name="connsiteY2" fmla="*/ 2664 h 62309"/>
                  <a:gd name="connsiteX3" fmla="*/ 39478 w 39504"/>
                  <a:gd name="connsiteY3" fmla="*/ 27863 h 62309"/>
                  <a:gd name="connsiteX4" fmla="*/ 25619 w 39504"/>
                  <a:gd name="connsiteY4" fmla="*/ 48862 h 62309"/>
                  <a:gd name="connsiteX5" fmla="*/ 7980 w 39504"/>
                  <a:gd name="connsiteY5" fmla="*/ 60622 h 62309"/>
                  <a:gd name="connsiteX6" fmla="*/ 0 w 39504"/>
                  <a:gd name="connsiteY6" fmla="*/ 41723 h 62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504" h="62309">
                    <a:moveTo>
                      <a:pt x="0" y="41723"/>
                    </a:moveTo>
                    <a:cubicBezTo>
                      <a:pt x="3780" y="32063"/>
                      <a:pt x="7980" y="23243"/>
                      <a:pt x="11340" y="13584"/>
                    </a:cubicBezTo>
                    <a:cubicBezTo>
                      <a:pt x="14279" y="5184"/>
                      <a:pt x="19319" y="-4895"/>
                      <a:pt x="28559" y="2664"/>
                    </a:cubicBezTo>
                    <a:cubicBezTo>
                      <a:pt x="35279" y="7704"/>
                      <a:pt x="39898" y="19464"/>
                      <a:pt x="39478" y="27863"/>
                    </a:cubicBezTo>
                    <a:cubicBezTo>
                      <a:pt x="39059" y="35003"/>
                      <a:pt x="28979" y="41303"/>
                      <a:pt x="25619" y="48862"/>
                    </a:cubicBezTo>
                    <a:cubicBezTo>
                      <a:pt x="21839" y="57262"/>
                      <a:pt x="18479" y="66082"/>
                      <a:pt x="7980" y="60622"/>
                    </a:cubicBezTo>
                    <a:cubicBezTo>
                      <a:pt x="3360" y="58102"/>
                      <a:pt x="2940" y="48862"/>
                      <a:pt x="0" y="4172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905DD79A-F939-0290-26F2-43235EE70FF1}"/>
                  </a:ext>
                </a:extLst>
              </p:cNvPr>
              <p:cNvSpPr/>
              <p:nvPr/>
            </p:nvSpPr>
            <p:spPr>
              <a:xfrm>
                <a:off x="5717328" y="3306305"/>
                <a:ext cx="43740" cy="59620"/>
              </a:xfrm>
              <a:custGeom>
                <a:avLst/>
                <a:gdLst>
                  <a:gd name="connsiteX0" fmla="*/ 43740 w 43740"/>
                  <a:gd name="connsiteY0" fmla="*/ 14912 h 59620"/>
                  <a:gd name="connsiteX1" fmla="*/ 30301 w 43740"/>
                  <a:gd name="connsiteY1" fmla="*/ 48510 h 59620"/>
                  <a:gd name="connsiteX2" fmla="*/ 11402 w 43740"/>
                  <a:gd name="connsiteY2" fmla="*/ 56910 h 59620"/>
                  <a:gd name="connsiteX3" fmla="*/ 3002 w 43740"/>
                  <a:gd name="connsiteY3" fmla="*/ 31711 h 59620"/>
                  <a:gd name="connsiteX4" fmla="*/ 20221 w 43740"/>
                  <a:gd name="connsiteY4" fmla="*/ 6932 h 59620"/>
                  <a:gd name="connsiteX5" fmla="*/ 31141 w 43740"/>
                  <a:gd name="connsiteY5" fmla="*/ 212 h 59620"/>
                  <a:gd name="connsiteX6" fmla="*/ 43740 w 43740"/>
                  <a:gd name="connsiteY6" fmla="*/ 14912 h 5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740" h="59620">
                    <a:moveTo>
                      <a:pt x="43740" y="14912"/>
                    </a:moveTo>
                    <a:cubicBezTo>
                      <a:pt x="38701" y="27091"/>
                      <a:pt x="34501" y="37591"/>
                      <a:pt x="30301" y="48510"/>
                    </a:cubicBezTo>
                    <a:cubicBezTo>
                      <a:pt x="26521" y="57750"/>
                      <a:pt x="20641" y="63210"/>
                      <a:pt x="11402" y="56910"/>
                    </a:cubicBezTo>
                    <a:cubicBezTo>
                      <a:pt x="2582" y="51030"/>
                      <a:pt x="-4138" y="43050"/>
                      <a:pt x="3002" y="31711"/>
                    </a:cubicBezTo>
                    <a:cubicBezTo>
                      <a:pt x="8462" y="23311"/>
                      <a:pt x="13922" y="14912"/>
                      <a:pt x="20221" y="6932"/>
                    </a:cubicBezTo>
                    <a:cubicBezTo>
                      <a:pt x="22741" y="3572"/>
                      <a:pt x="29461" y="-1048"/>
                      <a:pt x="31141" y="212"/>
                    </a:cubicBezTo>
                    <a:cubicBezTo>
                      <a:pt x="35761" y="3572"/>
                      <a:pt x="39121" y="9032"/>
                      <a:pt x="43740" y="1491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C7CCF621-6D25-FEC3-2F00-1D9B1FAF0ED5}"/>
                  </a:ext>
                </a:extLst>
              </p:cNvPr>
              <p:cNvSpPr/>
              <p:nvPr/>
            </p:nvSpPr>
            <p:spPr>
              <a:xfrm>
                <a:off x="5169117" y="3073427"/>
                <a:ext cx="41851" cy="63649"/>
              </a:xfrm>
              <a:custGeom>
                <a:avLst/>
                <a:gdLst>
                  <a:gd name="connsiteX0" fmla="*/ 31276 w 41851"/>
                  <a:gd name="connsiteY0" fmla="*/ 0 h 63649"/>
                  <a:gd name="connsiteX1" fmla="*/ 41775 w 41851"/>
                  <a:gd name="connsiteY1" fmla="*/ 20579 h 63649"/>
                  <a:gd name="connsiteX2" fmla="*/ 30016 w 41851"/>
                  <a:gd name="connsiteY2" fmla="*/ 41998 h 63649"/>
                  <a:gd name="connsiteX3" fmla="*/ 1457 w 41851"/>
                  <a:gd name="connsiteY3" fmla="*/ 60897 h 63649"/>
                  <a:gd name="connsiteX4" fmla="*/ 6917 w 41851"/>
                  <a:gd name="connsiteY4" fmla="*/ 26039 h 63649"/>
                  <a:gd name="connsiteX5" fmla="*/ 31276 w 41851"/>
                  <a:gd name="connsiteY5" fmla="*/ 0 h 63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51" h="63649">
                    <a:moveTo>
                      <a:pt x="31276" y="0"/>
                    </a:moveTo>
                    <a:cubicBezTo>
                      <a:pt x="36316" y="9660"/>
                      <a:pt x="42615" y="15539"/>
                      <a:pt x="41775" y="20579"/>
                    </a:cubicBezTo>
                    <a:cubicBezTo>
                      <a:pt x="40095" y="28139"/>
                      <a:pt x="34216" y="35279"/>
                      <a:pt x="30016" y="41998"/>
                    </a:cubicBezTo>
                    <a:cubicBezTo>
                      <a:pt x="22876" y="52498"/>
                      <a:pt x="18256" y="70557"/>
                      <a:pt x="1457" y="60897"/>
                    </a:cubicBezTo>
                    <a:cubicBezTo>
                      <a:pt x="-2323" y="58797"/>
                      <a:pt x="1877" y="36958"/>
                      <a:pt x="6917" y="26039"/>
                    </a:cubicBezTo>
                    <a:cubicBezTo>
                      <a:pt x="11117" y="16799"/>
                      <a:pt x="21196" y="10080"/>
                      <a:pt x="31276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AC34280B-E342-95A3-51BC-55628AC4FA2A}"/>
                  </a:ext>
                </a:extLst>
              </p:cNvPr>
              <p:cNvSpPr/>
              <p:nvPr/>
            </p:nvSpPr>
            <p:spPr>
              <a:xfrm>
                <a:off x="5195669" y="2699617"/>
                <a:ext cx="36977" cy="57564"/>
              </a:xfrm>
              <a:custGeom>
                <a:avLst/>
                <a:gdLst>
                  <a:gd name="connsiteX0" fmla="*/ 13963 w 36977"/>
                  <a:gd name="connsiteY0" fmla="*/ 57564 h 57564"/>
                  <a:gd name="connsiteX1" fmla="*/ 2623 w 36977"/>
                  <a:gd name="connsiteY1" fmla="*/ 49584 h 57564"/>
                  <a:gd name="connsiteX2" fmla="*/ 22782 w 36977"/>
                  <a:gd name="connsiteY2" fmla="*/ 27 h 57564"/>
                  <a:gd name="connsiteX3" fmla="*/ 34542 w 36977"/>
                  <a:gd name="connsiteY3" fmla="*/ 8426 h 57564"/>
                  <a:gd name="connsiteX4" fmla="*/ 19842 w 36977"/>
                  <a:gd name="connsiteY4" fmla="*/ 56724 h 57564"/>
                  <a:gd name="connsiteX5" fmla="*/ 13963 w 36977"/>
                  <a:gd name="connsiteY5" fmla="*/ 57564 h 57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977" h="57564">
                    <a:moveTo>
                      <a:pt x="13963" y="57564"/>
                    </a:moveTo>
                    <a:cubicBezTo>
                      <a:pt x="10603" y="55464"/>
                      <a:pt x="5563" y="53364"/>
                      <a:pt x="2623" y="49584"/>
                    </a:cubicBezTo>
                    <a:cubicBezTo>
                      <a:pt x="-6196" y="38665"/>
                      <a:pt x="8923" y="1287"/>
                      <a:pt x="22782" y="27"/>
                    </a:cubicBezTo>
                    <a:cubicBezTo>
                      <a:pt x="26562" y="-393"/>
                      <a:pt x="32442" y="4226"/>
                      <a:pt x="34542" y="8426"/>
                    </a:cubicBezTo>
                    <a:cubicBezTo>
                      <a:pt x="41682" y="20186"/>
                      <a:pt x="32022" y="50845"/>
                      <a:pt x="19842" y="56724"/>
                    </a:cubicBezTo>
                    <a:cubicBezTo>
                      <a:pt x="19002" y="57564"/>
                      <a:pt x="16903" y="57564"/>
                      <a:pt x="13963" y="575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26FCCCFA-E7BF-A68B-FC0E-E4341449F16C}"/>
                  </a:ext>
                </a:extLst>
              </p:cNvPr>
              <p:cNvSpPr/>
              <p:nvPr/>
            </p:nvSpPr>
            <p:spPr>
              <a:xfrm>
                <a:off x="5040624" y="3010818"/>
                <a:ext cx="50152" cy="50602"/>
              </a:xfrm>
              <a:custGeom>
                <a:avLst/>
                <a:gdLst>
                  <a:gd name="connsiteX0" fmla="*/ 50153 w 50152"/>
                  <a:gd name="connsiteY0" fmla="*/ 6752 h 50602"/>
                  <a:gd name="connsiteX1" fmla="*/ 19914 w 50152"/>
                  <a:gd name="connsiteY1" fmla="*/ 50430 h 50602"/>
                  <a:gd name="connsiteX2" fmla="*/ 1015 w 50152"/>
                  <a:gd name="connsiteY2" fmla="*/ 40770 h 50602"/>
                  <a:gd name="connsiteX3" fmla="*/ 28314 w 50152"/>
                  <a:gd name="connsiteY3" fmla="*/ 32 h 50602"/>
                  <a:gd name="connsiteX4" fmla="*/ 50153 w 50152"/>
                  <a:gd name="connsiteY4" fmla="*/ 6752 h 50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152" h="50602">
                    <a:moveTo>
                      <a:pt x="50153" y="6752"/>
                    </a:moveTo>
                    <a:cubicBezTo>
                      <a:pt x="38813" y="23551"/>
                      <a:pt x="30414" y="37831"/>
                      <a:pt x="19914" y="50430"/>
                    </a:cubicBezTo>
                    <a:cubicBezTo>
                      <a:pt x="18654" y="51690"/>
                      <a:pt x="3115" y="45810"/>
                      <a:pt x="1015" y="40770"/>
                    </a:cubicBezTo>
                    <a:cubicBezTo>
                      <a:pt x="-4445" y="27331"/>
                      <a:pt x="13194" y="2132"/>
                      <a:pt x="28314" y="32"/>
                    </a:cubicBezTo>
                    <a:cubicBezTo>
                      <a:pt x="33774" y="-388"/>
                      <a:pt x="39653" y="3392"/>
                      <a:pt x="50153" y="675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52C273FC-2A1F-B6CB-F160-9574FC1F94E2}"/>
                  </a:ext>
                </a:extLst>
              </p:cNvPr>
              <p:cNvSpPr/>
              <p:nvPr/>
            </p:nvSpPr>
            <p:spPr>
              <a:xfrm>
                <a:off x="5539303" y="3324576"/>
                <a:ext cx="39087" cy="59402"/>
              </a:xfrm>
              <a:custGeom>
                <a:avLst/>
                <a:gdLst>
                  <a:gd name="connsiteX0" fmla="*/ 26473 w 39087"/>
                  <a:gd name="connsiteY0" fmla="*/ 0 h 59402"/>
                  <a:gd name="connsiteX1" fmla="*/ 39073 w 39087"/>
                  <a:gd name="connsiteY1" fmla="*/ 23939 h 59402"/>
                  <a:gd name="connsiteX2" fmla="*/ 26053 w 39087"/>
                  <a:gd name="connsiteY2" fmla="*/ 51238 h 59402"/>
                  <a:gd name="connsiteX3" fmla="*/ 14294 w 39087"/>
                  <a:gd name="connsiteY3" fmla="*/ 59218 h 59402"/>
                  <a:gd name="connsiteX4" fmla="*/ 14 w 39087"/>
                  <a:gd name="connsiteY4" fmla="*/ 45778 h 59402"/>
                  <a:gd name="connsiteX5" fmla="*/ 13874 w 39087"/>
                  <a:gd name="connsiteY5" fmla="*/ 3360 h 59402"/>
                  <a:gd name="connsiteX6" fmla="*/ 26473 w 39087"/>
                  <a:gd name="connsiteY6" fmla="*/ 0 h 5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087" h="59402">
                    <a:moveTo>
                      <a:pt x="26473" y="0"/>
                    </a:moveTo>
                    <a:cubicBezTo>
                      <a:pt x="30673" y="7560"/>
                      <a:pt x="39493" y="15539"/>
                      <a:pt x="39073" y="23939"/>
                    </a:cubicBezTo>
                    <a:cubicBezTo>
                      <a:pt x="39073" y="33179"/>
                      <a:pt x="31513" y="42418"/>
                      <a:pt x="26053" y="51238"/>
                    </a:cubicBezTo>
                    <a:cubicBezTo>
                      <a:pt x="23533" y="55018"/>
                      <a:pt x="16394" y="60478"/>
                      <a:pt x="14294" y="59218"/>
                    </a:cubicBezTo>
                    <a:cubicBezTo>
                      <a:pt x="8414" y="56278"/>
                      <a:pt x="-406" y="49558"/>
                      <a:pt x="14" y="45778"/>
                    </a:cubicBezTo>
                    <a:cubicBezTo>
                      <a:pt x="2954" y="31079"/>
                      <a:pt x="8414" y="17219"/>
                      <a:pt x="13874" y="3360"/>
                    </a:cubicBezTo>
                    <a:cubicBezTo>
                      <a:pt x="14714" y="1260"/>
                      <a:pt x="20174" y="1260"/>
                      <a:pt x="2647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F9F83012-25D8-497F-DB8F-B2955540351C}"/>
                  </a:ext>
                </a:extLst>
              </p:cNvPr>
              <p:cNvSpPr/>
              <p:nvPr/>
            </p:nvSpPr>
            <p:spPr>
              <a:xfrm>
                <a:off x="6496462" y="3246759"/>
                <a:ext cx="47872" cy="55050"/>
              </a:xfrm>
              <a:custGeom>
                <a:avLst/>
                <a:gdLst>
                  <a:gd name="connsiteX0" fmla="*/ 47872 w 47872"/>
                  <a:gd name="connsiteY0" fmla="*/ 16080 h 55050"/>
                  <a:gd name="connsiteX1" fmla="*/ 18474 w 47872"/>
                  <a:gd name="connsiteY1" fmla="*/ 54718 h 55050"/>
                  <a:gd name="connsiteX2" fmla="*/ 5454 w 47872"/>
                  <a:gd name="connsiteY2" fmla="*/ 50518 h 55050"/>
                  <a:gd name="connsiteX3" fmla="*/ 414 w 47872"/>
                  <a:gd name="connsiteY3" fmla="*/ 38339 h 55050"/>
                  <a:gd name="connsiteX4" fmla="*/ 25613 w 47872"/>
                  <a:gd name="connsiteY4" fmla="*/ 1381 h 55050"/>
                  <a:gd name="connsiteX5" fmla="*/ 37793 w 47872"/>
                  <a:gd name="connsiteY5" fmla="*/ 1801 h 55050"/>
                  <a:gd name="connsiteX6" fmla="*/ 47872 w 47872"/>
                  <a:gd name="connsiteY6" fmla="*/ 16080 h 5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872" h="55050">
                    <a:moveTo>
                      <a:pt x="47872" y="16080"/>
                    </a:moveTo>
                    <a:cubicBezTo>
                      <a:pt x="38213" y="29099"/>
                      <a:pt x="28973" y="42539"/>
                      <a:pt x="18474" y="54718"/>
                    </a:cubicBezTo>
                    <a:cubicBezTo>
                      <a:pt x="17214" y="55978"/>
                      <a:pt x="8814" y="53458"/>
                      <a:pt x="5454" y="50518"/>
                    </a:cubicBezTo>
                    <a:cubicBezTo>
                      <a:pt x="2514" y="47999"/>
                      <a:pt x="-1266" y="40859"/>
                      <a:pt x="414" y="38339"/>
                    </a:cubicBezTo>
                    <a:cubicBezTo>
                      <a:pt x="7974" y="25319"/>
                      <a:pt x="16374" y="13140"/>
                      <a:pt x="25613" y="1381"/>
                    </a:cubicBezTo>
                    <a:cubicBezTo>
                      <a:pt x="27293" y="-719"/>
                      <a:pt x="34853" y="-299"/>
                      <a:pt x="37793" y="1801"/>
                    </a:cubicBezTo>
                    <a:cubicBezTo>
                      <a:pt x="41152" y="4320"/>
                      <a:pt x="43252" y="9780"/>
                      <a:pt x="47872" y="160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3084D68A-7617-9905-4C74-7F18BE5B58DE}"/>
                  </a:ext>
                </a:extLst>
              </p:cNvPr>
              <p:cNvSpPr/>
              <p:nvPr/>
            </p:nvSpPr>
            <p:spPr>
              <a:xfrm>
                <a:off x="5844208" y="1715862"/>
                <a:ext cx="41595" cy="55975"/>
              </a:xfrm>
              <a:custGeom>
                <a:avLst/>
                <a:gdLst>
                  <a:gd name="connsiteX0" fmla="*/ 41595 w 41595"/>
                  <a:gd name="connsiteY0" fmla="*/ 14883 h 55975"/>
                  <a:gd name="connsiteX1" fmla="*/ 27735 w 41595"/>
                  <a:gd name="connsiteY1" fmla="*/ 48482 h 55975"/>
                  <a:gd name="connsiteX2" fmla="*/ 13036 w 41595"/>
                  <a:gd name="connsiteY2" fmla="*/ 55622 h 55975"/>
                  <a:gd name="connsiteX3" fmla="*/ 17 w 41595"/>
                  <a:gd name="connsiteY3" fmla="*/ 36302 h 55975"/>
                  <a:gd name="connsiteX4" fmla="*/ 12616 w 41595"/>
                  <a:gd name="connsiteY4" fmla="*/ 9004 h 55975"/>
                  <a:gd name="connsiteX5" fmla="*/ 27316 w 41595"/>
                  <a:gd name="connsiteY5" fmla="*/ 184 h 55975"/>
                  <a:gd name="connsiteX6" fmla="*/ 41595 w 41595"/>
                  <a:gd name="connsiteY6" fmla="*/ 14883 h 55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595" h="55975">
                    <a:moveTo>
                      <a:pt x="41595" y="14883"/>
                    </a:moveTo>
                    <a:cubicBezTo>
                      <a:pt x="36975" y="26643"/>
                      <a:pt x="33615" y="38402"/>
                      <a:pt x="27735" y="48482"/>
                    </a:cubicBezTo>
                    <a:cubicBezTo>
                      <a:pt x="25216" y="52682"/>
                      <a:pt x="14716" y="57302"/>
                      <a:pt x="13036" y="55622"/>
                    </a:cubicBezTo>
                    <a:cubicBezTo>
                      <a:pt x="7156" y="50582"/>
                      <a:pt x="-403" y="42602"/>
                      <a:pt x="17" y="36302"/>
                    </a:cubicBezTo>
                    <a:cubicBezTo>
                      <a:pt x="857" y="26643"/>
                      <a:pt x="7156" y="17403"/>
                      <a:pt x="12616" y="9004"/>
                    </a:cubicBezTo>
                    <a:cubicBezTo>
                      <a:pt x="15556" y="4384"/>
                      <a:pt x="23536" y="-1076"/>
                      <a:pt x="27316" y="184"/>
                    </a:cubicBezTo>
                    <a:cubicBezTo>
                      <a:pt x="32775" y="1444"/>
                      <a:pt x="36555" y="9004"/>
                      <a:pt x="41595" y="148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A9B23A7D-F7C2-2283-6EC9-1737CC118010}"/>
                  </a:ext>
                </a:extLst>
              </p:cNvPr>
              <p:cNvSpPr/>
              <p:nvPr/>
            </p:nvSpPr>
            <p:spPr>
              <a:xfrm>
                <a:off x="6580688" y="1836965"/>
                <a:ext cx="44666" cy="51043"/>
              </a:xfrm>
              <a:custGeom>
                <a:avLst/>
                <a:gdLst>
                  <a:gd name="connsiteX0" fmla="*/ 8165 w 44666"/>
                  <a:gd name="connsiteY0" fmla="*/ 50854 h 51043"/>
                  <a:gd name="connsiteX1" fmla="*/ 605 w 44666"/>
                  <a:gd name="connsiteY1" fmla="*/ 40774 h 51043"/>
                  <a:gd name="connsiteX2" fmla="*/ 30844 w 44666"/>
                  <a:gd name="connsiteY2" fmla="*/ 36 h 51043"/>
                  <a:gd name="connsiteX3" fmla="*/ 43863 w 44666"/>
                  <a:gd name="connsiteY3" fmla="*/ 6335 h 51043"/>
                  <a:gd name="connsiteX4" fmla="*/ 8165 w 44666"/>
                  <a:gd name="connsiteY4" fmla="*/ 50854 h 5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666" h="51043">
                    <a:moveTo>
                      <a:pt x="8165" y="50854"/>
                    </a:moveTo>
                    <a:cubicBezTo>
                      <a:pt x="6485" y="48754"/>
                      <a:pt x="1865" y="45394"/>
                      <a:pt x="605" y="40774"/>
                    </a:cubicBezTo>
                    <a:cubicBezTo>
                      <a:pt x="-3595" y="26075"/>
                      <a:pt x="14885" y="1296"/>
                      <a:pt x="30844" y="36"/>
                    </a:cubicBezTo>
                    <a:cubicBezTo>
                      <a:pt x="35044" y="-384"/>
                      <a:pt x="42603" y="2976"/>
                      <a:pt x="43863" y="6335"/>
                    </a:cubicBezTo>
                    <a:cubicBezTo>
                      <a:pt x="49323" y="21875"/>
                      <a:pt x="25804" y="53793"/>
                      <a:pt x="8165" y="5085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6EC41431-3DDC-4826-FCC0-C66AB20C964C}"/>
                  </a:ext>
                </a:extLst>
              </p:cNvPr>
              <p:cNvSpPr/>
              <p:nvPr/>
            </p:nvSpPr>
            <p:spPr>
              <a:xfrm>
                <a:off x="5763298" y="1734757"/>
                <a:ext cx="44994" cy="50586"/>
              </a:xfrm>
              <a:custGeom>
                <a:avLst/>
                <a:gdLst>
                  <a:gd name="connsiteX0" fmla="*/ 14989 w 44994"/>
                  <a:gd name="connsiteY0" fmla="*/ 50586 h 50586"/>
                  <a:gd name="connsiteX1" fmla="*/ 290 w 44994"/>
                  <a:gd name="connsiteY1" fmla="*/ 36307 h 50586"/>
                  <a:gd name="connsiteX2" fmla="*/ 28848 w 44994"/>
                  <a:gd name="connsiteY2" fmla="*/ 188 h 50586"/>
                  <a:gd name="connsiteX3" fmla="*/ 44808 w 44994"/>
                  <a:gd name="connsiteY3" fmla="*/ 17408 h 50586"/>
                  <a:gd name="connsiteX4" fmla="*/ 14989 w 44994"/>
                  <a:gd name="connsiteY4" fmla="*/ 50586 h 50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94" h="50586">
                    <a:moveTo>
                      <a:pt x="14989" y="50586"/>
                    </a:moveTo>
                    <a:cubicBezTo>
                      <a:pt x="11629" y="47226"/>
                      <a:pt x="3230" y="43026"/>
                      <a:pt x="290" y="36307"/>
                    </a:cubicBezTo>
                    <a:cubicBezTo>
                      <a:pt x="-3070" y="29587"/>
                      <a:pt x="23809" y="-2752"/>
                      <a:pt x="28848" y="188"/>
                    </a:cubicBezTo>
                    <a:cubicBezTo>
                      <a:pt x="35568" y="3968"/>
                      <a:pt x="43548" y="11108"/>
                      <a:pt x="44808" y="17408"/>
                    </a:cubicBezTo>
                    <a:cubicBezTo>
                      <a:pt x="46908" y="32107"/>
                      <a:pt x="30948" y="50586"/>
                      <a:pt x="14989" y="5058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F82C23AF-6544-5645-71C5-FDFA0E518489}"/>
                  </a:ext>
                </a:extLst>
              </p:cNvPr>
              <p:cNvSpPr/>
              <p:nvPr/>
            </p:nvSpPr>
            <p:spPr>
              <a:xfrm>
                <a:off x="5873897" y="2047361"/>
                <a:ext cx="42984" cy="51099"/>
              </a:xfrm>
              <a:custGeom>
                <a:avLst/>
                <a:gdLst>
                  <a:gd name="connsiteX0" fmla="*/ 42985 w 42984"/>
                  <a:gd name="connsiteY0" fmla="*/ 14330 h 51099"/>
                  <a:gd name="connsiteX1" fmla="*/ 28706 w 42984"/>
                  <a:gd name="connsiteY1" fmla="*/ 46669 h 51099"/>
                  <a:gd name="connsiteX2" fmla="*/ 10646 w 42984"/>
                  <a:gd name="connsiteY2" fmla="*/ 50449 h 51099"/>
                  <a:gd name="connsiteX3" fmla="*/ 147 w 42984"/>
                  <a:gd name="connsiteY3" fmla="*/ 37009 h 51099"/>
                  <a:gd name="connsiteX4" fmla="*/ 17366 w 42984"/>
                  <a:gd name="connsiteY4" fmla="*/ 1731 h 51099"/>
                  <a:gd name="connsiteX5" fmla="*/ 35845 w 42984"/>
                  <a:gd name="connsiteY5" fmla="*/ 2151 h 51099"/>
                  <a:gd name="connsiteX6" fmla="*/ 42985 w 42984"/>
                  <a:gd name="connsiteY6" fmla="*/ 14330 h 5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2984" h="51099">
                    <a:moveTo>
                      <a:pt x="42985" y="14330"/>
                    </a:moveTo>
                    <a:cubicBezTo>
                      <a:pt x="38365" y="25670"/>
                      <a:pt x="35005" y="37009"/>
                      <a:pt x="28706" y="46669"/>
                    </a:cubicBezTo>
                    <a:cubicBezTo>
                      <a:pt x="26186" y="50449"/>
                      <a:pt x="16106" y="52128"/>
                      <a:pt x="10646" y="50449"/>
                    </a:cubicBezTo>
                    <a:cubicBezTo>
                      <a:pt x="6027" y="48769"/>
                      <a:pt x="-1113" y="40369"/>
                      <a:pt x="147" y="37009"/>
                    </a:cubicBezTo>
                    <a:cubicBezTo>
                      <a:pt x="3927" y="24410"/>
                      <a:pt x="9807" y="12230"/>
                      <a:pt x="17366" y="1731"/>
                    </a:cubicBezTo>
                    <a:cubicBezTo>
                      <a:pt x="19466" y="-1209"/>
                      <a:pt x="29966" y="51"/>
                      <a:pt x="35845" y="2151"/>
                    </a:cubicBezTo>
                    <a:cubicBezTo>
                      <a:pt x="39205" y="2571"/>
                      <a:pt x="40465" y="9290"/>
                      <a:pt x="42985" y="143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378AC88F-AD98-A443-A584-E9F3F5BB0BE7}"/>
                  </a:ext>
                </a:extLst>
              </p:cNvPr>
              <p:cNvSpPr/>
              <p:nvPr/>
            </p:nvSpPr>
            <p:spPr>
              <a:xfrm>
                <a:off x="6430084" y="1712266"/>
                <a:ext cx="39518" cy="58797"/>
              </a:xfrm>
              <a:custGeom>
                <a:avLst/>
                <a:gdLst>
                  <a:gd name="connsiteX0" fmla="*/ 16395 w 39518"/>
                  <a:gd name="connsiteY0" fmla="*/ 58797 h 58797"/>
                  <a:gd name="connsiteX1" fmla="*/ 15 w 39518"/>
                  <a:gd name="connsiteY1" fmla="*/ 36118 h 58797"/>
                  <a:gd name="connsiteX2" fmla="*/ 11355 w 39518"/>
                  <a:gd name="connsiteY2" fmla="*/ 8400 h 58797"/>
                  <a:gd name="connsiteX3" fmla="*/ 32774 w 39518"/>
                  <a:gd name="connsiteY3" fmla="*/ 0 h 58797"/>
                  <a:gd name="connsiteX4" fmla="*/ 39073 w 39518"/>
                  <a:gd name="connsiteY4" fmla="*/ 22259 h 58797"/>
                  <a:gd name="connsiteX5" fmla="*/ 16395 w 39518"/>
                  <a:gd name="connsiteY5" fmla="*/ 58797 h 58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518" h="58797">
                    <a:moveTo>
                      <a:pt x="16395" y="58797"/>
                    </a:moveTo>
                    <a:cubicBezTo>
                      <a:pt x="7995" y="47878"/>
                      <a:pt x="-405" y="41578"/>
                      <a:pt x="15" y="36118"/>
                    </a:cubicBezTo>
                    <a:cubicBezTo>
                      <a:pt x="855" y="26459"/>
                      <a:pt x="5055" y="15959"/>
                      <a:pt x="11355" y="8400"/>
                    </a:cubicBezTo>
                    <a:cubicBezTo>
                      <a:pt x="15554" y="3360"/>
                      <a:pt x="25634" y="2520"/>
                      <a:pt x="32774" y="0"/>
                    </a:cubicBezTo>
                    <a:cubicBezTo>
                      <a:pt x="35294" y="7560"/>
                      <a:pt x="41173" y="16379"/>
                      <a:pt x="39073" y="22259"/>
                    </a:cubicBezTo>
                    <a:cubicBezTo>
                      <a:pt x="34874" y="33599"/>
                      <a:pt x="26474" y="43678"/>
                      <a:pt x="16395" y="5879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230D5F2C-475F-AA7A-57AA-EAA06BFC2315}"/>
                  </a:ext>
                </a:extLst>
              </p:cNvPr>
              <p:cNvSpPr/>
              <p:nvPr/>
            </p:nvSpPr>
            <p:spPr>
              <a:xfrm>
                <a:off x="5703531" y="3423668"/>
                <a:ext cx="44875" cy="52548"/>
              </a:xfrm>
              <a:custGeom>
                <a:avLst/>
                <a:gdLst>
                  <a:gd name="connsiteX0" fmla="*/ 0 w 44875"/>
                  <a:gd name="connsiteY0" fmla="*/ 35723 h 52548"/>
                  <a:gd name="connsiteX1" fmla="*/ 12599 w 44875"/>
                  <a:gd name="connsiteY1" fmla="*/ 12624 h 52548"/>
                  <a:gd name="connsiteX2" fmla="*/ 31919 w 44875"/>
                  <a:gd name="connsiteY2" fmla="*/ 24 h 52548"/>
                  <a:gd name="connsiteX3" fmla="*/ 43258 w 44875"/>
                  <a:gd name="connsiteY3" fmla="*/ 30683 h 52548"/>
                  <a:gd name="connsiteX4" fmla="*/ 30659 w 44875"/>
                  <a:gd name="connsiteY4" fmla="*/ 47062 h 52548"/>
                  <a:gd name="connsiteX5" fmla="*/ 13859 w 44875"/>
                  <a:gd name="connsiteY5" fmla="*/ 52102 h 52548"/>
                  <a:gd name="connsiteX6" fmla="*/ 0 w 44875"/>
                  <a:gd name="connsiteY6" fmla="*/ 35723 h 52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875" h="52548">
                    <a:moveTo>
                      <a:pt x="0" y="35723"/>
                    </a:moveTo>
                    <a:cubicBezTo>
                      <a:pt x="4620" y="26903"/>
                      <a:pt x="7560" y="18504"/>
                      <a:pt x="12599" y="12624"/>
                    </a:cubicBezTo>
                    <a:cubicBezTo>
                      <a:pt x="17639" y="6744"/>
                      <a:pt x="25199" y="444"/>
                      <a:pt x="31919" y="24"/>
                    </a:cubicBezTo>
                    <a:cubicBezTo>
                      <a:pt x="40738" y="-816"/>
                      <a:pt x="48298" y="20184"/>
                      <a:pt x="43258" y="30683"/>
                    </a:cubicBezTo>
                    <a:cubicBezTo>
                      <a:pt x="40318" y="36983"/>
                      <a:pt x="36118" y="42863"/>
                      <a:pt x="30659" y="47062"/>
                    </a:cubicBezTo>
                    <a:cubicBezTo>
                      <a:pt x="26039" y="50422"/>
                      <a:pt x="18479" y="53782"/>
                      <a:pt x="13859" y="52102"/>
                    </a:cubicBezTo>
                    <a:cubicBezTo>
                      <a:pt x="8400" y="49582"/>
                      <a:pt x="5040" y="42023"/>
                      <a:pt x="0" y="3572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B5FC923D-4D86-55FF-FE90-82DAAACDA6F7}"/>
                  </a:ext>
                </a:extLst>
              </p:cNvPr>
              <p:cNvSpPr/>
              <p:nvPr/>
            </p:nvSpPr>
            <p:spPr>
              <a:xfrm>
                <a:off x="6598412" y="2049450"/>
                <a:ext cx="44618" cy="54058"/>
              </a:xfrm>
              <a:custGeom>
                <a:avLst/>
                <a:gdLst>
                  <a:gd name="connsiteX0" fmla="*/ 44618 w 44618"/>
                  <a:gd name="connsiteY0" fmla="*/ 20220 h 54058"/>
                  <a:gd name="connsiteX1" fmla="*/ 19839 w 44618"/>
                  <a:gd name="connsiteY1" fmla="*/ 52979 h 54058"/>
                  <a:gd name="connsiteX2" fmla="*/ 7660 w 44618"/>
                  <a:gd name="connsiteY2" fmla="*/ 51719 h 54058"/>
                  <a:gd name="connsiteX3" fmla="*/ 100 w 44618"/>
                  <a:gd name="connsiteY3" fmla="*/ 39540 h 54058"/>
                  <a:gd name="connsiteX4" fmla="*/ 12280 w 44618"/>
                  <a:gd name="connsiteY4" fmla="*/ 12241 h 54058"/>
                  <a:gd name="connsiteX5" fmla="*/ 25719 w 44618"/>
                  <a:gd name="connsiteY5" fmla="*/ 61 h 54058"/>
                  <a:gd name="connsiteX6" fmla="*/ 44618 w 44618"/>
                  <a:gd name="connsiteY6" fmla="*/ 20220 h 5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618" h="54058">
                    <a:moveTo>
                      <a:pt x="44618" y="20220"/>
                    </a:moveTo>
                    <a:cubicBezTo>
                      <a:pt x="35379" y="32400"/>
                      <a:pt x="28239" y="43319"/>
                      <a:pt x="19839" y="52979"/>
                    </a:cubicBezTo>
                    <a:cubicBezTo>
                      <a:pt x="18159" y="55079"/>
                      <a:pt x="10600" y="53819"/>
                      <a:pt x="7660" y="51719"/>
                    </a:cubicBezTo>
                    <a:cubicBezTo>
                      <a:pt x="3880" y="49199"/>
                      <a:pt x="-740" y="42900"/>
                      <a:pt x="100" y="39540"/>
                    </a:cubicBezTo>
                    <a:cubicBezTo>
                      <a:pt x="2620" y="29880"/>
                      <a:pt x="6820" y="20640"/>
                      <a:pt x="12280" y="12241"/>
                    </a:cubicBezTo>
                    <a:cubicBezTo>
                      <a:pt x="15219" y="7201"/>
                      <a:pt x="24039" y="-779"/>
                      <a:pt x="25719" y="61"/>
                    </a:cubicBezTo>
                    <a:cubicBezTo>
                      <a:pt x="32019" y="4681"/>
                      <a:pt x="36638" y="11401"/>
                      <a:pt x="44618" y="2022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5EC4120C-097E-7557-B3B4-A7892201621A}"/>
                  </a:ext>
                </a:extLst>
              </p:cNvPr>
              <p:cNvSpPr/>
              <p:nvPr/>
            </p:nvSpPr>
            <p:spPr>
              <a:xfrm>
                <a:off x="6669629" y="1726826"/>
                <a:ext cx="39395" cy="56105"/>
              </a:xfrm>
              <a:custGeom>
                <a:avLst/>
                <a:gdLst>
                  <a:gd name="connsiteX0" fmla="*/ 39338 w 39395"/>
                  <a:gd name="connsiteY0" fmla="*/ 6439 h 56105"/>
                  <a:gd name="connsiteX1" fmla="*/ 12879 w 39395"/>
                  <a:gd name="connsiteY1" fmla="*/ 55997 h 56105"/>
                  <a:gd name="connsiteX2" fmla="*/ 1540 w 39395"/>
                  <a:gd name="connsiteY2" fmla="*/ 49697 h 56105"/>
                  <a:gd name="connsiteX3" fmla="*/ 20859 w 39395"/>
                  <a:gd name="connsiteY3" fmla="*/ 559 h 56105"/>
                  <a:gd name="connsiteX4" fmla="*/ 39338 w 39395"/>
                  <a:gd name="connsiteY4" fmla="*/ 6439 h 56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395" h="56105">
                    <a:moveTo>
                      <a:pt x="39338" y="6439"/>
                    </a:moveTo>
                    <a:cubicBezTo>
                      <a:pt x="40598" y="18198"/>
                      <a:pt x="20859" y="53477"/>
                      <a:pt x="12879" y="55997"/>
                    </a:cubicBezTo>
                    <a:cubicBezTo>
                      <a:pt x="9940" y="56837"/>
                      <a:pt x="2380" y="52637"/>
                      <a:pt x="1540" y="49697"/>
                    </a:cubicBezTo>
                    <a:cubicBezTo>
                      <a:pt x="-3500" y="31638"/>
                      <a:pt x="4060" y="10639"/>
                      <a:pt x="20859" y="559"/>
                    </a:cubicBezTo>
                    <a:cubicBezTo>
                      <a:pt x="25059" y="-1961"/>
                      <a:pt x="34299" y="4759"/>
                      <a:pt x="39338" y="643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A9339C37-58D1-3236-0213-4C182B4143BE}"/>
                  </a:ext>
                </a:extLst>
              </p:cNvPr>
              <p:cNvSpPr/>
              <p:nvPr/>
            </p:nvSpPr>
            <p:spPr>
              <a:xfrm>
                <a:off x="5185693" y="2445460"/>
                <a:ext cx="48543" cy="50989"/>
              </a:xfrm>
              <a:custGeom>
                <a:avLst/>
                <a:gdLst>
                  <a:gd name="connsiteX0" fmla="*/ 0 w 48543"/>
                  <a:gd name="connsiteY0" fmla="*/ 44192 h 50989"/>
                  <a:gd name="connsiteX1" fmla="*/ 15539 w 48543"/>
                  <a:gd name="connsiteY1" fmla="*/ 13534 h 50989"/>
                  <a:gd name="connsiteX2" fmla="*/ 33178 w 48543"/>
                  <a:gd name="connsiteY2" fmla="*/ 1354 h 50989"/>
                  <a:gd name="connsiteX3" fmla="*/ 45358 w 48543"/>
                  <a:gd name="connsiteY3" fmla="*/ 29073 h 50989"/>
                  <a:gd name="connsiteX4" fmla="*/ 35698 w 48543"/>
                  <a:gd name="connsiteY4" fmla="*/ 46292 h 50989"/>
                  <a:gd name="connsiteX5" fmla="*/ 17639 w 48543"/>
                  <a:gd name="connsiteY5" fmla="*/ 50912 h 50989"/>
                  <a:gd name="connsiteX6" fmla="*/ 0 w 48543"/>
                  <a:gd name="connsiteY6" fmla="*/ 44192 h 5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543" h="50989">
                    <a:moveTo>
                      <a:pt x="0" y="44192"/>
                    </a:moveTo>
                    <a:cubicBezTo>
                      <a:pt x="8400" y="28233"/>
                      <a:pt x="12599" y="21093"/>
                      <a:pt x="15539" y="13534"/>
                    </a:cubicBezTo>
                    <a:cubicBezTo>
                      <a:pt x="18479" y="4714"/>
                      <a:pt x="22679" y="-3266"/>
                      <a:pt x="33178" y="1354"/>
                    </a:cubicBezTo>
                    <a:cubicBezTo>
                      <a:pt x="44098" y="6394"/>
                      <a:pt x="53758" y="14374"/>
                      <a:pt x="45358" y="29073"/>
                    </a:cubicBezTo>
                    <a:cubicBezTo>
                      <a:pt x="41998" y="34953"/>
                      <a:pt x="40318" y="42513"/>
                      <a:pt x="35698" y="46292"/>
                    </a:cubicBezTo>
                    <a:cubicBezTo>
                      <a:pt x="31499" y="50072"/>
                      <a:pt x="23519" y="51332"/>
                      <a:pt x="17639" y="50912"/>
                    </a:cubicBezTo>
                    <a:cubicBezTo>
                      <a:pt x="11340" y="50072"/>
                      <a:pt x="5460" y="46292"/>
                      <a:pt x="0" y="441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DE27FA1D-0E0B-83FA-2928-A2E0B54B3D29}"/>
                  </a:ext>
                </a:extLst>
              </p:cNvPr>
              <p:cNvSpPr/>
              <p:nvPr/>
            </p:nvSpPr>
            <p:spPr>
              <a:xfrm>
                <a:off x="6671221" y="3159881"/>
                <a:ext cx="44046" cy="49216"/>
              </a:xfrm>
              <a:custGeom>
                <a:avLst/>
                <a:gdLst>
                  <a:gd name="connsiteX0" fmla="*/ 44047 w 44046"/>
                  <a:gd name="connsiteY0" fmla="*/ 15182 h 49216"/>
                  <a:gd name="connsiteX1" fmla="*/ 29347 w 44046"/>
                  <a:gd name="connsiteY1" fmla="*/ 44581 h 49216"/>
                  <a:gd name="connsiteX2" fmla="*/ 6668 w 44046"/>
                  <a:gd name="connsiteY2" fmla="*/ 47941 h 49216"/>
                  <a:gd name="connsiteX3" fmla="*/ 4988 w 44046"/>
                  <a:gd name="connsiteY3" fmla="*/ 26522 h 49216"/>
                  <a:gd name="connsiteX4" fmla="*/ 18428 w 44046"/>
                  <a:gd name="connsiteY4" fmla="*/ 5103 h 49216"/>
                  <a:gd name="connsiteX5" fmla="*/ 35647 w 44046"/>
                  <a:gd name="connsiteY5" fmla="*/ 63 h 49216"/>
                  <a:gd name="connsiteX6" fmla="*/ 44047 w 44046"/>
                  <a:gd name="connsiteY6" fmla="*/ 15182 h 4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46" h="49216">
                    <a:moveTo>
                      <a:pt x="44047" y="15182"/>
                    </a:moveTo>
                    <a:cubicBezTo>
                      <a:pt x="39847" y="24422"/>
                      <a:pt x="36487" y="36181"/>
                      <a:pt x="29347" y="44581"/>
                    </a:cubicBezTo>
                    <a:cubicBezTo>
                      <a:pt x="25148" y="49201"/>
                      <a:pt x="12968" y="50461"/>
                      <a:pt x="6668" y="47941"/>
                    </a:cubicBezTo>
                    <a:cubicBezTo>
                      <a:pt x="-2991" y="43741"/>
                      <a:pt x="-891" y="34921"/>
                      <a:pt x="4988" y="26522"/>
                    </a:cubicBezTo>
                    <a:cubicBezTo>
                      <a:pt x="9608" y="19802"/>
                      <a:pt x="12548" y="10982"/>
                      <a:pt x="18428" y="5103"/>
                    </a:cubicBezTo>
                    <a:cubicBezTo>
                      <a:pt x="22208" y="1323"/>
                      <a:pt x="30187" y="-357"/>
                      <a:pt x="35647" y="63"/>
                    </a:cubicBezTo>
                    <a:cubicBezTo>
                      <a:pt x="37747" y="63"/>
                      <a:pt x="39847" y="7623"/>
                      <a:pt x="44047" y="1518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7D5C4B49-E0BF-38E3-FF3B-718C863D11B9}"/>
                  </a:ext>
                </a:extLst>
              </p:cNvPr>
              <p:cNvSpPr/>
              <p:nvPr/>
            </p:nvSpPr>
            <p:spPr>
              <a:xfrm>
                <a:off x="5382600" y="2454358"/>
                <a:ext cx="40913" cy="48545"/>
              </a:xfrm>
              <a:custGeom>
                <a:avLst/>
                <a:gdLst>
                  <a:gd name="connsiteX0" fmla="*/ 9304 w 40913"/>
                  <a:gd name="connsiteY0" fmla="*/ 48314 h 48545"/>
                  <a:gd name="connsiteX1" fmla="*/ 65 w 40913"/>
                  <a:gd name="connsiteY1" fmla="*/ 28995 h 48545"/>
                  <a:gd name="connsiteX2" fmla="*/ 29463 w 40913"/>
                  <a:gd name="connsiteY2" fmla="*/ 436 h 48545"/>
                  <a:gd name="connsiteX3" fmla="*/ 40383 w 40913"/>
                  <a:gd name="connsiteY3" fmla="*/ 25635 h 48545"/>
                  <a:gd name="connsiteX4" fmla="*/ 9304 w 40913"/>
                  <a:gd name="connsiteY4" fmla="*/ 48314 h 48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13" h="48545">
                    <a:moveTo>
                      <a:pt x="9304" y="48314"/>
                    </a:moveTo>
                    <a:cubicBezTo>
                      <a:pt x="6785" y="42854"/>
                      <a:pt x="-775" y="35295"/>
                      <a:pt x="65" y="28995"/>
                    </a:cubicBezTo>
                    <a:cubicBezTo>
                      <a:pt x="2165" y="9676"/>
                      <a:pt x="17284" y="-2504"/>
                      <a:pt x="29463" y="436"/>
                    </a:cubicBezTo>
                    <a:cubicBezTo>
                      <a:pt x="43743" y="4216"/>
                      <a:pt x="40803" y="16396"/>
                      <a:pt x="40383" y="25635"/>
                    </a:cubicBezTo>
                    <a:cubicBezTo>
                      <a:pt x="40383" y="37815"/>
                      <a:pt x="24004" y="50414"/>
                      <a:pt x="9304" y="4831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B5C9B48E-C395-44E3-CB49-B5BC0A8A8D63}"/>
                  </a:ext>
                </a:extLst>
              </p:cNvPr>
              <p:cNvSpPr/>
              <p:nvPr/>
            </p:nvSpPr>
            <p:spPr>
              <a:xfrm>
                <a:off x="5395203" y="3168671"/>
                <a:ext cx="38816" cy="58889"/>
              </a:xfrm>
              <a:custGeom>
                <a:avLst/>
                <a:gdLst>
                  <a:gd name="connsiteX0" fmla="*/ 38279 w 38816"/>
                  <a:gd name="connsiteY0" fmla="*/ 8911 h 58889"/>
                  <a:gd name="connsiteX1" fmla="*/ 38699 w 38816"/>
                  <a:gd name="connsiteY1" fmla="*/ 16471 h 58889"/>
                  <a:gd name="connsiteX2" fmla="*/ 13500 w 38816"/>
                  <a:gd name="connsiteY2" fmla="*/ 58889 h 58889"/>
                  <a:gd name="connsiteX3" fmla="*/ 1741 w 38816"/>
                  <a:gd name="connsiteY3" fmla="*/ 50490 h 58889"/>
                  <a:gd name="connsiteX4" fmla="*/ 21060 w 38816"/>
                  <a:gd name="connsiteY4" fmla="*/ 2192 h 58889"/>
                  <a:gd name="connsiteX5" fmla="*/ 30299 w 38816"/>
                  <a:gd name="connsiteY5" fmla="*/ 512 h 58889"/>
                  <a:gd name="connsiteX6" fmla="*/ 38279 w 38816"/>
                  <a:gd name="connsiteY6" fmla="*/ 8911 h 58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816" h="58889">
                    <a:moveTo>
                      <a:pt x="38279" y="8911"/>
                    </a:moveTo>
                    <a:cubicBezTo>
                      <a:pt x="38279" y="13111"/>
                      <a:pt x="39119" y="15211"/>
                      <a:pt x="38699" y="16471"/>
                    </a:cubicBezTo>
                    <a:cubicBezTo>
                      <a:pt x="30299" y="30751"/>
                      <a:pt x="21900" y="44610"/>
                      <a:pt x="13500" y="58889"/>
                    </a:cubicBezTo>
                    <a:cubicBezTo>
                      <a:pt x="9300" y="56370"/>
                      <a:pt x="3840" y="54270"/>
                      <a:pt x="1741" y="50490"/>
                    </a:cubicBezTo>
                    <a:cubicBezTo>
                      <a:pt x="-4139" y="38730"/>
                      <a:pt x="5521" y="14791"/>
                      <a:pt x="21060" y="2192"/>
                    </a:cubicBezTo>
                    <a:cubicBezTo>
                      <a:pt x="23160" y="512"/>
                      <a:pt x="28199" y="-748"/>
                      <a:pt x="30299" y="512"/>
                    </a:cubicBezTo>
                    <a:cubicBezTo>
                      <a:pt x="33659" y="2612"/>
                      <a:pt x="36179" y="6812"/>
                      <a:pt x="38279" y="891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99EC8B12-E126-8C7A-0CBD-877D3FECCCFF}"/>
                  </a:ext>
                </a:extLst>
              </p:cNvPr>
              <p:cNvSpPr/>
              <p:nvPr/>
            </p:nvSpPr>
            <p:spPr>
              <a:xfrm>
                <a:off x="5048466" y="3128865"/>
                <a:ext cx="43570" cy="54298"/>
              </a:xfrm>
              <a:custGeom>
                <a:avLst/>
                <a:gdLst>
                  <a:gd name="connsiteX0" fmla="*/ 43571 w 43570"/>
                  <a:gd name="connsiteY0" fmla="*/ 17219 h 54298"/>
                  <a:gd name="connsiteX1" fmla="*/ 20052 w 43570"/>
                  <a:gd name="connsiteY1" fmla="*/ 52498 h 54298"/>
                  <a:gd name="connsiteX2" fmla="*/ 7872 w 43570"/>
                  <a:gd name="connsiteY2" fmla="*/ 52918 h 54298"/>
                  <a:gd name="connsiteX3" fmla="*/ 313 w 43570"/>
                  <a:gd name="connsiteY3" fmla="*/ 36118 h 54298"/>
                  <a:gd name="connsiteX4" fmla="*/ 19632 w 43570"/>
                  <a:gd name="connsiteY4" fmla="*/ 6300 h 54298"/>
                  <a:gd name="connsiteX5" fmla="*/ 35171 w 43570"/>
                  <a:gd name="connsiteY5" fmla="*/ 0 h 54298"/>
                  <a:gd name="connsiteX6" fmla="*/ 43571 w 43570"/>
                  <a:gd name="connsiteY6" fmla="*/ 17219 h 54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570" h="54298">
                    <a:moveTo>
                      <a:pt x="43571" y="17219"/>
                    </a:moveTo>
                    <a:cubicBezTo>
                      <a:pt x="36431" y="28139"/>
                      <a:pt x="28871" y="40738"/>
                      <a:pt x="20052" y="52498"/>
                    </a:cubicBezTo>
                    <a:cubicBezTo>
                      <a:pt x="18372" y="54598"/>
                      <a:pt x="9552" y="55018"/>
                      <a:pt x="7872" y="52918"/>
                    </a:cubicBezTo>
                    <a:cubicBezTo>
                      <a:pt x="4092" y="48298"/>
                      <a:pt x="-1367" y="40318"/>
                      <a:pt x="313" y="36118"/>
                    </a:cubicBezTo>
                    <a:cubicBezTo>
                      <a:pt x="4932" y="25199"/>
                      <a:pt x="12072" y="15539"/>
                      <a:pt x="19632" y="6300"/>
                    </a:cubicBezTo>
                    <a:cubicBezTo>
                      <a:pt x="22992" y="2520"/>
                      <a:pt x="29711" y="0"/>
                      <a:pt x="35171" y="0"/>
                    </a:cubicBezTo>
                    <a:cubicBezTo>
                      <a:pt x="36851" y="0"/>
                      <a:pt x="38951" y="8400"/>
                      <a:pt x="43571" y="172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AFBD8D34-2984-01B2-41D2-16CF0B220749}"/>
                  </a:ext>
                </a:extLst>
              </p:cNvPr>
              <p:cNvSpPr/>
              <p:nvPr/>
            </p:nvSpPr>
            <p:spPr>
              <a:xfrm>
                <a:off x="6386696" y="3304940"/>
                <a:ext cx="41723" cy="51555"/>
              </a:xfrm>
              <a:custGeom>
                <a:avLst/>
                <a:gdLst>
                  <a:gd name="connsiteX0" fmla="*/ 41724 w 41723"/>
                  <a:gd name="connsiteY0" fmla="*/ 5777 h 51555"/>
                  <a:gd name="connsiteX1" fmla="*/ 13165 w 41723"/>
                  <a:gd name="connsiteY1" fmla="*/ 51555 h 51555"/>
                  <a:gd name="connsiteX2" fmla="*/ 986 w 41723"/>
                  <a:gd name="connsiteY2" fmla="*/ 44835 h 51555"/>
                  <a:gd name="connsiteX3" fmla="*/ 27444 w 41723"/>
                  <a:gd name="connsiteY3" fmla="*/ 317 h 51555"/>
                  <a:gd name="connsiteX4" fmla="*/ 41724 w 41723"/>
                  <a:gd name="connsiteY4" fmla="*/ 5777 h 51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723" h="51555">
                    <a:moveTo>
                      <a:pt x="41724" y="5777"/>
                    </a:moveTo>
                    <a:cubicBezTo>
                      <a:pt x="41304" y="30976"/>
                      <a:pt x="27864" y="51555"/>
                      <a:pt x="13165" y="51555"/>
                    </a:cubicBezTo>
                    <a:cubicBezTo>
                      <a:pt x="8965" y="51555"/>
                      <a:pt x="2665" y="48195"/>
                      <a:pt x="986" y="44835"/>
                    </a:cubicBezTo>
                    <a:cubicBezTo>
                      <a:pt x="-4054" y="32236"/>
                      <a:pt x="11065" y="6197"/>
                      <a:pt x="27444" y="317"/>
                    </a:cubicBezTo>
                    <a:cubicBezTo>
                      <a:pt x="31644" y="-1363"/>
                      <a:pt x="37944" y="4097"/>
                      <a:pt x="41724" y="577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473EEAD0-DD60-A611-FFCC-DC163BEF7B60}"/>
                  </a:ext>
                </a:extLst>
              </p:cNvPr>
              <p:cNvSpPr/>
              <p:nvPr/>
            </p:nvSpPr>
            <p:spPr>
              <a:xfrm>
                <a:off x="5066444" y="2791603"/>
                <a:ext cx="41186" cy="57554"/>
              </a:xfrm>
              <a:custGeom>
                <a:avLst/>
                <a:gdLst>
                  <a:gd name="connsiteX0" fmla="*/ 12994 w 41186"/>
                  <a:gd name="connsiteY0" fmla="*/ 57554 h 57554"/>
                  <a:gd name="connsiteX1" fmla="*/ 4594 w 41186"/>
                  <a:gd name="connsiteY1" fmla="*/ 51255 h 57554"/>
                  <a:gd name="connsiteX2" fmla="*/ 10894 w 41186"/>
                  <a:gd name="connsiteY2" fmla="*/ 18916 h 57554"/>
                  <a:gd name="connsiteX3" fmla="*/ 32313 w 41186"/>
                  <a:gd name="connsiteY3" fmla="*/ 17 h 57554"/>
                  <a:gd name="connsiteX4" fmla="*/ 41133 w 41186"/>
                  <a:gd name="connsiteY4" fmla="*/ 9256 h 57554"/>
                  <a:gd name="connsiteX5" fmla="*/ 21394 w 41186"/>
                  <a:gd name="connsiteY5" fmla="*/ 55034 h 57554"/>
                  <a:gd name="connsiteX6" fmla="*/ 12994 w 41186"/>
                  <a:gd name="connsiteY6" fmla="*/ 57554 h 57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186" h="57554">
                    <a:moveTo>
                      <a:pt x="12994" y="57554"/>
                    </a:moveTo>
                    <a:cubicBezTo>
                      <a:pt x="10054" y="55455"/>
                      <a:pt x="6694" y="53774"/>
                      <a:pt x="4594" y="51255"/>
                    </a:cubicBezTo>
                    <a:cubicBezTo>
                      <a:pt x="-6745" y="38235"/>
                      <a:pt x="5854" y="28156"/>
                      <a:pt x="10894" y="18916"/>
                    </a:cubicBezTo>
                    <a:cubicBezTo>
                      <a:pt x="15094" y="10936"/>
                      <a:pt x="24754" y="5477"/>
                      <a:pt x="32313" y="17"/>
                    </a:cubicBezTo>
                    <a:cubicBezTo>
                      <a:pt x="32733" y="-403"/>
                      <a:pt x="41973" y="7157"/>
                      <a:pt x="41133" y="9256"/>
                    </a:cubicBezTo>
                    <a:cubicBezTo>
                      <a:pt x="35673" y="24796"/>
                      <a:pt x="28533" y="40335"/>
                      <a:pt x="21394" y="55034"/>
                    </a:cubicBezTo>
                    <a:cubicBezTo>
                      <a:pt x="21394" y="57134"/>
                      <a:pt x="16354" y="57134"/>
                      <a:pt x="12994" y="5755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F92DBFF0-B75F-DBF2-15F0-8271650FC7A4}"/>
                  </a:ext>
                </a:extLst>
              </p:cNvPr>
              <p:cNvSpPr/>
              <p:nvPr/>
            </p:nvSpPr>
            <p:spPr>
              <a:xfrm>
                <a:off x="5320765" y="2171605"/>
                <a:ext cx="44260" cy="52408"/>
              </a:xfrm>
              <a:custGeom>
                <a:avLst/>
                <a:gdLst>
                  <a:gd name="connsiteX0" fmla="*/ 44261 w 44260"/>
                  <a:gd name="connsiteY0" fmla="*/ 8521 h 52408"/>
                  <a:gd name="connsiteX1" fmla="*/ 29561 w 44260"/>
                  <a:gd name="connsiteY1" fmla="*/ 40439 h 52408"/>
                  <a:gd name="connsiteX2" fmla="*/ 11082 w 44260"/>
                  <a:gd name="connsiteY2" fmla="*/ 49259 h 52408"/>
                  <a:gd name="connsiteX3" fmla="*/ 162 w 44260"/>
                  <a:gd name="connsiteY3" fmla="*/ 28260 h 52408"/>
                  <a:gd name="connsiteX4" fmla="*/ 15702 w 44260"/>
                  <a:gd name="connsiteY4" fmla="*/ 2221 h 52408"/>
                  <a:gd name="connsiteX5" fmla="*/ 30401 w 44260"/>
                  <a:gd name="connsiteY5" fmla="*/ 961 h 52408"/>
                  <a:gd name="connsiteX6" fmla="*/ 44261 w 44260"/>
                  <a:gd name="connsiteY6" fmla="*/ 8521 h 5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260" h="52408">
                    <a:moveTo>
                      <a:pt x="44261" y="8521"/>
                    </a:moveTo>
                    <a:cubicBezTo>
                      <a:pt x="37961" y="22380"/>
                      <a:pt x="32921" y="31200"/>
                      <a:pt x="29561" y="40439"/>
                    </a:cubicBezTo>
                    <a:cubicBezTo>
                      <a:pt x="26201" y="50519"/>
                      <a:pt x="19901" y="56399"/>
                      <a:pt x="11082" y="49259"/>
                    </a:cubicBezTo>
                    <a:cubicBezTo>
                      <a:pt x="5202" y="44639"/>
                      <a:pt x="-1098" y="34560"/>
                      <a:pt x="162" y="28260"/>
                    </a:cubicBezTo>
                    <a:cubicBezTo>
                      <a:pt x="1842" y="19020"/>
                      <a:pt x="8982" y="9781"/>
                      <a:pt x="15702" y="2221"/>
                    </a:cubicBezTo>
                    <a:cubicBezTo>
                      <a:pt x="18222" y="-719"/>
                      <a:pt x="25781" y="-299"/>
                      <a:pt x="30401" y="961"/>
                    </a:cubicBezTo>
                    <a:cubicBezTo>
                      <a:pt x="35021" y="2221"/>
                      <a:pt x="39221" y="5581"/>
                      <a:pt x="44261" y="852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B5D8A773-6E27-7F13-9E77-008105C618C8}"/>
                  </a:ext>
                </a:extLst>
              </p:cNvPr>
              <p:cNvSpPr/>
              <p:nvPr/>
            </p:nvSpPr>
            <p:spPr>
              <a:xfrm>
                <a:off x="5574545" y="1838077"/>
                <a:ext cx="45409" cy="50284"/>
              </a:xfrm>
              <a:custGeom>
                <a:avLst/>
                <a:gdLst>
                  <a:gd name="connsiteX0" fmla="*/ 45409 w 45409"/>
                  <a:gd name="connsiteY0" fmla="*/ 14463 h 50284"/>
                  <a:gd name="connsiteX1" fmla="*/ 40370 w 45409"/>
                  <a:gd name="connsiteY1" fmla="*/ 24123 h 50284"/>
                  <a:gd name="connsiteX2" fmla="*/ 13911 w 45409"/>
                  <a:gd name="connsiteY2" fmla="*/ 50162 h 50284"/>
                  <a:gd name="connsiteX3" fmla="*/ 51 w 45409"/>
                  <a:gd name="connsiteY3" fmla="*/ 37982 h 50284"/>
                  <a:gd name="connsiteX4" fmla="*/ 22731 w 45409"/>
                  <a:gd name="connsiteY4" fmla="*/ 604 h 50284"/>
                  <a:gd name="connsiteX5" fmla="*/ 36590 w 45409"/>
                  <a:gd name="connsiteY5" fmla="*/ 3544 h 50284"/>
                  <a:gd name="connsiteX6" fmla="*/ 45409 w 45409"/>
                  <a:gd name="connsiteY6" fmla="*/ 14463 h 50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409" h="50284">
                    <a:moveTo>
                      <a:pt x="45409" y="14463"/>
                    </a:moveTo>
                    <a:cubicBezTo>
                      <a:pt x="43310" y="18243"/>
                      <a:pt x="41630" y="21183"/>
                      <a:pt x="40370" y="24123"/>
                    </a:cubicBezTo>
                    <a:cubicBezTo>
                      <a:pt x="34490" y="35882"/>
                      <a:pt x="31550" y="51842"/>
                      <a:pt x="13911" y="50162"/>
                    </a:cubicBezTo>
                    <a:cubicBezTo>
                      <a:pt x="8871" y="49742"/>
                      <a:pt x="-789" y="39662"/>
                      <a:pt x="51" y="37982"/>
                    </a:cubicBezTo>
                    <a:cubicBezTo>
                      <a:pt x="6351" y="24963"/>
                      <a:pt x="14331" y="12363"/>
                      <a:pt x="22731" y="604"/>
                    </a:cubicBezTo>
                    <a:cubicBezTo>
                      <a:pt x="23990" y="-1076"/>
                      <a:pt x="32390" y="1024"/>
                      <a:pt x="36590" y="3544"/>
                    </a:cubicBezTo>
                    <a:cubicBezTo>
                      <a:pt x="40370" y="5644"/>
                      <a:pt x="42470" y="10683"/>
                      <a:pt x="45409" y="144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6" name="Freihandform: Form 95">
                <a:extLst>
                  <a:ext uri="{FF2B5EF4-FFF2-40B4-BE49-F238E27FC236}">
                    <a16:creationId xmlns:a16="http://schemas.microsoft.com/office/drawing/2014/main" id="{2D706962-6F3C-74F7-6154-1FFEE9D0316B}"/>
                  </a:ext>
                </a:extLst>
              </p:cNvPr>
              <p:cNvSpPr/>
              <p:nvPr/>
            </p:nvSpPr>
            <p:spPr>
              <a:xfrm>
                <a:off x="5361874" y="3000770"/>
                <a:ext cx="46828" cy="51043"/>
              </a:xfrm>
              <a:custGeom>
                <a:avLst/>
                <a:gdLst>
                  <a:gd name="connsiteX0" fmla="*/ 46829 w 46828"/>
                  <a:gd name="connsiteY0" fmla="*/ 6300 h 51043"/>
                  <a:gd name="connsiteX1" fmla="*/ 29610 w 46828"/>
                  <a:gd name="connsiteY1" fmla="*/ 42838 h 51043"/>
                  <a:gd name="connsiteX2" fmla="*/ 8611 w 46828"/>
                  <a:gd name="connsiteY2" fmla="*/ 50818 h 51043"/>
                  <a:gd name="connsiteX3" fmla="*/ 3151 w 46828"/>
                  <a:gd name="connsiteY3" fmla="*/ 30659 h 51043"/>
                  <a:gd name="connsiteX4" fmla="*/ 12390 w 46828"/>
                  <a:gd name="connsiteY4" fmla="*/ 6720 h 51043"/>
                  <a:gd name="connsiteX5" fmla="*/ 30030 w 46828"/>
                  <a:gd name="connsiteY5" fmla="*/ 0 h 51043"/>
                  <a:gd name="connsiteX6" fmla="*/ 46829 w 46828"/>
                  <a:gd name="connsiteY6" fmla="*/ 6300 h 5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828" h="51043">
                    <a:moveTo>
                      <a:pt x="46829" y="6300"/>
                    </a:moveTo>
                    <a:cubicBezTo>
                      <a:pt x="38429" y="24779"/>
                      <a:pt x="35910" y="35698"/>
                      <a:pt x="29610" y="42838"/>
                    </a:cubicBezTo>
                    <a:cubicBezTo>
                      <a:pt x="25410" y="47878"/>
                      <a:pt x="14910" y="52078"/>
                      <a:pt x="8611" y="50818"/>
                    </a:cubicBezTo>
                    <a:cubicBezTo>
                      <a:pt x="-3149" y="48718"/>
                      <a:pt x="-629" y="39478"/>
                      <a:pt x="3151" y="30659"/>
                    </a:cubicBezTo>
                    <a:cubicBezTo>
                      <a:pt x="6511" y="23099"/>
                      <a:pt x="7351" y="13439"/>
                      <a:pt x="12390" y="6720"/>
                    </a:cubicBezTo>
                    <a:cubicBezTo>
                      <a:pt x="15750" y="2520"/>
                      <a:pt x="24150" y="0"/>
                      <a:pt x="30030" y="0"/>
                    </a:cubicBezTo>
                    <a:cubicBezTo>
                      <a:pt x="36329" y="420"/>
                      <a:pt x="42629" y="4620"/>
                      <a:pt x="46829" y="63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9D11A34A-E04A-8168-5672-2F3B5C5AC5E6}"/>
                  </a:ext>
                </a:extLst>
              </p:cNvPr>
              <p:cNvSpPr/>
              <p:nvPr/>
            </p:nvSpPr>
            <p:spPr>
              <a:xfrm>
                <a:off x="5318810" y="1962975"/>
                <a:ext cx="40997" cy="50837"/>
              </a:xfrm>
              <a:custGeom>
                <a:avLst/>
                <a:gdLst>
                  <a:gd name="connsiteX0" fmla="*/ 40756 w 40997"/>
                  <a:gd name="connsiteY0" fmla="*/ 7580 h 50837"/>
                  <a:gd name="connsiteX1" fmla="*/ 10097 w 40997"/>
                  <a:gd name="connsiteY1" fmla="*/ 50838 h 50837"/>
                  <a:gd name="connsiteX2" fmla="*/ 18 w 40997"/>
                  <a:gd name="connsiteY2" fmla="*/ 42858 h 50837"/>
                  <a:gd name="connsiteX3" fmla="*/ 15977 w 40997"/>
                  <a:gd name="connsiteY3" fmla="*/ 1700 h 50837"/>
                  <a:gd name="connsiteX4" fmla="*/ 30256 w 40997"/>
                  <a:gd name="connsiteY4" fmla="*/ 860 h 50837"/>
                  <a:gd name="connsiteX5" fmla="*/ 40756 w 40997"/>
                  <a:gd name="connsiteY5" fmla="*/ 7580 h 50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997" h="50837">
                    <a:moveTo>
                      <a:pt x="40756" y="7580"/>
                    </a:moveTo>
                    <a:cubicBezTo>
                      <a:pt x="43276" y="25639"/>
                      <a:pt x="25637" y="49998"/>
                      <a:pt x="10097" y="50838"/>
                    </a:cubicBezTo>
                    <a:cubicBezTo>
                      <a:pt x="6737" y="50838"/>
                      <a:pt x="-402" y="44538"/>
                      <a:pt x="18" y="42858"/>
                    </a:cubicBezTo>
                    <a:cubicBezTo>
                      <a:pt x="4637" y="28999"/>
                      <a:pt x="9677" y="14719"/>
                      <a:pt x="15977" y="1700"/>
                    </a:cubicBezTo>
                    <a:cubicBezTo>
                      <a:pt x="17237" y="-400"/>
                      <a:pt x="25637" y="-400"/>
                      <a:pt x="30256" y="860"/>
                    </a:cubicBezTo>
                    <a:cubicBezTo>
                      <a:pt x="34876" y="1700"/>
                      <a:pt x="38236" y="5900"/>
                      <a:pt x="40756" y="75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643B874D-10A6-F665-1B9A-CB4105FCCFAE}"/>
                  </a:ext>
                </a:extLst>
              </p:cNvPr>
              <p:cNvSpPr/>
              <p:nvPr/>
            </p:nvSpPr>
            <p:spPr>
              <a:xfrm>
                <a:off x="5802678" y="2227147"/>
                <a:ext cx="53306" cy="37156"/>
              </a:xfrm>
              <a:custGeom>
                <a:avLst/>
                <a:gdLst>
                  <a:gd name="connsiteX0" fmla="*/ 53306 w 53306"/>
                  <a:gd name="connsiteY0" fmla="*/ 13036 h 37156"/>
                  <a:gd name="connsiteX1" fmla="*/ 35667 w 53306"/>
                  <a:gd name="connsiteY1" fmla="*/ 35295 h 37156"/>
                  <a:gd name="connsiteX2" fmla="*/ 2488 w 53306"/>
                  <a:gd name="connsiteY2" fmla="*/ 34875 h 37156"/>
                  <a:gd name="connsiteX3" fmla="*/ 388 w 53306"/>
                  <a:gd name="connsiteY3" fmla="*/ 22276 h 37156"/>
                  <a:gd name="connsiteX4" fmla="*/ 43227 w 53306"/>
                  <a:gd name="connsiteY4" fmla="*/ 17 h 37156"/>
                  <a:gd name="connsiteX5" fmla="*/ 53306 w 53306"/>
                  <a:gd name="connsiteY5" fmla="*/ 13036 h 37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306" h="37156">
                    <a:moveTo>
                      <a:pt x="53306" y="13036"/>
                    </a:moveTo>
                    <a:cubicBezTo>
                      <a:pt x="47427" y="21016"/>
                      <a:pt x="43227" y="32355"/>
                      <a:pt x="35667" y="35295"/>
                    </a:cubicBezTo>
                    <a:cubicBezTo>
                      <a:pt x="26007" y="39075"/>
                      <a:pt x="13408" y="36135"/>
                      <a:pt x="2488" y="34875"/>
                    </a:cubicBezTo>
                    <a:cubicBezTo>
                      <a:pt x="1228" y="34875"/>
                      <a:pt x="-871" y="23116"/>
                      <a:pt x="388" y="22276"/>
                    </a:cubicBezTo>
                    <a:cubicBezTo>
                      <a:pt x="14248" y="13876"/>
                      <a:pt x="28527" y="6737"/>
                      <a:pt x="43227" y="17"/>
                    </a:cubicBezTo>
                    <a:cubicBezTo>
                      <a:pt x="44487" y="-403"/>
                      <a:pt x="49106" y="7156"/>
                      <a:pt x="53306" y="1303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C31F9A92-65A5-2453-F9A1-1C4280808E06}"/>
                  </a:ext>
                </a:extLst>
              </p:cNvPr>
              <p:cNvSpPr/>
              <p:nvPr/>
            </p:nvSpPr>
            <p:spPr>
              <a:xfrm>
                <a:off x="4920741" y="3107026"/>
                <a:ext cx="40681" cy="51657"/>
              </a:xfrm>
              <a:custGeom>
                <a:avLst/>
                <a:gdLst>
                  <a:gd name="connsiteX0" fmla="*/ 10863 w 40681"/>
                  <a:gd name="connsiteY0" fmla="*/ 51658 h 51657"/>
                  <a:gd name="connsiteX1" fmla="*/ 363 w 40681"/>
                  <a:gd name="connsiteY1" fmla="*/ 39898 h 51657"/>
                  <a:gd name="connsiteX2" fmla="*/ 5403 w 40681"/>
                  <a:gd name="connsiteY2" fmla="*/ 20999 h 51657"/>
                  <a:gd name="connsiteX3" fmla="*/ 32702 w 40681"/>
                  <a:gd name="connsiteY3" fmla="*/ 0 h 51657"/>
                  <a:gd name="connsiteX4" fmla="*/ 40681 w 40681"/>
                  <a:gd name="connsiteY4" fmla="*/ 11759 h 51657"/>
                  <a:gd name="connsiteX5" fmla="*/ 10863 w 40681"/>
                  <a:gd name="connsiteY5" fmla="*/ 51658 h 51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81" h="51657">
                    <a:moveTo>
                      <a:pt x="10863" y="51658"/>
                    </a:moveTo>
                    <a:cubicBezTo>
                      <a:pt x="8343" y="48718"/>
                      <a:pt x="1623" y="44938"/>
                      <a:pt x="363" y="39898"/>
                    </a:cubicBezTo>
                    <a:cubicBezTo>
                      <a:pt x="-897" y="34019"/>
                      <a:pt x="1203" y="25199"/>
                      <a:pt x="5403" y="20999"/>
                    </a:cubicBezTo>
                    <a:cubicBezTo>
                      <a:pt x="13383" y="13020"/>
                      <a:pt x="23462" y="7140"/>
                      <a:pt x="32702" y="0"/>
                    </a:cubicBezTo>
                    <a:cubicBezTo>
                      <a:pt x="35642" y="3780"/>
                      <a:pt x="40681" y="7560"/>
                      <a:pt x="40681" y="11759"/>
                    </a:cubicBezTo>
                    <a:cubicBezTo>
                      <a:pt x="40681" y="29399"/>
                      <a:pt x="27242" y="49138"/>
                      <a:pt x="10863" y="516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0" name="Freihandform: Form 99">
                <a:extLst>
                  <a:ext uri="{FF2B5EF4-FFF2-40B4-BE49-F238E27FC236}">
                    <a16:creationId xmlns:a16="http://schemas.microsoft.com/office/drawing/2014/main" id="{D1F3B50E-A486-DC19-48F2-C3DB59A2565D}"/>
                  </a:ext>
                </a:extLst>
              </p:cNvPr>
              <p:cNvSpPr/>
              <p:nvPr/>
            </p:nvSpPr>
            <p:spPr>
              <a:xfrm>
                <a:off x="6662458" y="1910477"/>
                <a:ext cx="42729" cy="50210"/>
              </a:xfrm>
              <a:custGeom>
                <a:avLst/>
                <a:gdLst>
                  <a:gd name="connsiteX0" fmla="*/ 42729 w 42729"/>
                  <a:gd name="connsiteY0" fmla="*/ 10100 h 50210"/>
                  <a:gd name="connsiteX1" fmla="*/ 28030 w 42729"/>
                  <a:gd name="connsiteY1" fmla="*/ 41598 h 50210"/>
                  <a:gd name="connsiteX2" fmla="*/ 4511 w 42729"/>
                  <a:gd name="connsiteY2" fmla="*/ 42438 h 50210"/>
                  <a:gd name="connsiteX3" fmla="*/ 22150 w 42729"/>
                  <a:gd name="connsiteY3" fmla="*/ 20 h 50210"/>
                  <a:gd name="connsiteX4" fmla="*/ 42729 w 42729"/>
                  <a:gd name="connsiteY4" fmla="*/ 10100 h 50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729" h="50210">
                    <a:moveTo>
                      <a:pt x="42729" y="10100"/>
                    </a:moveTo>
                    <a:cubicBezTo>
                      <a:pt x="36430" y="23119"/>
                      <a:pt x="32650" y="32779"/>
                      <a:pt x="28030" y="41598"/>
                    </a:cubicBezTo>
                    <a:cubicBezTo>
                      <a:pt x="22150" y="52938"/>
                      <a:pt x="12491" y="52938"/>
                      <a:pt x="4511" y="42438"/>
                    </a:cubicBezTo>
                    <a:cubicBezTo>
                      <a:pt x="-6409" y="28159"/>
                      <a:pt x="3671" y="1280"/>
                      <a:pt x="22150" y="20"/>
                    </a:cubicBezTo>
                    <a:cubicBezTo>
                      <a:pt x="28030" y="-400"/>
                      <a:pt x="34750" y="5900"/>
                      <a:pt x="42729" y="101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1" name="Freihandform: Form 100">
                <a:extLst>
                  <a:ext uri="{FF2B5EF4-FFF2-40B4-BE49-F238E27FC236}">
                    <a16:creationId xmlns:a16="http://schemas.microsoft.com/office/drawing/2014/main" id="{19523B9A-9893-3CA6-CFAD-0975E783585E}"/>
                  </a:ext>
                </a:extLst>
              </p:cNvPr>
              <p:cNvSpPr/>
              <p:nvPr/>
            </p:nvSpPr>
            <p:spPr>
              <a:xfrm>
                <a:off x="4914349" y="2983971"/>
                <a:ext cx="47073" cy="58898"/>
              </a:xfrm>
              <a:custGeom>
                <a:avLst/>
                <a:gdLst>
                  <a:gd name="connsiteX0" fmla="*/ 47074 w 47073"/>
                  <a:gd name="connsiteY0" fmla="*/ 10500 h 58898"/>
                  <a:gd name="connsiteX1" fmla="*/ 15155 w 47073"/>
                  <a:gd name="connsiteY1" fmla="*/ 57957 h 58898"/>
                  <a:gd name="connsiteX2" fmla="*/ 5496 w 47073"/>
                  <a:gd name="connsiteY2" fmla="*/ 57538 h 58898"/>
                  <a:gd name="connsiteX3" fmla="*/ 36 w 47073"/>
                  <a:gd name="connsiteY3" fmla="*/ 51238 h 58898"/>
                  <a:gd name="connsiteX4" fmla="*/ 27335 w 47073"/>
                  <a:gd name="connsiteY4" fmla="*/ 1680 h 58898"/>
                  <a:gd name="connsiteX5" fmla="*/ 36154 w 47073"/>
                  <a:gd name="connsiteY5" fmla="*/ 420 h 58898"/>
                  <a:gd name="connsiteX6" fmla="*/ 47074 w 47073"/>
                  <a:gd name="connsiteY6" fmla="*/ 10500 h 58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073" h="58898">
                    <a:moveTo>
                      <a:pt x="47074" y="10500"/>
                    </a:moveTo>
                    <a:cubicBezTo>
                      <a:pt x="36994" y="26039"/>
                      <a:pt x="26495" y="41998"/>
                      <a:pt x="15155" y="57957"/>
                    </a:cubicBezTo>
                    <a:cubicBezTo>
                      <a:pt x="13895" y="59637"/>
                      <a:pt x="8435" y="58797"/>
                      <a:pt x="5496" y="57538"/>
                    </a:cubicBezTo>
                    <a:cubicBezTo>
                      <a:pt x="2976" y="56698"/>
                      <a:pt x="-384" y="52078"/>
                      <a:pt x="36" y="51238"/>
                    </a:cubicBezTo>
                    <a:cubicBezTo>
                      <a:pt x="8855" y="34439"/>
                      <a:pt x="17675" y="18059"/>
                      <a:pt x="27335" y="1680"/>
                    </a:cubicBezTo>
                    <a:cubicBezTo>
                      <a:pt x="28175" y="0"/>
                      <a:pt x="33634" y="-420"/>
                      <a:pt x="36154" y="420"/>
                    </a:cubicBezTo>
                    <a:cubicBezTo>
                      <a:pt x="38674" y="1680"/>
                      <a:pt x="40774" y="4620"/>
                      <a:pt x="47074" y="105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EECF7E42-0A52-63B0-06CA-34D6C3F9715A}"/>
                  </a:ext>
                </a:extLst>
              </p:cNvPr>
              <p:cNvSpPr/>
              <p:nvPr/>
            </p:nvSpPr>
            <p:spPr>
              <a:xfrm>
                <a:off x="6622771" y="2970168"/>
                <a:ext cx="38318" cy="50006"/>
              </a:xfrm>
              <a:custGeom>
                <a:avLst/>
                <a:gdLst>
                  <a:gd name="connsiteX0" fmla="*/ 38318 w 38318"/>
                  <a:gd name="connsiteY0" fmla="*/ 11703 h 50006"/>
                  <a:gd name="connsiteX1" fmla="*/ 26559 w 38318"/>
                  <a:gd name="connsiteY1" fmla="*/ 39002 h 50006"/>
                  <a:gd name="connsiteX2" fmla="*/ 8079 w 38318"/>
                  <a:gd name="connsiteY2" fmla="*/ 47402 h 50006"/>
                  <a:gd name="connsiteX3" fmla="*/ 100 w 38318"/>
                  <a:gd name="connsiteY3" fmla="*/ 31442 h 50006"/>
                  <a:gd name="connsiteX4" fmla="*/ 10179 w 38318"/>
                  <a:gd name="connsiteY4" fmla="*/ 3723 h 50006"/>
                  <a:gd name="connsiteX5" fmla="*/ 27818 w 38318"/>
                  <a:gd name="connsiteY5" fmla="*/ 364 h 50006"/>
                  <a:gd name="connsiteX6" fmla="*/ 38318 w 38318"/>
                  <a:gd name="connsiteY6" fmla="*/ 11703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18" h="50006">
                    <a:moveTo>
                      <a:pt x="38318" y="11703"/>
                    </a:moveTo>
                    <a:cubicBezTo>
                      <a:pt x="34118" y="20943"/>
                      <a:pt x="29918" y="29762"/>
                      <a:pt x="26559" y="39002"/>
                    </a:cubicBezTo>
                    <a:cubicBezTo>
                      <a:pt x="23199" y="48661"/>
                      <a:pt x="16899" y="53281"/>
                      <a:pt x="8079" y="47402"/>
                    </a:cubicBezTo>
                    <a:cubicBezTo>
                      <a:pt x="3879" y="44462"/>
                      <a:pt x="-740" y="36482"/>
                      <a:pt x="100" y="31442"/>
                    </a:cubicBezTo>
                    <a:cubicBezTo>
                      <a:pt x="1360" y="21783"/>
                      <a:pt x="4719" y="11703"/>
                      <a:pt x="10179" y="3723"/>
                    </a:cubicBezTo>
                    <a:cubicBezTo>
                      <a:pt x="12699" y="-56"/>
                      <a:pt x="21939" y="-477"/>
                      <a:pt x="27818" y="364"/>
                    </a:cubicBezTo>
                    <a:cubicBezTo>
                      <a:pt x="31178" y="784"/>
                      <a:pt x="34118" y="7083"/>
                      <a:pt x="38318" y="1170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3" name="Freihandform: Form 102">
                <a:extLst>
                  <a:ext uri="{FF2B5EF4-FFF2-40B4-BE49-F238E27FC236}">
                    <a16:creationId xmlns:a16="http://schemas.microsoft.com/office/drawing/2014/main" id="{8BD1B099-F37D-0C71-E0FE-F1C7BF29A213}"/>
                  </a:ext>
                </a:extLst>
              </p:cNvPr>
              <p:cNvSpPr/>
              <p:nvPr/>
            </p:nvSpPr>
            <p:spPr>
              <a:xfrm>
                <a:off x="5026351" y="3251311"/>
                <a:ext cx="44687" cy="47576"/>
              </a:xfrm>
              <a:custGeom>
                <a:avLst/>
                <a:gdLst>
                  <a:gd name="connsiteX0" fmla="*/ 44687 w 44687"/>
                  <a:gd name="connsiteY0" fmla="*/ 14468 h 47576"/>
                  <a:gd name="connsiteX1" fmla="*/ 19908 w 44687"/>
                  <a:gd name="connsiteY1" fmla="*/ 46387 h 47576"/>
                  <a:gd name="connsiteX2" fmla="*/ 6889 w 44687"/>
                  <a:gd name="connsiteY2" fmla="*/ 45127 h 47576"/>
                  <a:gd name="connsiteX3" fmla="*/ 5209 w 44687"/>
                  <a:gd name="connsiteY3" fmla="*/ 18248 h 47576"/>
                  <a:gd name="connsiteX4" fmla="*/ 32088 w 44687"/>
                  <a:gd name="connsiteY4" fmla="*/ 1029 h 47576"/>
                  <a:gd name="connsiteX5" fmla="*/ 44687 w 44687"/>
                  <a:gd name="connsiteY5" fmla="*/ 14468 h 4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687" h="47576">
                    <a:moveTo>
                      <a:pt x="44687" y="14468"/>
                    </a:moveTo>
                    <a:cubicBezTo>
                      <a:pt x="36287" y="25387"/>
                      <a:pt x="28728" y="36307"/>
                      <a:pt x="19908" y="46387"/>
                    </a:cubicBezTo>
                    <a:cubicBezTo>
                      <a:pt x="18228" y="48487"/>
                      <a:pt x="10249" y="47646"/>
                      <a:pt x="6889" y="45127"/>
                    </a:cubicBezTo>
                    <a:cubicBezTo>
                      <a:pt x="-4451" y="37147"/>
                      <a:pt x="589" y="28327"/>
                      <a:pt x="5209" y="18248"/>
                    </a:cubicBezTo>
                    <a:cubicBezTo>
                      <a:pt x="11089" y="6068"/>
                      <a:pt x="17388" y="-3171"/>
                      <a:pt x="32088" y="1029"/>
                    </a:cubicBezTo>
                    <a:cubicBezTo>
                      <a:pt x="36707" y="1868"/>
                      <a:pt x="38807" y="7328"/>
                      <a:pt x="44687" y="1446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4" name="Freihandform: Form 103">
                <a:extLst>
                  <a:ext uri="{FF2B5EF4-FFF2-40B4-BE49-F238E27FC236}">
                    <a16:creationId xmlns:a16="http://schemas.microsoft.com/office/drawing/2014/main" id="{80F79684-F4B9-0D78-03A3-6C394348D013}"/>
                  </a:ext>
                </a:extLst>
              </p:cNvPr>
              <p:cNvSpPr/>
              <p:nvPr/>
            </p:nvSpPr>
            <p:spPr>
              <a:xfrm>
                <a:off x="5275298" y="2448874"/>
                <a:ext cx="39858" cy="48758"/>
              </a:xfrm>
              <a:custGeom>
                <a:avLst/>
                <a:gdLst>
                  <a:gd name="connsiteX0" fmla="*/ 12450 w 39858"/>
                  <a:gd name="connsiteY0" fmla="*/ 48758 h 48758"/>
                  <a:gd name="connsiteX1" fmla="*/ 1531 w 39858"/>
                  <a:gd name="connsiteY1" fmla="*/ 41619 h 48758"/>
                  <a:gd name="connsiteX2" fmla="*/ 28830 w 39858"/>
                  <a:gd name="connsiteY2" fmla="*/ 40 h 48758"/>
                  <a:gd name="connsiteX3" fmla="*/ 36809 w 39858"/>
                  <a:gd name="connsiteY3" fmla="*/ 6340 h 48758"/>
                  <a:gd name="connsiteX4" fmla="*/ 12450 w 39858"/>
                  <a:gd name="connsiteY4" fmla="*/ 48758 h 48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58" h="48758">
                    <a:moveTo>
                      <a:pt x="12450" y="48758"/>
                    </a:moveTo>
                    <a:cubicBezTo>
                      <a:pt x="9510" y="47078"/>
                      <a:pt x="3631" y="45399"/>
                      <a:pt x="1531" y="41619"/>
                    </a:cubicBezTo>
                    <a:cubicBezTo>
                      <a:pt x="-5609" y="27339"/>
                      <a:pt x="13710" y="-1220"/>
                      <a:pt x="28830" y="40"/>
                    </a:cubicBezTo>
                    <a:cubicBezTo>
                      <a:pt x="31769" y="460"/>
                      <a:pt x="35129" y="3400"/>
                      <a:pt x="36809" y="6340"/>
                    </a:cubicBezTo>
                    <a:cubicBezTo>
                      <a:pt x="46469" y="20620"/>
                      <a:pt x="31769" y="47499"/>
                      <a:pt x="12450" y="487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5" name="Freihandform: Form 104">
                <a:extLst>
                  <a:ext uri="{FF2B5EF4-FFF2-40B4-BE49-F238E27FC236}">
                    <a16:creationId xmlns:a16="http://schemas.microsoft.com/office/drawing/2014/main" id="{619BD764-070E-FA4A-3D2B-76BEA0453BD6}"/>
                  </a:ext>
                </a:extLst>
              </p:cNvPr>
              <p:cNvSpPr/>
              <p:nvPr/>
            </p:nvSpPr>
            <p:spPr>
              <a:xfrm>
                <a:off x="6113960" y="1737448"/>
                <a:ext cx="40643" cy="49154"/>
              </a:xfrm>
              <a:custGeom>
                <a:avLst/>
                <a:gdLst>
                  <a:gd name="connsiteX0" fmla="*/ 9972 w 40643"/>
                  <a:gd name="connsiteY0" fmla="*/ 49155 h 49154"/>
                  <a:gd name="connsiteX1" fmla="*/ 733 w 40643"/>
                  <a:gd name="connsiteY1" fmla="*/ 34455 h 49154"/>
                  <a:gd name="connsiteX2" fmla="*/ 1572 w 40643"/>
                  <a:gd name="connsiteY2" fmla="*/ 24796 h 49154"/>
                  <a:gd name="connsiteX3" fmla="*/ 30131 w 40643"/>
                  <a:gd name="connsiteY3" fmla="*/ 17 h 49154"/>
                  <a:gd name="connsiteX4" fmla="*/ 40631 w 40643"/>
                  <a:gd name="connsiteY4" fmla="*/ 9256 h 49154"/>
                  <a:gd name="connsiteX5" fmla="*/ 26771 w 40643"/>
                  <a:gd name="connsiteY5" fmla="*/ 44535 h 49154"/>
                  <a:gd name="connsiteX6" fmla="*/ 9972 w 40643"/>
                  <a:gd name="connsiteY6" fmla="*/ 49155 h 49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643" h="49154">
                    <a:moveTo>
                      <a:pt x="9972" y="49155"/>
                    </a:moveTo>
                    <a:cubicBezTo>
                      <a:pt x="7032" y="44535"/>
                      <a:pt x="3252" y="39495"/>
                      <a:pt x="733" y="34455"/>
                    </a:cubicBezTo>
                    <a:cubicBezTo>
                      <a:pt x="-527" y="31935"/>
                      <a:pt x="-107" y="26476"/>
                      <a:pt x="1572" y="24796"/>
                    </a:cubicBezTo>
                    <a:cubicBezTo>
                      <a:pt x="10392" y="15976"/>
                      <a:pt x="20052" y="7576"/>
                      <a:pt x="30131" y="17"/>
                    </a:cubicBezTo>
                    <a:cubicBezTo>
                      <a:pt x="30971" y="-403"/>
                      <a:pt x="41051" y="7156"/>
                      <a:pt x="40631" y="9256"/>
                    </a:cubicBezTo>
                    <a:cubicBezTo>
                      <a:pt x="37271" y="21436"/>
                      <a:pt x="32651" y="33615"/>
                      <a:pt x="26771" y="44535"/>
                    </a:cubicBezTo>
                    <a:cubicBezTo>
                      <a:pt x="25511" y="47475"/>
                      <a:pt x="17952" y="47055"/>
                      <a:pt x="9972" y="491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6" name="Freihandform: Form 105">
                <a:extLst>
                  <a:ext uri="{FF2B5EF4-FFF2-40B4-BE49-F238E27FC236}">
                    <a16:creationId xmlns:a16="http://schemas.microsoft.com/office/drawing/2014/main" id="{08EC7F9E-DE51-9AA9-0F4A-241F5DDCAFC1}"/>
                  </a:ext>
                </a:extLst>
              </p:cNvPr>
              <p:cNvSpPr/>
              <p:nvPr/>
            </p:nvSpPr>
            <p:spPr>
              <a:xfrm>
                <a:off x="5673805" y="1751744"/>
                <a:ext cx="36693" cy="52497"/>
              </a:xfrm>
              <a:custGeom>
                <a:avLst/>
                <a:gdLst>
                  <a:gd name="connsiteX0" fmla="*/ 25106 w 36693"/>
                  <a:gd name="connsiteY0" fmla="*/ 0 h 52497"/>
                  <a:gd name="connsiteX1" fmla="*/ 36446 w 36693"/>
                  <a:gd name="connsiteY1" fmla="*/ 21419 h 52497"/>
                  <a:gd name="connsiteX2" fmla="*/ 30566 w 36693"/>
                  <a:gd name="connsiteY2" fmla="*/ 34858 h 52497"/>
                  <a:gd name="connsiteX3" fmla="*/ 9147 w 36693"/>
                  <a:gd name="connsiteY3" fmla="*/ 52498 h 52497"/>
                  <a:gd name="connsiteX4" fmla="*/ 327 w 36693"/>
                  <a:gd name="connsiteY4" fmla="*/ 31499 h 52497"/>
                  <a:gd name="connsiteX5" fmla="*/ 25106 w 36693"/>
                  <a:gd name="connsiteY5" fmla="*/ 0 h 5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693" h="52497">
                    <a:moveTo>
                      <a:pt x="25106" y="0"/>
                    </a:moveTo>
                    <a:cubicBezTo>
                      <a:pt x="28886" y="6720"/>
                      <a:pt x="34346" y="13859"/>
                      <a:pt x="36446" y="21419"/>
                    </a:cubicBezTo>
                    <a:cubicBezTo>
                      <a:pt x="37706" y="25199"/>
                      <a:pt x="33926" y="31499"/>
                      <a:pt x="30566" y="34858"/>
                    </a:cubicBezTo>
                    <a:cubicBezTo>
                      <a:pt x="24266" y="41578"/>
                      <a:pt x="16286" y="46618"/>
                      <a:pt x="9147" y="52498"/>
                    </a:cubicBezTo>
                    <a:cubicBezTo>
                      <a:pt x="6207" y="45358"/>
                      <a:pt x="1167" y="38638"/>
                      <a:pt x="327" y="31499"/>
                    </a:cubicBezTo>
                    <a:cubicBezTo>
                      <a:pt x="-1773" y="16379"/>
                      <a:pt x="6207" y="5880"/>
                      <a:pt x="25106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7" name="Freihandform: Form 106">
                <a:extLst>
                  <a:ext uri="{FF2B5EF4-FFF2-40B4-BE49-F238E27FC236}">
                    <a16:creationId xmlns:a16="http://schemas.microsoft.com/office/drawing/2014/main" id="{640767E1-791D-8B20-D031-0C61CC8950E1}"/>
                  </a:ext>
                </a:extLst>
              </p:cNvPr>
              <p:cNvSpPr/>
              <p:nvPr/>
            </p:nvSpPr>
            <p:spPr>
              <a:xfrm>
                <a:off x="6618943" y="1599722"/>
                <a:ext cx="38679" cy="55698"/>
              </a:xfrm>
              <a:custGeom>
                <a:avLst/>
                <a:gdLst>
                  <a:gd name="connsiteX0" fmla="*/ 8128 w 38679"/>
                  <a:gd name="connsiteY0" fmla="*/ 53747 h 55698"/>
                  <a:gd name="connsiteX1" fmla="*/ 148 w 38679"/>
                  <a:gd name="connsiteY1" fmla="*/ 39048 h 55698"/>
                  <a:gd name="connsiteX2" fmla="*/ 17787 w 38679"/>
                  <a:gd name="connsiteY2" fmla="*/ 3349 h 55698"/>
                  <a:gd name="connsiteX3" fmla="*/ 37946 w 38679"/>
                  <a:gd name="connsiteY3" fmla="*/ 8809 h 55698"/>
                  <a:gd name="connsiteX4" fmla="*/ 15687 w 38679"/>
                  <a:gd name="connsiteY4" fmla="*/ 55427 h 55698"/>
                  <a:gd name="connsiteX5" fmla="*/ 8128 w 38679"/>
                  <a:gd name="connsiteY5" fmla="*/ 53747 h 55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679" h="55698">
                    <a:moveTo>
                      <a:pt x="8128" y="53747"/>
                    </a:moveTo>
                    <a:cubicBezTo>
                      <a:pt x="6028" y="49967"/>
                      <a:pt x="-1112" y="43247"/>
                      <a:pt x="148" y="39048"/>
                    </a:cubicBezTo>
                    <a:cubicBezTo>
                      <a:pt x="4348" y="26448"/>
                      <a:pt x="10648" y="14689"/>
                      <a:pt x="17787" y="3349"/>
                    </a:cubicBezTo>
                    <a:cubicBezTo>
                      <a:pt x="21987" y="-3371"/>
                      <a:pt x="35427" y="829"/>
                      <a:pt x="37946" y="8809"/>
                    </a:cubicBezTo>
                    <a:cubicBezTo>
                      <a:pt x="42146" y="21828"/>
                      <a:pt x="27447" y="52067"/>
                      <a:pt x="15687" y="55427"/>
                    </a:cubicBezTo>
                    <a:cubicBezTo>
                      <a:pt x="14007" y="56267"/>
                      <a:pt x="12328" y="55007"/>
                      <a:pt x="8128" y="537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8" name="Freihandform: Form 107">
                <a:extLst>
                  <a:ext uri="{FF2B5EF4-FFF2-40B4-BE49-F238E27FC236}">
                    <a16:creationId xmlns:a16="http://schemas.microsoft.com/office/drawing/2014/main" id="{E960B94E-2366-1372-E2B9-54C6209C7226}"/>
                  </a:ext>
                </a:extLst>
              </p:cNvPr>
              <p:cNvSpPr/>
              <p:nvPr/>
            </p:nvSpPr>
            <p:spPr>
              <a:xfrm>
                <a:off x="6631106" y="2311770"/>
                <a:ext cx="38095" cy="49368"/>
              </a:xfrm>
              <a:custGeom>
                <a:avLst/>
                <a:gdLst>
                  <a:gd name="connsiteX0" fmla="*/ 7305 w 38095"/>
                  <a:gd name="connsiteY0" fmla="*/ 49368 h 49368"/>
                  <a:gd name="connsiteX1" fmla="*/ 165 w 38095"/>
                  <a:gd name="connsiteY1" fmla="*/ 36349 h 49368"/>
                  <a:gd name="connsiteX2" fmla="*/ 19904 w 38095"/>
                  <a:gd name="connsiteY2" fmla="*/ 1910 h 49368"/>
                  <a:gd name="connsiteX3" fmla="*/ 33344 w 38095"/>
                  <a:gd name="connsiteY3" fmla="*/ 650 h 49368"/>
                  <a:gd name="connsiteX4" fmla="*/ 37963 w 38095"/>
                  <a:gd name="connsiteY4" fmla="*/ 8630 h 49368"/>
                  <a:gd name="connsiteX5" fmla="*/ 21164 w 38095"/>
                  <a:gd name="connsiteY5" fmla="*/ 48528 h 49368"/>
                  <a:gd name="connsiteX6" fmla="*/ 7305 w 38095"/>
                  <a:gd name="connsiteY6" fmla="*/ 49368 h 49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95" h="49368">
                    <a:moveTo>
                      <a:pt x="7305" y="49368"/>
                    </a:moveTo>
                    <a:cubicBezTo>
                      <a:pt x="5205" y="46008"/>
                      <a:pt x="-1095" y="39709"/>
                      <a:pt x="165" y="36349"/>
                    </a:cubicBezTo>
                    <a:cubicBezTo>
                      <a:pt x="5205" y="24169"/>
                      <a:pt x="12344" y="12410"/>
                      <a:pt x="19904" y="1910"/>
                    </a:cubicBezTo>
                    <a:cubicBezTo>
                      <a:pt x="21584" y="-610"/>
                      <a:pt x="29144" y="-190"/>
                      <a:pt x="33344" y="650"/>
                    </a:cubicBezTo>
                    <a:cubicBezTo>
                      <a:pt x="35443" y="1070"/>
                      <a:pt x="38803" y="6530"/>
                      <a:pt x="37963" y="8630"/>
                    </a:cubicBezTo>
                    <a:cubicBezTo>
                      <a:pt x="32924" y="22069"/>
                      <a:pt x="27464" y="35509"/>
                      <a:pt x="21164" y="48528"/>
                    </a:cubicBezTo>
                    <a:cubicBezTo>
                      <a:pt x="19904" y="49788"/>
                      <a:pt x="14444" y="48948"/>
                      <a:pt x="7305" y="4936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09" name="Freihandform: Form 108">
                <a:extLst>
                  <a:ext uri="{FF2B5EF4-FFF2-40B4-BE49-F238E27FC236}">
                    <a16:creationId xmlns:a16="http://schemas.microsoft.com/office/drawing/2014/main" id="{8A228946-7253-D3EE-7EA1-8BD174A7D43D}"/>
                  </a:ext>
                </a:extLst>
              </p:cNvPr>
              <p:cNvSpPr/>
              <p:nvPr/>
            </p:nvSpPr>
            <p:spPr>
              <a:xfrm>
                <a:off x="5413679" y="2663467"/>
                <a:ext cx="49788" cy="33656"/>
              </a:xfrm>
              <a:custGeom>
                <a:avLst/>
                <a:gdLst>
                  <a:gd name="connsiteX0" fmla="*/ 32403 w 49788"/>
                  <a:gd name="connsiteY0" fmla="*/ 33657 h 33656"/>
                  <a:gd name="connsiteX1" fmla="*/ 11824 w 49788"/>
                  <a:gd name="connsiteY1" fmla="*/ 31977 h 33656"/>
                  <a:gd name="connsiteX2" fmla="*/ 64 w 49788"/>
                  <a:gd name="connsiteY2" fmla="*/ 19798 h 33656"/>
                  <a:gd name="connsiteX3" fmla="*/ 12244 w 49788"/>
                  <a:gd name="connsiteY3" fmla="*/ 1738 h 33656"/>
                  <a:gd name="connsiteX4" fmla="*/ 26943 w 49788"/>
                  <a:gd name="connsiteY4" fmla="*/ 478 h 33656"/>
                  <a:gd name="connsiteX5" fmla="*/ 49622 w 49788"/>
                  <a:gd name="connsiteY5" fmla="*/ 21897 h 33656"/>
                  <a:gd name="connsiteX6" fmla="*/ 32403 w 49788"/>
                  <a:gd name="connsiteY6" fmla="*/ 33657 h 33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788" h="33656">
                    <a:moveTo>
                      <a:pt x="32403" y="33657"/>
                    </a:moveTo>
                    <a:cubicBezTo>
                      <a:pt x="21483" y="32817"/>
                      <a:pt x="15604" y="34077"/>
                      <a:pt x="11824" y="31977"/>
                    </a:cubicBezTo>
                    <a:cubicBezTo>
                      <a:pt x="6784" y="29457"/>
                      <a:pt x="-776" y="23157"/>
                      <a:pt x="64" y="19798"/>
                    </a:cubicBezTo>
                    <a:cubicBezTo>
                      <a:pt x="1744" y="13078"/>
                      <a:pt x="6784" y="6358"/>
                      <a:pt x="12244" y="1738"/>
                    </a:cubicBezTo>
                    <a:cubicBezTo>
                      <a:pt x="15184" y="-782"/>
                      <a:pt x="21904" y="58"/>
                      <a:pt x="26943" y="478"/>
                    </a:cubicBezTo>
                    <a:cubicBezTo>
                      <a:pt x="39963" y="1738"/>
                      <a:pt x="51302" y="8038"/>
                      <a:pt x="49622" y="21897"/>
                    </a:cubicBezTo>
                    <a:cubicBezTo>
                      <a:pt x="48782" y="27777"/>
                      <a:pt x="35763" y="31557"/>
                      <a:pt x="32403" y="3365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0" name="Freihandform: Form 109">
                <a:extLst>
                  <a:ext uri="{FF2B5EF4-FFF2-40B4-BE49-F238E27FC236}">
                    <a16:creationId xmlns:a16="http://schemas.microsoft.com/office/drawing/2014/main" id="{A4EDB426-F214-9156-DA54-95DF6C8B7E53}"/>
                  </a:ext>
                </a:extLst>
              </p:cNvPr>
              <p:cNvSpPr/>
              <p:nvPr/>
            </p:nvSpPr>
            <p:spPr>
              <a:xfrm>
                <a:off x="6500989" y="1754676"/>
                <a:ext cx="42505" cy="49665"/>
              </a:xfrm>
              <a:custGeom>
                <a:avLst/>
                <a:gdLst>
                  <a:gd name="connsiteX0" fmla="*/ 42505 w 42505"/>
                  <a:gd name="connsiteY0" fmla="*/ 11348 h 49665"/>
                  <a:gd name="connsiteX1" fmla="*/ 33686 w 42505"/>
                  <a:gd name="connsiteY1" fmla="*/ 28147 h 49665"/>
                  <a:gd name="connsiteX2" fmla="*/ 9747 w 42505"/>
                  <a:gd name="connsiteY2" fmla="*/ 49566 h 49665"/>
                  <a:gd name="connsiteX3" fmla="*/ 1347 w 42505"/>
                  <a:gd name="connsiteY3" fmla="*/ 39067 h 49665"/>
                  <a:gd name="connsiteX4" fmla="*/ 17726 w 42505"/>
                  <a:gd name="connsiteY4" fmla="*/ 428 h 49665"/>
                  <a:gd name="connsiteX5" fmla="*/ 42505 w 42505"/>
                  <a:gd name="connsiteY5" fmla="*/ 11348 h 49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505" h="49665">
                    <a:moveTo>
                      <a:pt x="42505" y="11348"/>
                    </a:moveTo>
                    <a:cubicBezTo>
                      <a:pt x="38306" y="18908"/>
                      <a:pt x="35786" y="23107"/>
                      <a:pt x="33686" y="28147"/>
                    </a:cubicBezTo>
                    <a:cubicBezTo>
                      <a:pt x="29486" y="39907"/>
                      <a:pt x="24446" y="50826"/>
                      <a:pt x="9747" y="49566"/>
                    </a:cubicBezTo>
                    <a:cubicBezTo>
                      <a:pt x="6387" y="49146"/>
                      <a:pt x="2187" y="43267"/>
                      <a:pt x="1347" y="39067"/>
                    </a:cubicBezTo>
                    <a:cubicBezTo>
                      <a:pt x="-2433" y="22688"/>
                      <a:pt x="1347" y="6728"/>
                      <a:pt x="17726" y="428"/>
                    </a:cubicBezTo>
                    <a:cubicBezTo>
                      <a:pt x="23606" y="-2091"/>
                      <a:pt x="34106" y="7148"/>
                      <a:pt x="42505" y="1134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1" name="Freihandform: Form 110">
                <a:extLst>
                  <a:ext uri="{FF2B5EF4-FFF2-40B4-BE49-F238E27FC236}">
                    <a16:creationId xmlns:a16="http://schemas.microsoft.com/office/drawing/2014/main" id="{81652724-143E-CC64-DF17-6F2E6601C9CE}"/>
                  </a:ext>
                </a:extLst>
              </p:cNvPr>
              <p:cNvSpPr/>
              <p:nvPr/>
            </p:nvSpPr>
            <p:spPr>
              <a:xfrm>
                <a:off x="6617347" y="2171654"/>
                <a:ext cx="39962" cy="51939"/>
              </a:xfrm>
              <a:custGeom>
                <a:avLst/>
                <a:gdLst>
                  <a:gd name="connsiteX0" fmla="*/ 8464 w 39962"/>
                  <a:gd name="connsiteY0" fmla="*/ 51730 h 51939"/>
                  <a:gd name="connsiteX1" fmla="*/ 904 w 39962"/>
                  <a:gd name="connsiteY1" fmla="*/ 45430 h 51939"/>
                  <a:gd name="connsiteX2" fmla="*/ 24843 w 39962"/>
                  <a:gd name="connsiteY2" fmla="*/ 72 h 51939"/>
                  <a:gd name="connsiteX3" fmla="*/ 39962 w 39962"/>
                  <a:gd name="connsiteY3" fmla="*/ 8892 h 51939"/>
                  <a:gd name="connsiteX4" fmla="*/ 13504 w 39962"/>
                  <a:gd name="connsiteY4" fmla="*/ 50890 h 51939"/>
                  <a:gd name="connsiteX5" fmla="*/ 8464 w 39962"/>
                  <a:gd name="connsiteY5" fmla="*/ 51730 h 51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962" h="51939">
                    <a:moveTo>
                      <a:pt x="8464" y="51730"/>
                    </a:moveTo>
                    <a:cubicBezTo>
                      <a:pt x="5944" y="49630"/>
                      <a:pt x="1744" y="47950"/>
                      <a:pt x="904" y="45430"/>
                    </a:cubicBezTo>
                    <a:cubicBezTo>
                      <a:pt x="-3716" y="29891"/>
                      <a:pt x="10144" y="3012"/>
                      <a:pt x="24843" y="72"/>
                    </a:cubicBezTo>
                    <a:cubicBezTo>
                      <a:pt x="29043" y="-768"/>
                      <a:pt x="34923" y="5952"/>
                      <a:pt x="39962" y="8892"/>
                    </a:cubicBezTo>
                    <a:cubicBezTo>
                      <a:pt x="31143" y="23171"/>
                      <a:pt x="22323" y="37031"/>
                      <a:pt x="13504" y="50890"/>
                    </a:cubicBezTo>
                    <a:cubicBezTo>
                      <a:pt x="12664" y="52570"/>
                      <a:pt x="10144" y="51730"/>
                      <a:pt x="8464" y="517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2" name="Freihandform: Form 111">
                <a:extLst>
                  <a:ext uri="{FF2B5EF4-FFF2-40B4-BE49-F238E27FC236}">
                    <a16:creationId xmlns:a16="http://schemas.microsoft.com/office/drawing/2014/main" id="{9421A704-D460-936E-1016-83738A9D28D2}"/>
                  </a:ext>
                </a:extLst>
              </p:cNvPr>
              <p:cNvSpPr/>
              <p:nvPr/>
            </p:nvSpPr>
            <p:spPr>
              <a:xfrm>
                <a:off x="5897209" y="3210342"/>
                <a:ext cx="43611" cy="47784"/>
              </a:xfrm>
              <a:custGeom>
                <a:avLst/>
                <a:gdLst>
                  <a:gd name="connsiteX0" fmla="*/ 43611 w 43611"/>
                  <a:gd name="connsiteY0" fmla="*/ 13859 h 47784"/>
                  <a:gd name="connsiteX1" fmla="*/ 27232 w 43611"/>
                  <a:gd name="connsiteY1" fmla="*/ 45778 h 47784"/>
                  <a:gd name="connsiteX2" fmla="*/ 5813 w 43611"/>
                  <a:gd name="connsiteY2" fmla="*/ 44938 h 47784"/>
                  <a:gd name="connsiteX3" fmla="*/ 6653 w 43611"/>
                  <a:gd name="connsiteY3" fmla="*/ 23939 h 47784"/>
                  <a:gd name="connsiteX4" fmla="*/ 28912 w 43611"/>
                  <a:gd name="connsiteY4" fmla="*/ 0 h 47784"/>
                  <a:gd name="connsiteX5" fmla="*/ 43611 w 43611"/>
                  <a:gd name="connsiteY5" fmla="*/ 13859 h 4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611" h="47784">
                    <a:moveTo>
                      <a:pt x="43611" y="13859"/>
                    </a:moveTo>
                    <a:cubicBezTo>
                      <a:pt x="37732" y="26039"/>
                      <a:pt x="34372" y="37798"/>
                      <a:pt x="27232" y="45778"/>
                    </a:cubicBezTo>
                    <a:cubicBezTo>
                      <a:pt x="24292" y="49138"/>
                      <a:pt x="11693" y="47878"/>
                      <a:pt x="5813" y="44938"/>
                    </a:cubicBezTo>
                    <a:cubicBezTo>
                      <a:pt x="-4686" y="39058"/>
                      <a:pt x="1193" y="30238"/>
                      <a:pt x="6653" y="23939"/>
                    </a:cubicBezTo>
                    <a:cubicBezTo>
                      <a:pt x="13373" y="15539"/>
                      <a:pt x="21352" y="7980"/>
                      <a:pt x="28912" y="0"/>
                    </a:cubicBezTo>
                    <a:cubicBezTo>
                      <a:pt x="33112" y="4200"/>
                      <a:pt x="37732" y="7980"/>
                      <a:pt x="43611" y="138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3" name="Freihandform: Form 112">
                <a:extLst>
                  <a:ext uri="{FF2B5EF4-FFF2-40B4-BE49-F238E27FC236}">
                    <a16:creationId xmlns:a16="http://schemas.microsoft.com/office/drawing/2014/main" id="{0DF368D8-FE99-588A-6190-35AA8D53754A}"/>
                  </a:ext>
                </a:extLst>
              </p:cNvPr>
              <p:cNvSpPr/>
              <p:nvPr/>
            </p:nvSpPr>
            <p:spPr>
              <a:xfrm>
                <a:off x="6271264" y="1641687"/>
                <a:ext cx="38793" cy="56719"/>
              </a:xfrm>
              <a:custGeom>
                <a:avLst/>
                <a:gdLst>
                  <a:gd name="connsiteX0" fmla="*/ 12682 w 38793"/>
                  <a:gd name="connsiteY0" fmla="*/ 56720 h 56719"/>
                  <a:gd name="connsiteX1" fmla="*/ 503 w 38793"/>
                  <a:gd name="connsiteY1" fmla="*/ 42021 h 56719"/>
                  <a:gd name="connsiteX2" fmla="*/ 2603 w 38793"/>
                  <a:gd name="connsiteY2" fmla="*/ 32361 h 56719"/>
                  <a:gd name="connsiteX3" fmla="*/ 29061 w 38793"/>
                  <a:gd name="connsiteY3" fmla="*/ 22 h 56719"/>
                  <a:gd name="connsiteX4" fmla="*/ 38721 w 38793"/>
                  <a:gd name="connsiteY4" fmla="*/ 10522 h 56719"/>
                  <a:gd name="connsiteX5" fmla="*/ 18562 w 38793"/>
                  <a:gd name="connsiteY5" fmla="*/ 55040 h 56719"/>
                  <a:gd name="connsiteX6" fmla="*/ 12682 w 38793"/>
                  <a:gd name="connsiteY6" fmla="*/ 56720 h 56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793" h="56719">
                    <a:moveTo>
                      <a:pt x="12682" y="56720"/>
                    </a:moveTo>
                    <a:cubicBezTo>
                      <a:pt x="8902" y="52100"/>
                      <a:pt x="3862" y="47480"/>
                      <a:pt x="503" y="42021"/>
                    </a:cubicBezTo>
                    <a:cubicBezTo>
                      <a:pt x="-757" y="39921"/>
                      <a:pt x="503" y="34461"/>
                      <a:pt x="2603" y="32361"/>
                    </a:cubicBezTo>
                    <a:cubicBezTo>
                      <a:pt x="12682" y="22281"/>
                      <a:pt x="7223" y="-818"/>
                      <a:pt x="29061" y="22"/>
                    </a:cubicBezTo>
                    <a:cubicBezTo>
                      <a:pt x="32841" y="22"/>
                      <a:pt x="39561" y="8422"/>
                      <a:pt x="38721" y="10522"/>
                    </a:cubicBezTo>
                    <a:cubicBezTo>
                      <a:pt x="32841" y="25641"/>
                      <a:pt x="25702" y="40341"/>
                      <a:pt x="18562" y="55040"/>
                    </a:cubicBezTo>
                    <a:cubicBezTo>
                      <a:pt x="18982" y="55880"/>
                      <a:pt x="16462" y="55880"/>
                      <a:pt x="12682" y="5672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4" name="Freihandform: Form 113">
                <a:extLst>
                  <a:ext uri="{FF2B5EF4-FFF2-40B4-BE49-F238E27FC236}">
                    <a16:creationId xmlns:a16="http://schemas.microsoft.com/office/drawing/2014/main" id="{DBA0B2FC-B73A-31D9-7284-B5ABA4F78D52}"/>
                  </a:ext>
                </a:extLst>
              </p:cNvPr>
              <p:cNvSpPr/>
              <p:nvPr/>
            </p:nvSpPr>
            <p:spPr>
              <a:xfrm>
                <a:off x="6501590" y="2164055"/>
                <a:ext cx="47364" cy="46729"/>
              </a:xfrm>
              <a:custGeom>
                <a:avLst/>
                <a:gdLst>
                  <a:gd name="connsiteX0" fmla="*/ 47365 w 47364"/>
                  <a:gd name="connsiteY0" fmla="*/ 16071 h 46729"/>
                  <a:gd name="connsiteX1" fmla="*/ 16706 w 47364"/>
                  <a:gd name="connsiteY1" fmla="*/ 46730 h 46729"/>
                  <a:gd name="connsiteX2" fmla="*/ 1166 w 47364"/>
                  <a:gd name="connsiteY2" fmla="*/ 28251 h 46729"/>
                  <a:gd name="connsiteX3" fmla="*/ 17126 w 47364"/>
                  <a:gd name="connsiteY3" fmla="*/ 112 h 46729"/>
                  <a:gd name="connsiteX4" fmla="*/ 47365 w 47364"/>
                  <a:gd name="connsiteY4" fmla="*/ 16071 h 4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364" h="46729">
                    <a:moveTo>
                      <a:pt x="47365" y="16071"/>
                    </a:moveTo>
                    <a:cubicBezTo>
                      <a:pt x="35185" y="28670"/>
                      <a:pt x="25946" y="37910"/>
                      <a:pt x="16706" y="46730"/>
                    </a:cubicBezTo>
                    <a:cubicBezTo>
                      <a:pt x="11246" y="40430"/>
                      <a:pt x="3687" y="35390"/>
                      <a:pt x="1166" y="28251"/>
                    </a:cubicBezTo>
                    <a:cubicBezTo>
                      <a:pt x="-3033" y="14811"/>
                      <a:pt x="4526" y="2632"/>
                      <a:pt x="17126" y="112"/>
                    </a:cubicBezTo>
                    <a:cubicBezTo>
                      <a:pt x="24265" y="-1148"/>
                      <a:pt x="33505" y="8511"/>
                      <a:pt x="47365" y="1607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5" name="Freihandform: Form 114">
                <a:extLst>
                  <a:ext uri="{FF2B5EF4-FFF2-40B4-BE49-F238E27FC236}">
                    <a16:creationId xmlns:a16="http://schemas.microsoft.com/office/drawing/2014/main" id="{003928B3-2E6B-CB7F-6716-DAB9FF399F18}"/>
                  </a:ext>
                </a:extLst>
              </p:cNvPr>
              <p:cNvSpPr/>
              <p:nvPr/>
            </p:nvSpPr>
            <p:spPr>
              <a:xfrm>
                <a:off x="5328074" y="2732199"/>
                <a:ext cx="38631" cy="56060"/>
              </a:xfrm>
              <a:custGeom>
                <a:avLst/>
                <a:gdLst>
                  <a:gd name="connsiteX0" fmla="*/ 38631 w 38631"/>
                  <a:gd name="connsiteY0" fmla="*/ 9863 h 56060"/>
                  <a:gd name="connsiteX1" fmla="*/ 31912 w 38631"/>
                  <a:gd name="connsiteY1" fmla="*/ 27502 h 56060"/>
                  <a:gd name="connsiteX2" fmla="*/ 7553 w 38631"/>
                  <a:gd name="connsiteY2" fmla="*/ 56061 h 56060"/>
                  <a:gd name="connsiteX3" fmla="*/ 3773 w 38631"/>
                  <a:gd name="connsiteY3" fmla="*/ 53121 h 56060"/>
                  <a:gd name="connsiteX4" fmla="*/ 11332 w 38631"/>
                  <a:gd name="connsiteY4" fmla="*/ 11123 h 56060"/>
                  <a:gd name="connsiteX5" fmla="*/ 22672 w 38631"/>
                  <a:gd name="connsiteY5" fmla="*/ 623 h 56060"/>
                  <a:gd name="connsiteX6" fmla="*/ 31072 w 38631"/>
                  <a:gd name="connsiteY6" fmla="*/ 1463 h 56060"/>
                  <a:gd name="connsiteX7" fmla="*/ 38631 w 38631"/>
                  <a:gd name="connsiteY7" fmla="*/ 9863 h 56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631" h="56060">
                    <a:moveTo>
                      <a:pt x="38631" y="9863"/>
                    </a:moveTo>
                    <a:cubicBezTo>
                      <a:pt x="36531" y="15743"/>
                      <a:pt x="35691" y="22462"/>
                      <a:pt x="31912" y="27502"/>
                    </a:cubicBezTo>
                    <a:cubicBezTo>
                      <a:pt x="24772" y="37582"/>
                      <a:pt x="25612" y="55221"/>
                      <a:pt x="7553" y="56061"/>
                    </a:cubicBezTo>
                    <a:cubicBezTo>
                      <a:pt x="6293" y="56061"/>
                      <a:pt x="4193" y="54381"/>
                      <a:pt x="3773" y="53121"/>
                    </a:cubicBezTo>
                    <a:cubicBezTo>
                      <a:pt x="-2947" y="37582"/>
                      <a:pt x="-847" y="23302"/>
                      <a:pt x="11332" y="11123"/>
                    </a:cubicBezTo>
                    <a:cubicBezTo>
                      <a:pt x="15112" y="7343"/>
                      <a:pt x="18472" y="3563"/>
                      <a:pt x="22672" y="623"/>
                    </a:cubicBezTo>
                    <a:cubicBezTo>
                      <a:pt x="24772" y="-637"/>
                      <a:pt x="28972" y="203"/>
                      <a:pt x="31072" y="1463"/>
                    </a:cubicBezTo>
                    <a:cubicBezTo>
                      <a:pt x="34012" y="3143"/>
                      <a:pt x="35691" y="6503"/>
                      <a:pt x="38631" y="98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6" name="Freihandform: Form 115">
                <a:extLst>
                  <a:ext uri="{FF2B5EF4-FFF2-40B4-BE49-F238E27FC236}">
                    <a16:creationId xmlns:a16="http://schemas.microsoft.com/office/drawing/2014/main" id="{B07DBA2B-DBE7-F88E-A23D-27CC3F182FC9}"/>
                  </a:ext>
                </a:extLst>
              </p:cNvPr>
              <p:cNvSpPr/>
              <p:nvPr/>
            </p:nvSpPr>
            <p:spPr>
              <a:xfrm>
                <a:off x="5470539" y="1869336"/>
                <a:ext cx="38959" cy="50821"/>
              </a:xfrm>
              <a:custGeom>
                <a:avLst/>
                <a:gdLst>
                  <a:gd name="connsiteX0" fmla="*/ 38960 w 38959"/>
                  <a:gd name="connsiteY0" fmla="*/ 11763 h 50821"/>
                  <a:gd name="connsiteX1" fmla="*/ 23841 w 38959"/>
                  <a:gd name="connsiteY1" fmla="*/ 43261 h 50821"/>
                  <a:gd name="connsiteX2" fmla="*/ 2421 w 38959"/>
                  <a:gd name="connsiteY2" fmla="*/ 50821 h 50821"/>
                  <a:gd name="connsiteX3" fmla="*/ 742 w 38959"/>
                  <a:gd name="connsiteY3" fmla="*/ 29402 h 50821"/>
                  <a:gd name="connsiteX4" fmla="*/ 16281 w 38959"/>
                  <a:gd name="connsiteY4" fmla="*/ 3783 h 50821"/>
                  <a:gd name="connsiteX5" fmla="*/ 29720 w 38959"/>
                  <a:gd name="connsiteY5" fmla="*/ 423 h 50821"/>
                  <a:gd name="connsiteX6" fmla="*/ 38960 w 38959"/>
                  <a:gd name="connsiteY6" fmla="*/ 11763 h 50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959" h="50821">
                    <a:moveTo>
                      <a:pt x="38960" y="11763"/>
                    </a:moveTo>
                    <a:cubicBezTo>
                      <a:pt x="33920" y="22682"/>
                      <a:pt x="30980" y="34442"/>
                      <a:pt x="23841" y="43261"/>
                    </a:cubicBezTo>
                    <a:cubicBezTo>
                      <a:pt x="19641" y="48301"/>
                      <a:pt x="9561" y="48301"/>
                      <a:pt x="2421" y="50821"/>
                    </a:cubicBezTo>
                    <a:cubicBezTo>
                      <a:pt x="1582" y="43681"/>
                      <a:pt x="-1358" y="35702"/>
                      <a:pt x="742" y="29402"/>
                    </a:cubicBezTo>
                    <a:cubicBezTo>
                      <a:pt x="3682" y="20162"/>
                      <a:pt x="9981" y="11763"/>
                      <a:pt x="16281" y="3783"/>
                    </a:cubicBezTo>
                    <a:cubicBezTo>
                      <a:pt x="18801" y="843"/>
                      <a:pt x="25520" y="-837"/>
                      <a:pt x="29720" y="423"/>
                    </a:cubicBezTo>
                    <a:cubicBezTo>
                      <a:pt x="32660" y="1263"/>
                      <a:pt x="35180" y="7143"/>
                      <a:pt x="38960" y="1176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FDDB42C1-7760-F987-F265-BA9A6EAF40E8}"/>
                  </a:ext>
                </a:extLst>
              </p:cNvPr>
              <p:cNvSpPr/>
              <p:nvPr/>
            </p:nvSpPr>
            <p:spPr>
              <a:xfrm>
                <a:off x="5288623" y="2908374"/>
                <a:ext cx="37827" cy="57117"/>
              </a:xfrm>
              <a:custGeom>
                <a:avLst/>
                <a:gdLst>
                  <a:gd name="connsiteX0" fmla="*/ 13825 w 37827"/>
                  <a:gd name="connsiteY0" fmla="*/ 57117 h 57117"/>
                  <a:gd name="connsiteX1" fmla="*/ 5426 w 37827"/>
                  <a:gd name="connsiteY1" fmla="*/ 51658 h 57117"/>
                  <a:gd name="connsiteX2" fmla="*/ 386 w 37827"/>
                  <a:gd name="connsiteY2" fmla="*/ 38218 h 57117"/>
                  <a:gd name="connsiteX3" fmla="*/ 24745 w 37827"/>
                  <a:gd name="connsiteY3" fmla="*/ 0 h 57117"/>
                  <a:gd name="connsiteX4" fmla="*/ 36504 w 37827"/>
                  <a:gd name="connsiteY4" fmla="*/ 9660 h 57117"/>
                  <a:gd name="connsiteX5" fmla="*/ 18445 w 37827"/>
                  <a:gd name="connsiteY5" fmla="*/ 54178 h 57117"/>
                  <a:gd name="connsiteX6" fmla="*/ 13825 w 37827"/>
                  <a:gd name="connsiteY6" fmla="*/ 57117 h 57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827" h="57117">
                    <a:moveTo>
                      <a:pt x="13825" y="57117"/>
                    </a:moveTo>
                    <a:cubicBezTo>
                      <a:pt x="10885" y="55438"/>
                      <a:pt x="7106" y="54178"/>
                      <a:pt x="5426" y="51658"/>
                    </a:cubicBezTo>
                    <a:cubicBezTo>
                      <a:pt x="2906" y="47878"/>
                      <a:pt x="-1294" y="41158"/>
                      <a:pt x="386" y="38218"/>
                    </a:cubicBezTo>
                    <a:cubicBezTo>
                      <a:pt x="7525" y="25199"/>
                      <a:pt x="16345" y="12599"/>
                      <a:pt x="24745" y="0"/>
                    </a:cubicBezTo>
                    <a:cubicBezTo>
                      <a:pt x="28944" y="3360"/>
                      <a:pt x="34404" y="5880"/>
                      <a:pt x="36504" y="9660"/>
                    </a:cubicBezTo>
                    <a:cubicBezTo>
                      <a:pt x="41544" y="20999"/>
                      <a:pt x="31464" y="44098"/>
                      <a:pt x="18445" y="54178"/>
                    </a:cubicBezTo>
                    <a:cubicBezTo>
                      <a:pt x="16765" y="55438"/>
                      <a:pt x="15085" y="56278"/>
                      <a:pt x="13825" y="5711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8" name="Freihandform: Form 117">
                <a:extLst>
                  <a:ext uri="{FF2B5EF4-FFF2-40B4-BE49-F238E27FC236}">
                    <a16:creationId xmlns:a16="http://schemas.microsoft.com/office/drawing/2014/main" id="{370DBDCD-FD81-14F2-1E57-ABC4FC39AF0F}"/>
                  </a:ext>
                </a:extLst>
              </p:cNvPr>
              <p:cNvSpPr/>
              <p:nvPr/>
            </p:nvSpPr>
            <p:spPr>
              <a:xfrm>
                <a:off x="5654393" y="2066982"/>
                <a:ext cx="30587" cy="51825"/>
              </a:xfrm>
              <a:custGeom>
                <a:avLst/>
                <a:gdLst>
                  <a:gd name="connsiteX0" fmla="*/ 29819 w 30587"/>
                  <a:gd name="connsiteY0" fmla="*/ 33347 h 51825"/>
                  <a:gd name="connsiteX1" fmla="*/ 19319 w 30587"/>
                  <a:gd name="connsiteY1" fmla="*/ 48886 h 51825"/>
                  <a:gd name="connsiteX2" fmla="*/ 5460 w 30587"/>
                  <a:gd name="connsiteY2" fmla="*/ 51826 h 51825"/>
                  <a:gd name="connsiteX3" fmla="*/ 0 w 30587"/>
                  <a:gd name="connsiteY3" fmla="*/ 13608 h 51825"/>
                  <a:gd name="connsiteX4" fmla="*/ 12180 w 30587"/>
                  <a:gd name="connsiteY4" fmla="*/ 1008 h 51825"/>
                  <a:gd name="connsiteX5" fmla="*/ 29819 w 30587"/>
                  <a:gd name="connsiteY5" fmla="*/ 33347 h 5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587" h="51825">
                    <a:moveTo>
                      <a:pt x="29819" y="33347"/>
                    </a:moveTo>
                    <a:cubicBezTo>
                      <a:pt x="28139" y="35867"/>
                      <a:pt x="24779" y="43426"/>
                      <a:pt x="19319" y="48886"/>
                    </a:cubicBezTo>
                    <a:cubicBezTo>
                      <a:pt x="16379" y="51826"/>
                      <a:pt x="10080" y="50986"/>
                      <a:pt x="5460" y="51826"/>
                    </a:cubicBezTo>
                    <a:cubicBezTo>
                      <a:pt x="3360" y="39227"/>
                      <a:pt x="0" y="26207"/>
                      <a:pt x="0" y="13608"/>
                    </a:cubicBezTo>
                    <a:cubicBezTo>
                      <a:pt x="0" y="9408"/>
                      <a:pt x="7140" y="2688"/>
                      <a:pt x="12180" y="1008"/>
                    </a:cubicBezTo>
                    <a:cubicBezTo>
                      <a:pt x="25199" y="-3612"/>
                      <a:pt x="33179" y="7728"/>
                      <a:pt x="29819" y="333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19" name="Freihandform: Form 118">
                <a:extLst>
                  <a:ext uri="{FF2B5EF4-FFF2-40B4-BE49-F238E27FC236}">
                    <a16:creationId xmlns:a16="http://schemas.microsoft.com/office/drawing/2014/main" id="{97893034-5F37-39DF-072A-CD480E9EE665}"/>
                  </a:ext>
                </a:extLst>
              </p:cNvPr>
              <p:cNvSpPr/>
              <p:nvPr/>
            </p:nvSpPr>
            <p:spPr>
              <a:xfrm>
                <a:off x="6396501" y="3159017"/>
                <a:ext cx="42330" cy="51060"/>
              </a:xfrm>
              <a:custGeom>
                <a:avLst/>
                <a:gdLst>
                  <a:gd name="connsiteX0" fmla="*/ 0 w 42330"/>
                  <a:gd name="connsiteY0" fmla="*/ 37465 h 51060"/>
                  <a:gd name="connsiteX1" fmla="*/ 28139 w 42330"/>
                  <a:gd name="connsiteY1" fmla="*/ 87 h 51060"/>
                  <a:gd name="connsiteX2" fmla="*/ 41998 w 42330"/>
                  <a:gd name="connsiteY2" fmla="*/ 8066 h 51060"/>
                  <a:gd name="connsiteX3" fmla="*/ 21839 w 42330"/>
                  <a:gd name="connsiteY3" fmla="*/ 50064 h 51060"/>
                  <a:gd name="connsiteX4" fmla="*/ 7560 w 42330"/>
                  <a:gd name="connsiteY4" fmla="*/ 49225 h 51060"/>
                  <a:gd name="connsiteX5" fmla="*/ 0 w 42330"/>
                  <a:gd name="connsiteY5" fmla="*/ 37465 h 51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330" h="51060">
                    <a:moveTo>
                      <a:pt x="0" y="37465"/>
                    </a:moveTo>
                    <a:cubicBezTo>
                      <a:pt x="8400" y="25705"/>
                      <a:pt x="17639" y="12686"/>
                      <a:pt x="28139" y="87"/>
                    </a:cubicBezTo>
                    <a:cubicBezTo>
                      <a:pt x="28979" y="-753"/>
                      <a:pt x="41578" y="4706"/>
                      <a:pt x="41998" y="8066"/>
                    </a:cubicBezTo>
                    <a:cubicBezTo>
                      <a:pt x="44098" y="25705"/>
                      <a:pt x="36118" y="39985"/>
                      <a:pt x="21839" y="50064"/>
                    </a:cubicBezTo>
                    <a:cubicBezTo>
                      <a:pt x="18479" y="52164"/>
                      <a:pt x="12180" y="50485"/>
                      <a:pt x="7560" y="49225"/>
                    </a:cubicBezTo>
                    <a:cubicBezTo>
                      <a:pt x="4620" y="48385"/>
                      <a:pt x="3780" y="43765"/>
                      <a:pt x="0" y="3746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DFEE9197-A214-1137-74EC-8873D7819A5F}"/>
                  </a:ext>
                </a:extLst>
              </p:cNvPr>
              <p:cNvSpPr/>
              <p:nvPr/>
            </p:nvSpPr>
            <p:spPr>
              <a:xfrm>
                <a:off x="6588539" y="2782948"/>
                <a:ext cx="38259" cy="56118"/>
              </a:xfrm>
              <a:custGeom>
                <a:avLst/>
                <a:gdLst>
                  <a:gd name="connsiteX0" fmla="*/ 29712 w 38259"/>
                  <a:gd name="connsiteY0" fmla="*/ 1952 h 56118"/>
                  <a:gd name="connsiteX1" fmla="*/ 38111 w 38259"/>
                  <a:gd name="connsiteY1" fmla="*/ 17071 h 56118"/>
                  <a:gd name="connsiteX2" fmla="*/ 20892 w 38259"/>
                  <a:gd name="connsiteY2" fmla="*/ 52770 h 56118"/>
                  <a:gd name="connsiteX3" fmla="*/ 733 w 38259"/>
                  <a:gd name="connsiteY3" fmla="*/ 47310 h 56118"/>
                  <a:gd name="connsiteX4" fmla="*/ 22992 w 38259"/>
                  <a:gd name="connsiteY4" fmla="*/ 272 h 56118"/>
                  <a:gd name="connsiteX5" fmla="*/ 29712 w 38259"/>
                  <a:gd name="connsiteY5" fmla="*/ 1952 h 5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259" h="56118">
                    <a:moveTo>
                      <a:pt x="29712" y="1952"/>
                    </a:moveTo>
                    <a:cubicBezTo>
                      <a:pt x="32232" y="5732"/>
                      <a:pt x="39371" y="12871"/>
                      <a:pt x="38111" y="17071"/>
                    </a:cubicBezTo>
                    <a:cubicBezTo>
                      <a:pt x="34332" y="29671"/>
                      <a:pt x="27612" y="41430"/>
                      <a:pt x="20892" y="52770"/>
                    </a:cubicBezTo>
                    <a:cubicBezTo>
                      <a:pt x="16693" y="59489"/>
                      <a:pt x="3253" y="55290"/>
                      <a:pt x="733" y="47310"/>
                    </a:cubicBezTo>
                    <a:cubicBezTo>
                      <a:pt x="-3467" y="35130"/>
                      <a:pt x="11233" y="3632"/>
                      <a:pt x="22992" y="272"/>
                    </a:cubicBezTo>
                    <a:cubicBezTo>
                      <a:pt x="23832" y="-568"/>
                      <a:pt x="25512" y="692"/>
                      <a:pt x="29712" y="195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23E8772F-5E7E-2A04-CF0E-09B7B441C381}"/>
                  </a:ext>
                </a:extLst>
              </p:cNvPr>
              <p:cNvSpPr/>
              <p:nvPr/>
            </p:nvSpPr>
            <p:spPr>
              <a:xfrm>
                <a:off x="5438269" y="1994074"/>
                <a:ext cx="37843" cy="51405"/>
              </a:xfrm>
              <a:custGeom>
                <a:avLst/>
                <a:gdLst>
                  <a:gd name="connsiteX0" fmla="*/ 27132 w 37843"/>
                  <a:gd name="connsiteY0" fmla="*/ 0 h 51405"/>
                  <a:gd name="connsiteX1" fmla="*/ 36372 w 37843"/>
                  <a:gd name="connsiteY1" fmla="*/ 7980 h 51405"/>
                  <a:gd name="connsiteX2" fmla="*/ 23772 w 37843"/>
                  <a:gd name="connsiteY2" fmla="*/ 49138 h 51405"/>
                  <a:gd name="connsiteX3" fmla="*/ 10333 w 37843"/>
                  <a:gd name="connsiteY3" fmla="*/ 50398 h 51405"/>
                  <a:gd name="connsiteX4" fmla="*/ 253 w 37843"/>
                  <a:gd name="connsiteY4" fmla="*/ 39478 h 51405"/>
                  <a:gd name="connsiteX5" fmla="*/ 27132 w 37843"/>
                  <a:gd name="connsiteY5" fmla="*/ 0 h 51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843" h="51405">
                    <a:moveTo>
                      <a:pt x="27132" y="0"/>
                    </a:moveTo>
                    <a:cubicBezTo>
                      <a:pt x="29652" y="2100"/>
                      <a:pt x="35532" y="4620"/>
                      <a:pt x="36372" y="7980"/>
                    </a:cubicBezTo>
                    <a:cubicBezTo>
                      <a:pt x="39732" y="23519"/>
                      <a:pt x="38052" y="39058"/>
                      <a:pt x="23772" y="49138"/>
                    </a:cubicBezTo>
                    <a:cubicBezTo>
                      <a:pt x="20413" y="51658"/>
                      <a:pt x="14113" y="52078"/>
                      <a:pt x="10333" y="50398"/>
                    </a:cubicBezTo>
                    <a:cubicBezTo>
                      <a:pt x="6133" y="48718"/>
                      <a:pt x="1093" y="44098"/>
                      <a:pt x="253" y="39478"/>
                    </a:cubicBezTo>
                    <a:cubicBezTo>
                      <a:pt x="-2267" y="28139"/>
                      <a:pt x="14533" y="3360"/>
                      <a:pt x="27132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43F46F98-D452-64D9-0115-477660E25D43}"/>
                  </a:ext>
                </a:extLst>
              </p:cNvPr>
              <p:cNvSpPr/>
              <p:nvPr/>
            </p:nvSpPr>
            <p:spPr>
              <a:xfrm>
                <a:off x="6230947" y="1976867"/>
                <a:ext cx="37459" cy="48705"/>
              </a:xfrm>
              <a:custGeom>
                <a:avLst/>
                <a:gdLst>
                  <a:gd name="connsiteX0" fmla="*/ 37460 w 37459"/>
                  <a:gd name="connsiteY0" fmla="*/ 8807 h 48705"/>
                  <a:gd name="connsiteX1" fmla="*/ 28220 w 37459"/>
                  <a:gd name="connsiteY1" fmla="*/ 39046 h 48705"/>
                  <a:gd name="connsiteX2" fmla="*/ 8061 w 37459"/>
                  <a:gd name="connsiteY2" fmla="*/ 48705 h 48705"/>
                  <a:gd name="connsiteX3" fmla="*/ 81 w 37459"/>
                  <a:gd name="connsiteY3" fmla="*/ 28546 h 48705"/>
                  <a:gd name="connsiteX4" fmla="*/ 13521 w 37459"/>
                  <a:gd name="connsiteY4" fmla="*/ 2088 h 48705"/>
                  <a:gd name="connsiteX5" fmla="*/ 26540 w 37459"/>
                  <a:gd name="connsiteY5" fmla="*/ 828 h 48705"/>
                  <a:gd name="connsiteX6" fmla="*/ 37460 w 37459"/>
                  <a:gd name="connsiteY6" fmla="*/ 8807 h 48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459" h="48705">
                    <a:moveTo>
                      <a:pt x="37460" y="8807"/>
                    </a:moveTo>
                    <a:cubicBezTo>
                      <a:pt x="34100" y="20567"/>
                      <a:pt x="33260" y="31066"/>
                      <a:pt x="28220" y="39046"/>
                    </a:cubicBezTo>
                    <a:cubicBezTo>
                      <a:pt x="24860" y="44506"/>
                      <a:pt x="15201" y="45766"/>
                      <a:pt x="8061" y="48705"/>
                    </a:cubicBezTo>
                    <a:cubicBezTo>
                      <a:pt x="5121" y="41986"/>
                      <a:pt x="-759" y="34426"/>
                      <a:pt x="81" y="28546"/>
                    </a:cubicBezTo>
                    <a:cubicBezTo>
                      <a:pt x="1761" y="19307"/>
                      <a:pt x="7641" y="10067"/>
                      <a:pt x="13521" y="2088"/>
                    </a:cubicBezTo>
                    <a:cubicBezTo>
                      <a:pt x="15201" y="-432"/>
                      <a:pt x="22760" y="-432"/>
                      <a:pt x="26540" y="828"/>
                    </a:cubicBezTo>
                    <a:cubicBezTo>
                      <a:pt x="31580" y="2088"/>
                      <a:pt x="34940" y="6707"/>
                      <a:pt x="37460" y="880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51BB9DA1-71B2-B5A8-5062-DB19E1412496}"/>
                  </a:ext>
                </a:extLst>
              </p:cNvPr>
              <p:cNvSpPr/>
              <p:nvPr/>
            </p:nvSpPr>
            <p:spPr>
              <a:xfrm>
                <a:off x="6157149" y="1964621"/>
                <a:ext cx="37721" cy="53391"/>
              </a:xfrm>
              <a:custGeom>
                <a:avLst/>
                <a:gdLst>
                  <a:gd name="connsiteX0" fmla="*/ 18022 w 37721"/>
                  <a:gd name="connsiteY0" fmla="*/ 53392 h 53391"/>
                  <a:gd name="connsiteX1" fmla="*/ 2063 w 37721"/>
                  <a:gd name="connsiteY1" fmla="*/ 44572 h 53391"/>
                  <a:gd name="connsiteX2" fmla="*/ 22222 w 37721"/>
                  <a:gd name="connsiteY2" fmla="*/ 54 h 53391"/>
                  <a:gd name="connsiteX3" fmla="*/ 31041 w 37721"/>
                  <a:gd name="connsiteY3" fmla="*/ 3834 h 53391"/>
                  <a:gd name="connsiteX4" fmla="*/ 31461 w 37721"/>
                  <a:gd name="connsiteY4" fmla="*/ 29873 h 53391"/>
                  <a:gd name="connsiteX5" fmla="*/ 18022 w 37721"/>
                  <a:gd name="connsiteY5" fmla="*/ 53392 h 5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721" h="53391">
                    <a:moveTo>
                      <a:pt x="18022" y="53392"/>
                    </a:moveTo>
                    <a:cubicBezTo>
                      <a:pt x="10042" y="49192"/>
                      <a:pt x="4162" y="47932"/>
                      <a:pt x="2063" y="44572"/>
                    </a:cubicBezTo>
                    <a:cubicBezTo>
                      <a:pt x="-5497" y="32393"/>
                      <a:pt x="9202" y="1314"/>
                      <a:pt x="22222" y="54"/>
                    </a:cubicBezTo>
                    <a:cubicBezTo>
                      <a:pt x="25162" y="-366"/>
                      <a:pt x="28521" y="1734"/>
                      <a:pt x="31041" y="3834"/>
                    </a:cubicBezTo>
                    <a:cubicBezTo>
                      <a:pt x="43641" y="12234"/>
                      <a:pt x="35241" y="21473"/>
                      <a:pt x="31461" y="29873"/>
                    </a:cubicBezTo>
                    <a:cubicBezTo>
                      <a:pt x="27681" y="37433"/>
                      <a:pt x="23062" y="44992"/>
                      <a:pt x="18022" y="533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CC6B1E97-B995-6460-D3DE-9CA9D6E2D7C0}"/>
                  </a:ext>
                </a:extLst>
              </p:cNvPr>
              <p:cNvSpPr/>
              <p:nvPr/>
            </p:nvSpPr>
            <p:spPr>
              <a:xfrm>
                <a:off x="5295728" y="3192958"/>
                <a:ext cx="33787" cy="57400"/>
              </a:xfrm>
              <a:custGeom>
                <a:avLst/>
                <a:gdLst>
                  <a:gd name="connsiteX0" fmla="*/ 0 w 33787"/>
                  <a:gd name="connsiteY0" fmla="*/ 28722 h 57400"/>
                  <a:gd name="connsiteX1" fmla="*/ 14699 w 33787"/>
                  <a:gd name="connsiteY1" fmla="*/ 164 h 57400"/>
                  <a:gd name="connsiteX2" fmla="*/ 26879 w 33787"/>
                  <a:gd name="connsiteY2" fmla="*/ 4784 h 57400"/>
                  <a:gd name="connsiteX3" fmla="*/ 26039 w 33787"/>
                  <a:gd name="connsiteY3" fmla="*/ 42162 h 57400"/>
                  <a:gd name="connsiteX4" fmla="*/ 21839 w 33787"/>
                  <a:gd name="connsiteY4" fmla="*/ 51402 h 57400"/>
                  <a:gd name="connsiteX5" fmla="*/ 9660 w 33787"/>
                  <a:gd name="connsiteY5" fmla="*/ 57281 h 57400"/>
                  <a:gd name="connsiteX6" fmla="*/ 1260 w 33787"/>
                  <a:gd name="connsiteY6" fmla="*/ 46782 h 57400"/>
                  <a:gd name="connsiteX7" fmla="*/ 0 w 33787"/>
                  <a:gd name="connsiteY7" fmla="*/ 28722 h 5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787" h="57400">
                    <a:moveTo>
                      <a:pt x="0" y="28722"/>
                    </a:moveTo>
                    <a:cubicBezTo>
                      <a:pt x="2520" y="23263"/>
                      <a:pt x="8400" y="11503"/>
                      <a:pt x="14699" y="164"/>
                    </a:cubicBezTo>
                    <a:cubicBezTo>
                      <a:pt x="15119" y="-676"/>
                      <a:pt x="24359" y="1844"/>
                      <a:pt x="26879" y="4784"/>
                    </a:cubicBezTo>
                    <a:cubicBezTo>
                      <a:pt x="37798" y="16963"/>
                      <a:pt x="34438" y="29983"/>
                      <a:pt x="26039" y="42162"/>
                    </a:cubicBezTo>
                    <a:cubicBezTo>
                      <a:pt x="24359" y="45102"/>
                      <a:pt x="24359" y="49302"/>
                      <a:pt x="21839" y="51402"/>
                    </a:cubicBezTo>
                    <a:cubicBezTo>
                      <a:pt x="18479" y="54342"/>
                      <a:pt x="13439" y="58121"/>
                      <a:pt x="9660" y="57281"/>
                    </a:cubicBezTo>
                    <a:cubicBezTo>
                      <a:pt x="6300" y="56441"/>
                      <a:pt x="3360" y="50982"/>
                      <a:pt x="1260" y="46782"/>
                    </a:cubicBezTo>
                    <a:cubicBezTo>
                      <a:pt x="0" y="43842"/>
                      <a:pt x="840" y="40062"/>
                      <a:pt x="0" y="2872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FCF5C734-D4FC-734E-C9A0-4372B41DF3BB}"/>
                  </a:ext>
                </a:extLst>
              </p:cNvPr>
              <p:cNvSpPr/>
              <p:nvPr/>
            </p:nvSpPr>
            <p:spPr>
              <a:xfrm>
                <a:off x="5187355" y="2833245"/>
                <a:ext cx="40336" cy="49629"/>
              </a:xfrm>
              <a:custGeom>
                <a:avLst/>
                <a:gdLst>
                  <a:gd name="connsiteX0" fmla="*/ 40337 w 40336"/>
                  <a:gd name="connsiteY0" fmla="*/ 15912 h 49629"/>
                  <a:gd name="connsiteX1" fmla="*/ 14298 w 40336"/>
                  <a:gd name="connsiteY1" fmla="*/ 49511 h 49629"/>
                  <a:gd name="connsiteX2" fmla="*/ 2118 w 40336"/>
                  <a:gd name="connsiteY2" fmla="*/ 43211 h 49629"/>
                  <a:gd name="connsiteX3" fmla="*/ 16398 w 40336"/>
                  <a:gd name="connsiteY3" fmla="*/ 4153 h 49629"/>
                  <a:gd name="connsiteX4" fmla="*/ 29837 w 40336"/>
                  <a:gd name="connsiteY4" fmla="*/ 373 h 49629"/>
                  <a:gd name="connsiteX5" fmla="*/ 40337 w 40336"/>
                  <a:gd name="connsiteY5" fmla="*/ 15912 h 4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336" h="49629">
                    <a:moveTo>
                      <a:pt x="40337" y="15912"/>
                    </a:moveTo>
                    <a:cubicBezTo>
                      <a:pt x="31937" y="26832"/>
                      <a:pt x="23957" y="38591"/>
                      <a:pt x="14298" y="49511"/>
                    </a:cubicBezTo>
                    <a:cubicBezTo>
                      <a:pt x="13458" y="50351"/>
                      <a:pt x="3378" y="46571"/>
                      <a:pt x="2118" y="43211"/>
                    </a:cubicBezTo>
                    <a:cubicBezTo>
                      <a:pt x="-4602" y="26412"/>
                      <a:pt x="5898" y="14652"/>
                      <a:pt x="16398" y="4153"/>
                    </a:cubicBezTo>
                    <a:cubicBezTo>
                      <a:pt x="19338" y="1213"/>
                      <a:pt x="26057" y="-887"/>
                      <a:pt x="29837" y="373"/>
                    </a:cubicBezTo>
                    <a:cubicBezTo>
                      <a:pt x="33197" y="1633"/>
                      <a:pt x="34877" y="7933"/>
                      <a:pt x="40337" y="1591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6" name="Freihandform: Form 125">
                <a:extLst>
                  <a:ext uri="{FF2B5EF4-FFF2-40B4-BE49-F238E27FC236}">
                    <a16:creationId xmlns:a16="http://schemas.microsoft.com/office/drawing/2014/main" id="{CD33B0D7-B192-5EF0-4469-5CB03A0A094C}"/>
                  </a:ext>
                </a:extLst>
              </p:cNvPr>
              <p:cNvSpPr/>
              <p:nvPr/>
            </p:nvSpPr>
            <p:spPr>
              <a:xfrm>
                <a:off x="5635057" y="3379082"/>
                <a:ext cx="39075" cy="49247"/>
              </a:xfrm>
              <a:custGeom>
                <a:avLst/>
                <a:gdLst>
                  <a:gd name="connsiteX0" fmla="*/ 39075 w 39075"/>
                  <a:gd name="connsiteY0" fmla="*/ 10171 h 49247"/>
                  <a:gd name="connsiteX1" fmla="*/ 10096 w 39075"/>
                  <a:gd name="connsiteY1" fmla="*/ 49230 h 49247"/>
                  <a:gd name="connsiteX2" fmla="*/ 17 w 39075"/>
                  <a:gd name="connsiteY2" fmla="*/ 41250 h 49247"/>
                  <a:gd name="connsiteX3" fmla="*/ 21436 w 39075"/>
                  <a:gd name="connsiteY3" fmla="*/ 2192 h 49247"/>
                  <a:gd name="connsiteX4" fmla="*/ 30675 w 39075"/>
                  <a:gd name="connsiteY4" fmla="*/ 512 h 49247"/>
                  <a:gd name="connsiteX5" fmla="*/ 39075 w 39075"/>
                  <a:gd name="connsiteY5" fmla="*/ 10171 h 49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75" h="49247">
                    <a:moveTo>
                      <a:pt x="39075" y="10171"/>
                    </a:moveTo>
                    <a:cubicBezTo>
                      <a:pt x="38655" y="27391"/>
                      <a:pt x="24796" y="46290"/>
                      <a:pt x="10096" y="49230"/>
                    </a:cubicBezTo>
                    <a:cubicBezTo>
                      <a:pt x="7157" y="49650"/>
                      <a:pt x="-403" y="42510"/>
                      <a:pt x="17" y="41250"/>
                    </a:cubicBezTo>
                    <a:cubicBezTo>
                      <a:pt x="6317" y="27811"/>
                      <a:pt x="13876" y="14791"/>
                      <a:pt x="21436" y="2192"/>
                    </a:cubicBezTo>
                    <a:cubicBezTo>
                      <a:pt x="22696" y="512"/>
                      <a:pt x="28576" y="-748"/>
                      <a:pt x="30675" y="512"/>
                    </a:cubicBezTo>
                    <a:cubicBezTo>
                      <a:pt x="34455" y="3452"/>
                      <a:pt x="36975" y="7652"/>
                      <a:pt x="39075" y="1017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7" name="Freihandform: Form 126">
                <a:extLst>
                  <a:ext uri="{FF2B5EF4-FFF2-40B4-BE49-F238E27FC236}">
                    <a16:creationId xmlns:a16="http://schemas.microsoft.com/office/drawing/2014/main" id="{D0D6BF27-419C-4C0E-6B6D-0C5BBDE07619}"/>
                  </a:ext>
                </a:extLst>
              </p:cNvPr>
              <p:cNvSpPr/>
              <p:nvPr/>
            </p:nvSpPr>
            <p:spPr>
              <a:xfrm>
                <a:off x="6354923" y="1638349"/>
                <a:ext cx="32634" cy="49977"/>
              </a:xfrm>
              <a:custGeom>
                <a:avLst/>
                <a:gdLst>
                  <a:gd name="connsiteX0" fmla="*/ 10920 w 32634"/>
                  <a:gd name="connsiteY0" fmla="*/ 49978 h 49977"/>
                  <a:gd name="connsiteX1" fmla="*/ 2520 w 32634"/>
                  <a:gd name="connsiteY1" fmla="*/ 45358 h 49977"/>
                  <a:gd name="connsiteX2" fmla="*/ 0 w 32634"/>
                  <a:gd name="connsiteY2" fmla="*/ 35698 h 49977"/>
                  <a:gd name="connsiteX3" fmla="*/ 21419 w 32634"/>
                  <a:gd name="connsiteY3" fmla="*/ 0 h 49977"/>
                  <a:gd name="connsiteX4" fmla="*/ 29819 w 32634"/>
                  <a:gd name="connsiteY4" fmla="*/ 4200 h 49977"/>
                  <a:gd name="connsiteX5" fmla="*/ 20159 w 32634"/>
                  <a:gd name="connsiteY5" fmla="*/ 46198 h 49977"/>
                  <a:gd name="connsiteX6" fmla="*/ 10920 w 32634"/>
                  <a:gd name="connsiteY6" fmla="*/ 49978 h 49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634" h="49977">
                    <a:moveTo>
                      <a:pt x="10920" y="49978"/>
                    </a:moveTo>
                    <a:cubicBezTo>
                      <a:pt x="7980" y="48718"/>
                      <a:pt x="4200" y="47878"/>
                      <a:pt x="2520" y="45358"/>
                    </a:cubicBezTo>
                    <a:cubicBezTo>
                      <a:pt x="840" y="42838"/>
                      <a:pt x="0" y="39058"/>
                      <a:pt x="0" y="35698"/>
                    </a:cubicBezTo>
                    <a:cubicBezTo>
                      <a:pt x="0" y="15539"/>
                      <a:pt x="8400" y="840"/>
                      <a:pt x="21419" y="0"/>
                    </a:cubicBezTo>
                    <a:cubicBezTo>
                      <a:pt x="24359" y="0"/>
                      <a:pt x="28979" y="2100"/>
                      <a:pt x="29819" y="4200"/>
                    </a:cubicBezTo>
                    <a:cubicBezTo>
                      <a:pt x="35279" y="20159"/>
                      <a:pt x="33179" y="34438"/>
                      <a:pt x="20159" y="46198"/>
                    </a:cubicBezTo>
                    <a:cubicBezTo>
                      <a:pt x="18059" y="48298"/>
                      <a:pt x="14279" y="48718"/>
                      <a:pt x="10920" y="4997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71DA3B04-E1C1-B9EE-1B73-F07F6A16D850}"/>
                  </a:ext>
                </a:extLst>
              </p:cNvPr>
              <p:cNvSpPr/>
              <p:nvPr/>
            </p:nvSpPr>
            <p:spPr>
              <a:xfrm>
                <a:off x="4921524" y="2770320"/>
                <a:ext cx="40092" cy="52798"/>
              </a:xfrm>
              <a:custGeom>
                <a:avLst/>
                <a:gdLst>
                  <a:gd name="connsiteX0" fmla="*/ 3780 w 40092"/>
                  <a:gd name="connsiteY0" fmla="*/ 52798 h 52798"/>
                  <a:gd name="connsiteX1" fmla="*/ 0 w 40092"/>
                  <a:gd name="connsiteY1" fmla="*/ 42718 h 52798"/>
                  <a:gd name="connsiteX2" fmla="*/ 4200 w 40092"/>
                  <a:gd name="connsiteY2" fmla="*/ 28859 h 52798"/>
                  <a:gd name="connsiteX3" fmla="*/ 34439 w 40092"/>
                  <a:gd name="connsiteY3" fmla="*/ 300 h 52798"/>
                  <a:gd name="connsiteX4" fmla="*/ 39898 w 40092"/>
                  <a:gd name="connsiteY4" fmla="*/ 8280 h 52798"/>
                  <a:gd name="connsiteX5" fmla="*/ 3780 w 40092"/>
                  <a:gd name="connsiteY5" fmla="*/ 52798 h 52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092" h="52798">
                    <a:moveTo>
                      <a:pt x="3780" y="52798"/>
                    </a:moveTo>
                    <a:cubicBezTo>
                      <a:pt x="3360" y="51958"/>
                      <a:pt x="420" y="47338"/>
                      <a:pt x="0" y="42718"/>
                    </a:cubicBezTo>
                    <a:cubicBezTo>
                      <a:pt x="0" y="38099"/>
                      <a:pt x="1680" y="33059"/>
                      <a:pt x="4200" y="28859"/>
                    </a:cubicBezTo>
                    <a:cubicBezTo>
                      <a:pt x="11760" y="16679"/>
                      <a:pt x="12599" y="-2640"/>
                      <a:pt x="34439" y="300"/>
                    </a:cubicBezTo>
                    <a:cubicBezTo>
                      <a:pt x="36538" y="720"/>
                      <a:pt x="39478" y="5340"/>
                      <a:pt x="39898" y="8280"/>
                    </a:cubicBezTo>
                    <a:cubicBezTo>
                      <a:pt x="41998" y="25079"/>
                      <a:pt x="26879" y="46498"/>
                      <a:pt x="3780" y="5279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097309AB-0B28-E5EA-2E08-2B496338A08E}"/>
                  </a:ext>
                </a:extLst>
              </p:cNvPr>
              <p:cNvSpPr/>
              <p:nvPr/>
            </p:nvSpPr>
            <p:spPr>
              <a:xfrm>
                <a:off x="6220504" y="1669681"/>
                <a:ext cx="39422" cy="49304"/>
              </a:xfrm>
              <a:custGeom>
                <a:avLst/>
                <a:gdLst>
                  <a:gd name="connsiteX0" fmla="*/ 15144 w 39422"/>
                  <a:gd name="connsiteY0" fmla="*/ 49305 h 49304"/>
                  <a:gd name="connsiteX1" fmla="*/ 10524 w 39422"/>
                  <a:gd name="connsiteY1" fmla="*/ 47625 h 49304"/>
                  <a:gd name="connsiteX2" fmla="*/ 444 w 39422"/>
                  <a:gd name="connsiteY2" fmla="*/ 36285 h 49304"/>
                  <a:gd name="connsiteX3" fmla="*/ 21443 w 39422"/>
                  <a:gd name="connsiteY3" fmla="*/ 167 h 49304"/>
                  <a:gd name="connsiteX4" fmla="*/ 35723 w 39422"/>
                  <a:gd name="connsiteY4" fmla="*/ 3527 h 49304"/>
                  <a:gd name="connsiteX5" fmla="*/ 39083 w 39422"/>
                  <a:gd name="connsiteY5" fmla="*/ 7306 h 49304"/>
                  <a:gd name="connsiteX6" fmla="*/ 15144 w 39422"/>
                  <a:gd name="connsiteY6" fmla="*/ 49305 h 49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22" h="49304">
                    <a:moveTo>
                      <a:pt x="15144" y="49305"/>
                    </a:moveTo>
                    <a:cubicBezTo>
                      <a:pt x="13464" y="48885"/>
                      <a:pt x="11784" y="48465"/>
                      <a:pt x="10524" y="47625"/>
                    </a:cubicBezTo>
                    <a:cubicBezTo>
                      <a:pt x="6744" y="44265"/>
                      <a:pt x="1704" y="40905"/>
                      <a:pt x="444" y="36285"/>
                    </a:cubicBezTo>
                    <a:cubicBezTo>
                      <a:pt x="-2496" y="23686"/>
                      <a:pt x="9684" y="3107"/>
                      <a:pt x="21443" y="167"/>
                    </a:cubicBezTo>
                    <a:cubicBezTo>
                      <a:pt x="25643" y="-673"/>
                      <a:pt x="31103" y="1847"/>
                      <a:pt x="35723" y="3527"/>
                    </a:cubicBezTo>
                    <a:cubicBezTo>
                      <a:pt x="36983" y="3947"/>
                      <a:pt x="38662" y="5627"/>
                      <a:pt x="39083" y="7306"/>
                    </a:cubicBezTo>
                    <a:cubicBezTo>
                      <a:pt x="42022" y="17386"/>
                      <a:pt x="25223" y="46785"/>
                      <a:pt x="15144" y="4930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5DEFBD6C-8FE2-F31C-3AF5-F664C8A4BAE4}"/>
                  </a:ext>
                </a:extLst>
              </p:cNvPr>
              <p:cNvSpPr/>
              <p:nvPr/>
            </p:nvSpPr>
            <p:spPr>
              <a:xfrm>
                <a:off x="6682902" y="3318312"/>
                <a:ext cx="37426" cy="48635"/>
              </a:xfrm>
              <a:custGeom>
                <a:avLst/>
                <a:gdLst>
                  <a:gd name="connsiteX0" fmla="*/ 7586 w 37426"/>
                  <a:gd name="connsiteY0" fmla="*/ 48262 h 48635"/>
                  <a:gd name="connsiteX1" fmla="*/ 27 w 37426"/>
                  <a:gd name="connsiteY1" fmla="*/ 35243 h 48635"/>
                  <a:gd name="connsiteX2" fmla="*/ 6327 w 37426"/>
                  <a:gd name="connsiteY2" fmla="*/ 21804 h 48635"/>
                  <a:gd name="connsiteX3" fmla="*/ 28166 w 37426"/>
                  <a:gd name="connsiteY3" fmla="*/ 805 h 48635"/>
                  <a:gd name="connsiteX4" fmla="*/ 37405 w 37426"/>
                  <a:gd name="connsiteY4" fmla="*/ 11724 h 48635"/>
                  <a:gd name="connsiteX5" fmla="*/ 16826 w 37426"/>
                  <a:gd name="connsiteY5" fmla="*/ 48262 h 48635"/>
                  <a:gd name="connsiteX6" fmla="*/ 7586 w 37426"/>
                  <a:gd name="connsiteY6" fmla="*/ 48262 h 48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426" h="48635">
                    <a:moveTo>
                      <a:pt x="7586" y="48262"/>
                    </a:moveTo>
                    <a:cubicBezTo>
                      <a:pt x="5487" y="44903"/>
                      <a:pt x="447" y="40283"/>
                      <a:pt x="27" y="35243"/>
                    </a:cubicBezTo>
                    <a:cubicBezTo>
                      <a:pt x="-393" y="31043"/>
                      <a:pt x="4227" y="26424"/>
                      <a:pt x="6327" y="21804"/>
                    </a:cubicBezTo>
                    <a:cubicBezTo>
                      <a:pt x="11366" y="12564"/>
                      <a:pt x="10526" y="-3815"/>
                      <a:pt x="28166" y="805"/>
                    </a:cubicBezTo>
                    <a:cubicBezTo>
                      <a:pt x="31945" y="1645"/>
                      <a:pt x="37825" y="8784"/>
                      <a:pt x="37405" y="11724"/>
                    </a:cubicBezTo>
                    <a:cubicBezTo>
                      <a:pt x="34885" y="26003"/>
                      <a:pt x="33625" y="41963"/>
                      <a:pt x="16826" y="48262"/>
                    </a:cubicBezTo>
                    <a:cubicBezTo>
                      <a:pt x="15146" y="49102"/>
                      <a:pt x="13466" y="48262"/>
                      <a:pt x="7586" y="4826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AA669657-715C-FB2B-D219-3AE131C99075}"/>
                  </a:ext>
                </a:extLst>
              </p:cNvPr>
              <p:cNvSpPr/>
              <p:nvPr/>
            </p:nvSpPr>
            <p:spPr>
              <a:xfrm>
                <a:off x="6323844" y="1743696"/>
                <a:ext cx="39913" cy="47965"/>
              </a:xfrm>
              <a:custGeom>
                <a:avLst/>
                <a:gdLst>
                  <a:gd name="connsiteX0" fmla="*/ 0 w 39913"/>
                  <a:gd name="connsiteY0" fmla="*/ 37027 h 47965"/>
                  <a:gd name="connsiteX1" fmla="*/ 29819 w 39913"/>
                  <a:gd name="connsiteY1" fmla="*/ 69 h 47965"/>
                  <a:gd name="connsiteX2" fmla="*/ 39898 w 39913"/>
                  <a:gd name="connsiteY2" fmla="*/ 7208 h 47965"/>
                  <a:gd name="connsiteX3" fmla="*/ 18479 w 39913"/>
                  <a:gd name="connsiteY3" fmla="*/ 46686 h 47965"/>
                  <a:gd name="connsiteX4" fmla="*/ 5040 w 39913"/>
                  <a:gd name="connsiteY4" fmla="*/ 46686 h 47965"/>
                  <a:gd name="connsiteX5" fmla="*/ 0 w 39913"/>
                  <a:gd name="connsiteY5" fmla="*/ 37027 h 47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913" h="47965">
                    <a:moveTo>
                      <a:pt x="0" y="37027"/>
                    </a:moveTo>
                    <a:cubicBezTo>
                      <a:pt x="1680" y="18968"/>
                      <a:pt x="13439" y="7208"/>
                      <a:pt x="29819" y="69"/>
                    </a:cubicBezTo>
                    <a:cubicBezTo>
                      <a:pt x="31919" y="-771"/>
                      <a:pt x="40318" y="6368"/>
                      <a:pt x="39898" y="7208"/>
                    </a:cubicBezTo>
                    <a:cubicBezTo>
                      <a:pt x="33599" y="20648"/>
                      <a:pt x="26459" y="34087"/>
                      <a:pt x="18479" y="46686"/>
                    </a:cubicBezTo>
                    <a:cubicBezTo>
                      <a:pt x="17219" y="48786"/>
                      <a:pt x="9240" y="47946"/>
                      <a:pt x="5040" y="46686"/>
                    </a:cubicBezTo>
                    <a:cubicBezTo>
                      <a:pt x="2520" y="46267"/>
                      <a:pt x="1680" y="41227"/>
                      <a:pt x="0" y="3702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3D3952F9-F61D-7773-C2D6-42A2DC01EB16}"/>
                  </a:ext>
                </a:extLst>
              </p:cNvPr>
              <p:cNvSpPr/>
              <p:nvPr/>
            </p:nvSpPr>
            <p:spPr>
              <a:xfrm>
                <a:off x="5658914" y="1910743"/>
                <a:ext cx="36310" cy="47749"/>
              </a:xfrm>
              <a:custGeom>
                <a:avLst/>
                <a:gdLst>
                  <a:gd name="connsiteX0" fmla="*/ 30337 w 36310"/>
                  <a:gd name="connsiteY0" fmla="*/ 594 h 47749"/>
                  <a:gd name="connsiteX1" fmla="*/ 36217 w 36310"/>
                  <a:gd name="connsiteY1" fmla="*/ 11094 h 47749"/>
                  <a:gd name="connsiteX2" fmla="*/ 20678 w 36310"/>
                  <a:gd name="connsiteY2" fmla="*/ 47632 h 47749"/>
                  <a:gd name="connsiteX3" fmla="*/ 1358 w 36310"/>
                  <a:gd name="connsiteY3" fmla="*/ 40072 h 47749"/>
                  <a:gd name="connsiteX4" fmla="*/ 23617 w 36310"/>
                  <a:gd name="connsiteY4" fmla="*/ 174 h 47749"/>
                  <a:gd name="connsiteX5" fmla="*/ 30337 w 36310"/>
                  <a:gd name="connsiteY5" fmla="*/ 594 h 47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310" h="47749">
                    <a:moveTo>
                      <a:pt x="30337" y="594"/>
                    </a:moveTo>
                    <a:cubicBezTo>
                      <a:pt x="32017" y="3534"/>
                      <a:pt x="37057" y="8154"/>
                      <a:pt x="36217" y="11094"/>
                    </a:cubicBezTo>
                    <a:cubicBezTo>
                      <a:pt x="32437" y="23693"/>
                      <a:pt x="26977" y="35872"/>
                      <a:pt x="20678" y="47632"/>
                    </a:cubicBezTo>
                    <a:cubicBezTo>
                      <a:pt x="20258" y="48472"/>
                      <a:pt x="3458" y="44692"/>
                      <a:pt x="1358" y="40072"/>
                    </a:cubicBezTo>
                    <a:cubicBezTo>
                      <a:pt x="-4521" y="28733"/>
                      <a:pt x="9758" y="5214"/>
                      <a:pt x="23617" y="174"/>
                    </a:cubicBezTo>
                    <a:cubicBezTo>
                      <a:pt x="24877" y="-246"/>
                      <a:pt x="26557" y="174"/>
                      <a:pt x="30337" y="59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99617A0A-6CA8-0E80-BEAC-1A1D66ABE704}"/>
                  </a:ext>
                </a:extLst>
              </p:cNvPr>
              <p:cNvSpPr/>
              <p:nvPr/>
            </p:nvSpPr>
            <p:spPr>
              <a:xfrm>
                <a:off x="5318094" y="2091005"/>
                <a:ext cx="30370" cy="58718"/>
              </a:xfrm>
              <a:custGeom>
                <a:avLst/>
                <a:gdLst>
                  <a:gd name="connsiteX0" fmla="*/ 19633 w 30370"/>
                  <a:gd name="connsiteY0" fmla="*/ 1345 h 58718"/>
                  <a:gd name="connsiteX1" fmla="*/ 26772 w 30370"/>
                  <a:gd name="connsiteY1" fmla="*/ 8064 h 58718"/>
                  <a:gd name="connsiteX2" fmla="*/ 15433 w 30370"/>
                  <a:gd name="connsiteY2" fmla="*/ 58042 h 58718"/>
                  <a:gd name="connsiteX3" fmla="*/ 2833 w 30370"/>
                  <a:gd name="connsiteY3" fmla="*/ 55522 h 58718"/>
                  <a:gd name="connsiteX4" fmla="*/ 14593 w 30370"/>
                  <a:gd name="connsiteY4" fmla="*/ 85 h 58718"/>
                  <a:gd name="connsiteX5" fmla="*/ 19633 w 30370"/>
                  <a:gd name="connsiteY5" fmla="*/ 1345 h 58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370" h="58718">
                    <a:moveTo>
                      <a:pt x="19633" y="1345"/>
                    </a:moveTo>
                    <a:cubicBezTo>
                      <a:pt x="22152" y="3444"/>
                      <a:pt x="25512" y="5124"/>
                      <a:pt x="26772" y="8064"/>
                    </a:cubicBezTo>
                    <a:cubicBezTo>
                      <a:pt x="34332" y="23184"/>
                      <a:pt x="29712" y="46703"/>
                      <a:pt x="15433" y="58042"/>
                    </a:cubicBezTo>
                    <a:cubicBezTo>
                      <a:pt x="13333" y="59722"/>
                      <a:pt x="4513" y="58042"/>
                      <a:pt x="2833" y="55522"/>
                    </a:cubicBezTo>
                    <a:cubicBezTo>
                      <a:pt x="-4727" y="42503"/>
                      <a:pt x="4093" y="4704"/>
                      <a:pt x="14593" y="85"/>
                    </a:cubicBezTo>
                    <a:cubicBezTo>
                      <a:pt x="16273" y="-335"/>
                      <a:pt x="17953" y="925"/>
                      <a:pt x="19633" y="134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4" name="Freihandform: Form 133">
                <a:extLst>
                  <a:ext uri="{FF2B5EF4-FFF2-40B4-BE49-F238E27FC236}">
                    <a16:creationId xmlns:a16="http://schemas.microsoft.com/office/drawing/2014/main" id="{04276DB2-CE47-5E99-BD56-0B98D90E20D0}"/>
                  </a:ext>
                </a:extLst>
              </p:cNvPr>
              <p:cNvSpPr/>
              <p:nvPr/>
            </p:nvSpPr>
            <p:spPr>
              <a:xfrm>
                <a:off x="5836118" y="3304525"/>
                <a:ext cx="39605" cy="50588"/>
              </a:xfrm>
              <a:custGeom>
                <a:avLst/>
                <a:gdLst>
                  <a:gd name="connsiteX0" fmla="*/ 39605 w 39605"/>
                  <a:gd name="connsiteY0" fmla="*/ 12492 h 50588"/>
                  <a:gd name="connsiteX1" fmla="*/ 25326 w 39605"/>
                  <a:gd name="connsiteY1" fmla="*/ 45251 h 50588"/>
                  <a:gd name="connsiteX2" fmla="*/ 12726 w 39605"/>
                  <a:gd name="connsiteY2" fmla="*/ 50290 h 50588"/>
                  <a:gd name="connsiteX3" fmla="*/ 127 w 39605"/>
                  <a:gd name="connsiteY3" fmla="*/ 36011 h 50588"/>
                  <a:gd name="connsiteX4" fmla="*/ 20706 w 39605"/>
                  <a:gd name="connsiteY4" fmla="*/ 1573 h 50588"/>
                  <a:gd name="connsiteX5" fmla="*/ 29946 w 39605"/>
                  <a:gd name="connsiteY5" fmla="*/ 733 h 50588"/>
                  <a:gd name="connsiteX6" fmla="*/ 39605 w 39605"/>
                  <a:gd name="connsiteY6" fmla="*/ 12492 h 50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605" h="50588">
                    <a:moveTo>
                      <a:pt x="39605" y="12492"/>
                    </a:moveTo>
                    <a:cubicBezTo>
                      <a:pt x="34986" y="23832"/>
                      <a:pt x="30786" y="34751"/>
                      <a:pt x="25326" y="45251"/>
                    </a:cubicBezTo>
                    <a:cubicBezTo>
                      <a:pt x="23646" y="48611"/>
                      <a:pt x="15246" y="51550"/>
                      <a:pt x="12726" y="50290"/>
                    </a:cubicBezTo>
                    <a:cubicBezTo>
                      <a:pt x="7267" y="46931"/>
                      <a:pt x="-1133" y="38951"/>
                      <a:pt x="127" y="36011"/>
                    </a:cubicBezTo>
                    <a:cubicBezTo>
                      <a:pt x="5167" y="23832"/>
                      <a:pt x="13147" y="12492"/>
                      <a:pt x="20706" y="1573"/>
                    </a:cubicBezTo>
                    <a:cubicBezTo>
                      <a:pt x="21966" y="-107"/>
                      <a:pt x="27846" y="-527"/>
                      <a:pt x="29946" y="733"/>
                    </a:cubicBezTo>
                    <a:cubicBezTo>
                      <a:pt x="33306" y="2832"/>
                      <a:pt x="35825" y="7452"/>
                      <a:pt x="39605" y="124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6B68D5E4-2D55-2626-4320-C69B2C10F178}"/>
                  </a:ext>
                </a:extLst>
              </p:cNvPr>
              <p:cNvSpPr/>
              <p:nvPr/>
            </p:nvSpPr>
            <p:spPr>
              <a:xfrm>
                <a:off x="4934911" y="3439943"/>
                <a:ext cx="37010" cy="47613"/>
              </a:xfrm>
              <a:custGeom>
                <a:avLst/>
                <a:gdLst>
                  <a:gd name="connsiteX0" fmla="*/ 37011 w 37010"/>
                  <a:gd name="connsiteY0" fmla="*/ 12728 h 47613"/>
                  <a:gd name="connsiteX1" fmla="*/ 27771 w 37010"/>
                  <a:gd name="connsiteY1" fmla="*/ 29948 h 47613"/>
                  <a:gd name="connsiteX2" fmla="*/ 8452 w 37010"/>
                  <a:gd name="connsiteY2" fmla="*/ 47587 h 47613"/>
                  <a:gd name="connsiteX3" fmla="*/ 5932 w 37010"/>
                  <a:gd name="connsiteY3" fmla="*/ 13568 h 47613"/>
                  <a:gd name="connsiteX4" fmla="*/ 18952 w 37010"/>
                  <a:gd name="connsiteY4" fmla="*/ 549 h 47613"/>
                  <a:gd name="connsiteX5" fmla="*/ 32811 w 37010"/>
                  <a:gd name="connsiteY5" fmla="*/ 3489 h 47613"/>
                  <a:gd name="connsiteX6" fmla="*/ 37011 w 37010"/>
                  <a:gd name="connsiteY6" fmla="*/ 12728 h 47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010" h="47613">
                    <a:moveTo>
                      <a:pt x="37011" y="12728"/>
                    </a:moveTo>
                    <a:cubicBezTo>
                      <a:pt x="34071" y="18188"/>
                      <a:pt x="31971" y="24908"/>
                      <a:pt x="27771" y="29948"/>
                    </a:cubicBezTo>
                    <a:cubicBezTo>
                      <a:pt x="22311" y="36667"/>
                      <a:pt x="15592" y="46747"/>
                      <a:pt x="8452" y="47587"/>
                    </a:cubicBezTo>
                    <a:cubicBezTo>
                      <a:pt x="-1207" y="48427"/>
                      <a:pt x="-3307" y="29108"/>
                      <a:pt x="5932" y="13568"/>
                    </a:cubicBezTo>
                    <a:cubicBezTo>
                      <a:pt x="9292" y="8528"/>
                      <a:pt x="13912" y="3069"/>
                      <a:pt x="18952" y="549"/>
                    </a:cubicBezTo>
                    <a:cubicBezTo>
                      <a:pt x="22311" y="-1131"/>
                      <a:pt x="28611" y="1389"/>
                      <a:pt x="32811" y="3489"/>
                    </a:cubicBezTo>
                    <a:cubicBezTo>
                      <a:pt x="34911" y="4329"/>
                      <a:pt x="35331" y="8949"/>
                      <a:pt x="37011" y="1272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3B2A004F-2CF4-5E23-AC31-E0A0F3F367F6}"/>
                  </a:ext>
                </a:extLst>
              </p:cNvPr>
              <p:cNvSpPr/>
              <p:nvPr/>
            </p:nvSpPr>
            <p:spPr>
              <a:xfrm>
                <a:off x="5887382" y="2173306"/>
                <a:ext cx="45459" cy="41253"/>
              </a:xfrm>
              <a:custGeom>
                <a:avLst/>
                <a:gdLst>
                  <a:gd name="connsiteX0" fmla="*/ 45459 w 45459"/>
                  <a:gd name="connsiteY0" fmla="*/ 17319 h 41253"/>
                  <a:gd name="connsiteX1" fmla="*/ 25720 w 45459"/>
                  <a:gd name="connsiteY1" fmla="*/ 40418 h 41253"/>
                  <a:gd name="connsiteX2" fmla="*/ 521 w 45459"/>
                  <a:gd name="connsiteY2" fmla="*/ 24039 h 41253"/>
                  <a:gd name="connsiteX3" fmla="*/ 23200 w 45459"/>
                  <a:gd name="connsiteY3" fmla="*/ 100 h 41253"/>
                  <a:gd name="connsiteX4" fmla="*/ 45459 w 45459"/>
                  <a:gd name="connsiteY4" fmla="*/ 17319 h 41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459" h="41253">
                    <a:moveTo>
                      <a:pt x="45459" y="17319"/>
                    </a:moveTo>
                    <a:cubicBezTo>
                      <a:pt x="37059" y="27819"/>
                      <a:pt x="32440" y="37479"/>
                      <a:pt x="25720" y="40418"/>
                    </a:cubicBezTo>
                    <a:cubicBezTo>
                      <a:pt x="14381" y="44618"/>
                      <a:pt x="-3259" y="32019"/>
                      <a:pt x="521" y="24039"/>
                    </a:cubicBezTo>
                    <a:cubicBezTo>
                      <a:pt x="5141" y="14380"/>
                      <a:pt x="13960" y="5980"/>
                      <a:pt x="23200" y="100"/>
                    </a:cubicBezTo>
                    <a:cubicBezTo>
                      <a:pt x="25720" y="-1160"/>
                      <a:pt x="35800" y="9760"/>
                      <a:pt x="45459" y="173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7" name="Freihandform: Form 136">
                <a:extLst>
                  <a:ext uri="{FF2B5EF4-FFF2-40B4-BE49-F238E27FC236}">
                    <a16:creationId xmlns:a16="http://schemas.microsoft.com/office/drawing/2014/main" id="{E883E49E-A5E0-674E-DF94-4A125A0DBC60}"/>
                  </a:ext>
                </a:extLst>
              </p:cNvPr>
              <p:cNvSpPr/>
              <p:nvPr/>
            </p:nvSpPr>
            <p:spPr>
              <a:xfrm>
                <a:off x="6586224" y="3191601"/>
                <a:ext cx="34957" cy="58639"/>
              </a:xfrm>
              <a:custGeom>
                <a:avLst/>
                <a:gdLst>
                  <a:gd name="connsiteX0" fmla="*/ 6828 w 34957"/>
                  <a:gd name="connsiteY0" fmla="*/ 58639 h 58639"/>
                  <a:gd name="connsiteX1" fmla="*/ 109 w 34957"/>
                  <a:gd name="connsiteY1" fmla="*/ 40580 h 58639"/>
                  <a:gd name="connsiteX2" fmla="*/ 11448 w 34957"/>
                  <a:gd name="connsiteY2" fmla="*/ 2361 h 58639"/>
                  <a:gd name="connsiteX3" fmla="*/ 28667 w 34957"/>
                  <a:gd name="connsiteY3" fmla="*/ 1521 h 58639"/>
                  <a:gd name="connsiteX4" fmla="*/ 34547 w 34957"/>
                  <a:gd name="connsiteY4" fmla="*/ 17481 h 58639"/>
                  <a:gd name="connsiteX5" fmla="*/ 6828 w 34957"/>
                  <a:gd name="connsiteY5" fmla="*/ 58639 h 5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957" h="58639">
                    <a:moveTo>
                      <a:pt x="6828" y="58639"/>
                    </a:moveTo>
                    <a:cubicBezTo>
                      <a:pt x="3468" y="49399"/>
                      <a:pt x="-731" y="44360"/>
                      <a:pt x="109" y="40580"/>
                    </a:cubicBezTo>
                    <a:cubicBezTo>
                      <a:pt x="2628" y="27560"/>
                      <a:pt x="5988" y="14541"/>
                      <a:pt x="11448" y="2361"/>
                    </a:cubicBezTo>
                    <a:cubicBezTo>
                      <a:pt x="12708" y="-158"/>
                      <a:pt x="24468" y="-998"/>
                      <a:pt x="28667" y="1521"/>
                    </a:cubicBezTo>
                    <a:cubicBezTo>
                      <a:pt x="32447" y="4041"/>
                      <a:pt x="36227" y="13701"/>
                      <a:pt x="34547" y="17481"/>
                    </a:cubicBezTo>
                    <a:cubicBezTo>
                      <a:pt x="29087" y="28820"/>
                      <a:pt x="20688" y="38900"/>
                      <a:pt x="6828" y="5863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8" name="Freihandform: Form 137">
                <a:extLst>
                  <a:ext uri="{FF2B5EF4-FFF2-40B4-BE49-F238E27FC236}">
                    <a16:creationId xmlns:a16="http://schemas.microsoft.com/office/drawing/2014/main" id="{4C991484-52A0-698A-CA82-E4F8CDDB021A}"/>
                  </a:ext>
                </a:extLst>
              </p:cNvPr>
              <p:cNvSpPr/>
              <p:nvPr/>
            </p:nvSpPr>
            <p:spPr>
              <a:xfrm>
                <a:off x="5175330" y="2616260"/>
                <a:ext cx="35873" cy="46844"/>
              </a:xfrm>
              <a:custGeom>
                <a:avLst/>
                <a:gdLst>
                  <a:gd name="connsiteX0" fmla="*/ 6583 w 35873"/>
                  <a:gd name="connsiteY0" fmla="*/ 46845 h 46844"/>
                  <a:gd name="connsiteX1" fmla="*/ 1964 w 35873"/>
                  <a:gd name="connsiteY1" fmla="*/ 45585 h 46844"/>
                  <a:gd name="connsiteX2" fmla="*/ 1964 w 35873"/>
                  <a:gd name="connsiteY2" fmla="*/ 17866 h 46844"/>
                  <a:gd name="connsiteX3" fmla="*/ 29262 w 35873"/>
                  <a:gd name="connsiteY3" fmla="*/ 2747 h 46844"/>
                  <a:gd name="connsiteX4" fmla="*/ 35562 w 35873"/>
                  <a:gd name="connsiteY4" fmla="*/ 10726 h 46844"/>
                  <a:gd name="connsiteX5" fmla="*/ 6583 w 35873"/>
                  <a:gd name="connsiteY5" fmla="*/ 46845 h 46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873" h="46844">
                    <a:moveTo>
                      <a:pt x="6583" y="46845"/>
                    </a:moveTo>
                    <a:cubicBezTo>
                      <a:pt x="4903" y="46425"/>
                      <a:pt x="1964" y="46005"/>
                      <a:pt x="1964" y="45585"/>
                    </a:cubicBezTo>
                    <a:cubicBezTo>
                      <a:pt x="1543" y="36345"/>
                      <a:pt x="-2236" y="24166"/>
                      <a:pt x="1964" y="17866"/>
                    </a:cubicBezTo>
                    <a:cubicBezTo>
                      <a:pt x="7423" y="9886"/>
                      <a:pt x="12883" y="-6493"/>
                      <a:pt x="29262" y="2747"/>
                    </a:cubicBezTo>
                    <a:cubicBezTo>
                      <a:pt x="32202" y="4427"/>
                      <a:pt x="35142" y="7786"/>
                      <a:pt x="35562" y="10726"/>
                    </a:cubicBezTo>
                    <a:cubicBezTo>
                      <a:pt x="38502" y="23746"/>
                      <a:pt x="20023" y="46425"/>
                      <a:pt x="6583" y="4684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39" name="Freihandform: Form 138">
                <a:extLst>
                  <a:ext uri="{FF2B5EF4-FFF2-40B4-BE49-F238E27FC236}">
                    <a16:creationId xmlns:a16="http://schemas.microsoft.com/office/drawing/2014/main" id="{CC40AABB-D1D6-22CD-5CB7-75A8C5BF8074}"/>
                  </a:ext>
                </a:extLst>
              </p:cNvPr>
              <p:cNvSpPr/>
              <p:nvPr/>
            </p:nvSpPr>
            <p:spPr>
              <a:xfrm>
                <a:off x="6179790" y="2574909"/>
                <a:ext cx="44937" cy="42849"/>
              </a:xfrm>
              <a:custGeom>
                <a:avLst/>
                <a:gdLst>
                  <a:gd name="connsiteX0" fmla="*/ 44938 w 44937"/>
                  <a:gd name="connsiteY0" fmla="*/ 24359 h 42849"/>
                  <a:gd name="connsiteX1" fmla="*/ 22259 w 44937"/>
                  <a:gd name="connsiteY1" fmla="*/ 42838 h 42849"/>
                  <a:gd name="connsiteX2" fmla="*/ 0 w 44937"/>
                  <a:gd name="connsiteY2" fmla="*/ 26879 h 42849"/>
                  <a:gd name="connsiteX3" fmla="*/ 25619 w 44937"/>
                  <a:gd name="connsiteY3" fmla="*/ 0 h 42849"/>
                  <a:gd name="connsiteX4" fmla="*/ 44938 w 44937"/>
                  <a:gd name="connsiteY4" fmla="*/ 24359 h 42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37" h="42849">
                    <a:moveTo>
                      <a:pt x="44938" y="24359"/>
                    </a:moveTo>
                    <a:cubicBezTo>
                      <a:pt x="35698" y="32339"/>
                      <a:pt x="28979" y="43258"/>
                      <a:pt x="22259" y="42838"/>
                    </a:cubicBezTo>
                    <a:cubicBezTo>
                      <a:pt x="14699" y="42418"/>
                      <a:pt x="7560" y="32339"/>
                      <a:pt x="0" y="26879"/>
                    </a:cubicBezTo>
                    <a:cubicBezTo>
                      <a:pt x="8400" y="18059"/>
                      <a:pt x="17219" y="8820"/>
                      <a:pt x="25619" y="0"/>
                    </a:cubicBezTo>
                    <a:cubicBezTo>
                      <a:pt x="31499" y="7140"/>
                      <a:pt x="37378" y="14279"/>
                      <a:pt x="44938" y="243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0" name="Freihandform: Form 139">
                <a:extLst>
                  <a:ext uri="{FF2B5EF4-FFF2-40B4-BE49-F238E27FC236}">
                    <a16:creationId xmlns:a16="http://schemas.microsoft.com/office/drawing/2014/main" id="{E215447A-3500-28B1-BC85-D715BFF7BD79}"/>
                  </a:ext>
                </a:extLst>
              </p:cNvPr>
              <p:cNvSpPr/>
              <p:nvPr/>
            </p:nvSpPr>
            <p:spPr>
              <a:xfrm>
                <a:off x="5078130" y="2529937"/>
                <a:ext cx="37192" cy="50597"/>
              </a:xfrm>
              <a:custGeom>
                <a:avLst/>
                <a:gdLst>
                  <a:gd name="connsiteX0" fmla="*/ 27346 w 37192"/>
                  <a:gd name="connsiteY0" fmla="*/ 454 h 50597"/>
                  <a:gd name="connsiteX1" fmla="*/ 36586 w 37192"/>
                  <a:gd name="connsiteY1" fmla="*/ 10953 h 50597"/>
                  <a:gd name="connsiteX2" fmla="*/ 35326 w 37192"/>
                  <a:gd name="connsiteY2" fmla="*/ 20193 h 50597"/>
                  <a:gd name="connsiteX3" fmla="*/ 10127 w 37192"/>
                  <a:gd name="connsiteY3" fmla="*/ 50432 h 50597"/>
                  <a:gd name="connsiteX4" fmla="*/ 2148 w 37192"/>
                  <a:gd name="connsiteY4" fmla="*/ 46652 h 50597"/>
                  <a:gd name="connsiteX5" fmla="*/ 16427 w 37192"/>
                  <a:gd name="connsiteY5" fmla="*/ 873 h 50597"/>
                  <a:gd name="connsiteX6" fmla="*/ 27346 w 37192"/>
                  <a:gd name="connsiteY6" fmla="*/ 454 h 50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192" h="50597">
                    <a:moveTo>
                      <a:pt x="27346" y="454"/>
                    </a:moveTo>
                    <a:cubicBezTo>
                      <a:pt x="29867" y="3394"/>
                      <a:pt x="34066" y="6753"/>
                      <a:pt x="36586" y="10953"/>
                    </a:cubicBezTo>
                    <a:cubicBezTo>
                      <a:pt x="37846" y="13053"/>
                      <a:pt x="37006" y="17673"/>
                      <a:pt x="35326" y="20193"/>
                    </a:cubicBezTo>
                    <a:cubicBezTo>
                      <a:pt x="27346" y="30692"/>
                      <a:pt x="18947" y="40772"/>
                      <a:pt x="10127" y="50432"/>
                    </a:cubicBezTo>
                    <a:cubicBezTo>
                      <a:pt x="9707" y="51271"/>
                      <a:pt x="3408" y="48752"/>
                      <a:pt x="2148" y="46652"/>
                    </a:cubicBezTo>
                    <a:cubicBezTo>
                      <a:pt x="-4152" y="36152"/>
                      <a:pt x="4248" y="9693"/>
                      <a:pt x="16427" y="873"/>
                    </a:cubicBezTo>
                    <a:cubicBezTo>
                      <a:pt x="18527" y="-806"/>
                      <a:pt x="22727" y="454"/>
                      <a:pt x="27346" y="45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1" name="Freihandform: Form 140">
                <a:extLst>
                  <a:ext uri="{FF2B5EF4-FFF2-40B4-BE49-F238E27FC236}">
                    <a16:creationId xmlns:a16="http://schemas.microsoft.com/office/drawing/2014/main" id="{33AF88FC-FCBA-7C80-171F-1BD4A5CF06A6}"/>
                  </a:ext>
                </a:extLst>
              </p:cNvPr>
              <p:cNvSpPr/>
              <p:nvPr/>
            </p:nvSpPr>
            <p:spPr>
              <a:xfrm>
                <a:off x="6357648" y="2973472"/>
                <a:ext cx="38864" cy="47251"/>
              </a:xfrm>
              <a:custGeom>
                <a:avLst/>
                <a:gdLst>
                  <a:gd name="connsiteX0" fmla="*/ 23733 w 38864"/>
                  <a:gd name="connsiteY0" fmla="*/ 0 h 47251"/>
                  <a:gd name="connsiteX1" fmla="*/ 38853 w 38864"/>
                  <a:gd name="connsiteY1" fmla="*/ 33179 h 47251"/>
                  <a:gd name="connsiteX2" fmla="*/ 22473 w 38864"/>
                  <a:gd name="connsiteY2" fmla="*/ 47038 h 47251"/>
                  <a:gd name="connsiteX3" fmla="*/ 634 w 38864"/>
                  <a:gd name="connsiteY3" fmla="*/ 25619 h 47251"/>
                  <a:gd name="connsiteX4" fmla="*/ 23733 w 38864"/>
                  <a:gd name="connsiteY4" fmla="*/ 0 h 47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64" h="47251">
                    <a:moveTo>
                      <a:pt x="23733" y="0"/>
                    </a:moveTo>
                    <a:cubicBezTo>
                      <a:pt x="30873" y="14279"/>
                      <a:pt x="37593" y="23519"/>
                      <a:pt x="38853" y="33179"/>
                    </a:cubicBezTo>
                    <a:cubicBezTo>
                      <a:pt x="39272" y="36958"/>
                      <a:pt x="28773" y="45778"/>
                      <a:pt x="22473" y="47038"/>
                    </a:cubicBezTo>
                    <a:cubicBezTo>
                      <a:pt x="10714" y="49138"/>
                      <a:pt x="-3146" y="35279"/>
                      <a:pt x="634" y="25619"/>
                    </a:cubicBezTo>
                    <a:cubicBezTo>
                      <a:pt x="3994" y="17639"/>
                      <a:pt x="12814" y="11759"/>
                      <a:pt x="2373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44FFCF68-8233-BCB4-4168-C87E759FE908}"/>
                  </a:ext>
                </a:extLst>
              </p:cNvPr>
              <p:cNvSpPr/>
              <p:nvPr/>
            </p:nvSpPr>
            <p:spPr>
              <a:xfrm>
                <a:off x="6502475" y="1622460"/>
                <a:ext cx="39864" cy="46292"/>
              </a:xfrm>
              <a:custGeom>
                <a:avLst/>
                <a:gdLst>
                  <a:gd name="connsiteX0" fmla="*/ 39759 w 39864"/>
                  <a:gd name="connsiteY0" fmla="*/ 12110 h 46292"/>
                  <a:gd name="connsiteX1" fmla="*/ 39339 w 39864"/>
                  <a:gd name="connsiteY1" fmla="*/ 18409 h 46292"/>
                  <a:gd name="connsiteX2" fmla="*/ 10781 w 39864"/>
                  <a:gd name="connsiteY2" fmla="*/ 46128 h 46292"/>
                  <a:gd name="connsiteX3" fmla="*/ 2801 w 39864"/>
                  <a:gd name="connsiteY3" fmla="*/ 41928 h 46292"/>
                  <a:gd name="connsiteX4" fmla="*/ 18760 w 39864"/>
                  <a:gd name="connsiteY4" fmla="*/ 2450 h 46292"/>
                  <a:gd name="connsiteX5" fmla="*/ 31780 w 39864"/>
                  <a:gd name="connsiteY5" fmla="*/ 1190 h 46292"/>
                  <a:gd name="connsiteX6" fmla="*/ 39759 w 39864"/>
                  <a:gd name="connsiteY6" fmla="*/ 12110 h 4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864" h="46292">
                    <a:moveTo>
                      <a:pt x="39759" y="12110"/>
                    </a:moveTo>
                    <a:cubicBezTo>
                      <a:pt x="39759" y="15050"/>
                      <a:pt x="40179" y="17569"/>
                      <a:pt x="39339" y="18409"/>
                    </a:cubicBezTo>
                    <a:cubicBezTo>
                      <a:pt x="30100" y="28069"/>
                      <a:pt x="20440" y="37309"/>
                      <a:pt x="10781" y="46128"/>
                    </a:cubicBezTo>
                    <a:cubicBezTo>
                      <a:pt x="9941" y="46968"/>
                      <a:pt x="3641" y="44448"/>
                      <a:pt x="2801" y="41928"/>
                    </a:cubicBezTo>
                    <a:cubicBezTo>
                      <a:pt x="-6019" y="23449"/>
                      <a:pt x="7841" y="12950"/>
                      <a:pt x="18760" y="2450"/>
                    </a:cubicBezTo>
                    <a:cubicBezTo>
                      <a:pt x="21280" y="-70"/>
                      <a:pt x="28420" y="-910"/>
                      <a:pt x="31780" y="1190"/>
                    </a:cubicBezTo>
                    <a:cubicBezTo>
                      <a:pt x="35140" y="2870"/>
                      <a:pt x="37239" y="8750"/>
                      <a:pt x="39759" y="121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B1F5F13D-50C8-5450-E35A-3FC74FBE664F}"/>
                  </a:ext>
                </a:extLst>
              </p:cNvPr>
              <p:cNvSpPr/>
              <p:nvPr/>
            </p:nvSpPr>
            <p:spPr>
              <a:xfrm>
                <a:off x="6157266" y="1628480"/>
                <a:ext cx="40583" cy="48273"/>
              </a:xfrm>
              <a:custGeom>
                <a:avLst/>
                <a:gdLst>
                  <a:gd name="connsiteX0" fmla="*/ 40583 w 40583"/>
                  <a:gd name="connsiteY0" fmla="*/ 12809 h 48273"/>
                  <a:gd name="connsiteX1" fmla="*/ 17484 w 40583"/>
                  <a:gd name="connsiteY1" fmla="*/ 47667 h 48273"/>
                  <a:gd name="connsiteX2" fmla="*/ 9084 w 40583"/>
                  <a:gd name="connsiteY2" fmla="*/ 46407 h 48273"/>
                  <a:gd name="connsiteX3" fmla="*/ 265 w 40583"/>
                  <a:gd name="connsiteY3" fmla="*/ 19949 h 48273"/>
                  <a:gd name="connsiteX4" fmla="*/ 19584 w 40583"/>
                  <a:gd name="connsiteY4" fmla="*/ 209 h 48273"/>
                  <a:gd name="connsiteX5" fmla="*/ 40583 w 40583"/>
                  <a:gd name="connsiteY5" fmla="*/ 12809 h 48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83" h="48273">
                    <a:moveTo>
                      <a:pt x="40583" y="12809"/>
                    </a:moveTo>
                    <a:cubicBezTo>
                      <a:pt x="32183" y="25828"/>
                      <a:pt x="25044" y="37168"/>
                      <a:pt x="17484" y="47667"/>
                    </a:cubicBezTo>
                    <a:cubicBezTo>
                      <a:pt x="16644" y="48927"/>
                      <a:pt x="9924" y="48087"/>
                      <a:pt x="9084" y="46407"/>
                    </a:cubicBezTo>
                    <a:cubicBezTo>
                      <a:pt x="5304" y="37588"/>
                      <a:pt x="-1415" y="27928"/>
                      <a:pt x="265" y="19949"/>
                    </a:cubicBezTo>
                    <a:cubicBezTo>
                      <a:pt x="1945" y="11969"/>
                      <a:pt x="11184" y="3569"/>
                      <a:pt x="19584" y="209"/>
                    </a:cubicBezTo>
                    <a:cubicBezTo>
                      <a:pt x="23784" y="-1471"/>
                      <a:pt x="32183" y="7349"/>
                      <a:pt x="40583" y="1280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A019826F-C2D4-EEF2-098F-C165F4365A58}"/>
                  </a:ext>
                </a:extLst>
              </p:cNvPr>
              <p:cNvSpPr/>
              <p:nvPr/>
            </p:nvSpPr>
            <p:spPr>
              <a:xfrm>
                <a:off x="6459398" y="2518211"/>
                <a:ext cx="37898" cy="40318"/>
              </a:xfrm>
              <a:custGeom>
                <a:avLst/>
                <a:gdLst>
                  <a:gd name="connsiteX0" fmla="*/ 21099 w 37898"/>
                  <a:gd name="connsiteY0" fmla="*/ 0 h 40318"/>
                  <a:gd name="connsiteX1" fmla="*/ 37899 w 37898"/>
                  <a:gd name="connsiteY1" fmla="*/ 12599 h 40318"/>
                  <a:gd name="connsiteX2" fmla="*/ 12700 w 37898"/>
                  <a:gd name="connsiteY2" fmla="*/ 40318 h 40318"/>
                  <a:gd name="connsiteX3" fmla="*/ 940 w 37898"/>
                  <a:gd name="connsiteY3" fmla="*/ 26459 h 40318"/>
                  <a:gd name="connsiteX4" fmla="*/ 21099 w 37898"/>
                  <a:gd name="connsiteY4" fmla="*/ 0 h 4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898" h="40318">
                    <a:moveTo>
                      <a:pt x="21099" y="0"/>
                    </a:moveTo>
                    <a:cubicBezTo>
                      <a:pt x="24879" y="2940"/>
                      <a:pt x="31179" y="7980"/>
                      <a:pt x="37899" y="12599"/>
                    </a:cubicBezTo>
                    <a:cubicBezTo>
                      <a:pt x="29499" y="21839"/>
                      <a:pt x="21099" y="31079"/>
                      <a:pt x="12700" y="40318"/>
                    </a:cubicBezTo>
                    <a:cubicBezTo>
                      <a:pt x="8500" y="35698"/>
                      <a:pt x="1780" y="31499"/>
                      <a:pt x="940" y="26459"/>
                    </a:cubicBezTo>
                    <a:cubicBezTo>
                      <a:pt x="-1580" y="14279"/>
                      <a:pt x="-320" y="1680"/>
                      <a:pt x="2109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5" name="Freihandform: Form 144">
                <a:extLst>
                  <a:ext uri="{FF2B5EF4-FFF2-40B4-BE49-F238E27FC236}">
                    <a16:creationId xmlns:a16="http://schemas.microsoft.com/office/drawing/2014/main" id="{37C9F122-76D1-B537-CAD8-F65948C543FF}"/>
                  </a:ext>
                </a:extLst>
              </p:cNvPr>
              <p:cNvSpPr/>
              <p:nvPr/>
            </p:nvSpPr>
            <p:spPr>
              <a:xfrm>
                <a:off x="5666049" y="2616028"/>
                <a:ext cx="36266" cy="43296"/>
              </a:xfrm>
              <a:custGeom>
                <a:avLst/>
                <a:gdLst>
                  <a:gd name="connsiteX0" fmla="*/ 17323 w 36266"/>
                  <a:gd name="connsiteY0" fmla="*/ 43297 h 43296"/>
                  <a:gd name="connsiteX1" fmla="*/ 104 w 36266"/>
                  <a:gd name="connsiteY1" fmla="*/ 15998 h 43296"/>
                  <a:gd name="connsiteX2" fmla="*/ 21943 w 36266"/>
                  <a:gd name="connsiteY2" fmla="*/ 39 h 43296"/>
                  <a:gd name="connsiteX3" fmla="*/ 36222 w 36266"/>
                  <a:gd name="connsiteY3" fmla="*/ 17258 h 43296"/>
                  <a:gd name="connsiteX4" fmla="*/ 17323 w 36266"/>
                  <a:gd name="connsiteY4" fmla="*/ 43297 h 43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266" h="43296">
                    <a:moveTo>
                      <a:pt x="17323" y="43297"/>
                    </a:moveTo>
                    <a:cubicBezTo>
                      <a:pt x="9343" y="31117"/>
                      <a:pt x="-1156" y="21878"/>
                      <a:pt x="104" y="15998"/>
                    </a:cubicBezTo>
                    <a:cubicBezTo>
                      <a:pt x="1784" y="8858"/>
                      <a:pt x="13543" y="1719"/>
                      <a:pt x="21943" y="39"/>
                    </a:cubicBezTo>
                    <a:cubicBezTo>
                      <a:pt x="25723" y="-801"/>
                      <a:pt x="37062" y="12218"/>
                      <a:pt x="36222" y="17258"/>
                    </a:cubicBezTo>
                    <a:cubicBezTo>
                      <a:pt x="34962" y="25238"/>
                      <a:pt x="26142" y="31957"/>
                      <a:pt x="17323" y="4329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6" name="Freihandform: Form 145">
                <a:extLst>
                  <a:ext uri="{FF2B5EF4-FFF2-40B4-BE49-F238E27FC236}">
                    <a16:creationId xmlns:a16="http://schemas.microsoft.com/office/drawing/2014/main" id="{B9803DBC-7D6F-EE2E-06FE-6FAD1F585E1E}"/>
                  </a:ext>
                </a:extLst>
              </p:cNvPr>
              <p:cNvSpPr/>
              <p:nvPr/>
            </p:nvSpPr>
            <p:spPr>
              <a:xfrm>
                <a:off x="6726012" y="2330314"/>
                <a:ext cx="37937" cy="47763"/>
              </a:xfrm>
              <a:custGeom>
                <a:avLst/>
                <a:gdLst>
                  <a:gd name="connsiteX0" fmla="*/ 6895 w 37937"/>
                  <a:gd name="connsiteY0" fmla="*/ 47204 h 47763"/>
                  <a:gd name="connsiteX1" fmla="*/ 175 w 37937"/>
                  <a:gd name="connsiteY1" fmla="*/ 35444 h 47763"/>
                  <a:gd name="connsiteX2" fmla="*/ 27054 w 37937"/>
                  <a:gd name="connsiteY2" fmla="*/ 166 h 47763"/>
                  <a:gd name="connsiteX3" fmla="*/ 35034 w 37937"/>
                  <a:gd name="connsiteY3" fmla="*/ 3945 h 47763"/>
                  <a:gd name="connsiteX4" fmla="*/ 16555 w 37937"/>
                  <a:gd name="connsiteY4" fmla="*/ 47204 h 47763"/>
                  <a:gd name="connsiteX5" fmla="*/ 6895 w 37937"/>
                  <a:gd name="connsiteY5" fmla="*/ 47204 h 4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937" h="47763">
                    <a:moveTo>
                      <a:pt x="6895" y="47204"/>
                    </a:moveTo>
                    <a:cubicBezTo>
                      <a:pt x="4795" y="43844"/>
                      <a:pt x="-1085" y="37544"/>
                      <a:pt x="175" y="35444"/>
                    </a:cubicBezTo>
                    <a:cubicBezTo>
                      <a:pt x="8155" y="22845"/>
                      <a:pt x="17814" y="11505"/>
                      <a:pt x="27054" y="166"/>
                    </a:cubicBezTo>
                    <a:cubicBezTo>
                      <a:pt x="27474" y="-674"/>
                      <a:pt x="33774" y="1846"/>
                      <a:pt x="35034" y="3945"/>
                    </a:cubicBezTo>
                    <a:cubicBezTo>
                      <a:pt x="42593" y="16545"/>
                      <a:pt x="35034" y="34604"/>
                      <a:pt x="16555" y="47204"/>
                    </a:cubicBezTo>
                    <a:cubicBezTo>
                      <a:pt x="14874" y="48464"/>
                      <a:pt x="11095" y="47204"/>
                      <a:pt x="6895" y="4720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44BCFD88-62EF-63D5-005E-3FFE5B8EDF0F}"/>
                  </a:ext>
                </a:extLst>
              </p:cNvPr>
              <p:cNvSpPr/>
              <p:nvPr/>
            </p:nvSpPr>
            <p:spPr>
              <a:xfrm>
                <a:off x="5291122" y="3098545"/>
                <a:ext cx="41144" cy="47237"/>
              </a:xfrm>
              <a:custGeom>
                <a:avLst/>
                <a:gdLst>
                  <a:gd name="connsiteX0" fmla="*/ 41145 w 41144"/>
                  <a:gd name="connsiteY0" fmla="*/ 16040 h 47237"/>
                  <a:gd name="connsiteX1" fmla="*/ 16786 w 41144"/>
                  <a:gd name="connsiteY1" fmla="*/ 47119 h 47237"/>
                  <a:gd name="connsiteX2" fmla="*/ 4607 w 41144"/>
                  <a:gd name="connsiteY2" fmla="*/ 40819 h 47237"/>
                  <a:gd name="connsiteX3" fmla="*/ 10486 w 41144"/>
                  <a:gd name="connsiteY3" fmla="*/ 9321 h 47237"/>
                  <a:gd name="connsiteX4" fmla="*/ 25186 w 41144"/>
                  <a:gd name="connsiteY4" fmla="*/ 81 h 47237"/>
                  <a:gd name="connsiteX5" fmla="*/ 41145 w 41144"/>
                  <a:gd name="connsiteY5" fmla="*/ 16040 h 47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144" h="47237">
                    <a:moveTo>
                      <a:pt x="41145" y="16040"/>
                    </a:moveTo>
                    <a:cubicBezTo>
                      <a:pt x="32745" y="27380"/>
                      <a:pt x="25186" y="37879"/>
                      <a:pt x="16786" y="47119"/>
                    </a:cubicBezTo>
                    <a:cubicBezTo>
                      <a:pt x="15946" y="47959"/>
                      <a:pt x="7546" y="44179"/>
                      <a:pt x="4607" y="40819"/>
                    </a:cubicBezTo>
                    <a:cubicBezTo>
                      <a:pt x="-7573" y="28220"/>
                      <a:pt x="7966" y="19820"/>
                      <a:pt x="10486" y="9321"/>
                    </a:cubicBezTo>
                    <a:cubicBezTo>
                      <a:pt x="11746" y="5121"/>
                      <a:pt x="20986" y="-759"/>
                      <a:pt x="25186" y="81"/>
                    </a:cubicBezTo>
                    <a:cubicBezTo>
                      <a:pt x="30225" y="1341"/>
                      <a:pt x="34005" y="8901"/>
                      <a:pt x="41145" y="1604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D832DC7D-BD20-534A-BB99-FB4C00278D4E}"/>
                  </a:ext>
                </a:extLst>
              </p:cNvPr>
              <p:cNvSpPr/>
              <p:nvPr/>
            </p:nvSpPr>
            <p:spPr>
              <a:xfrm>
                <a:off x="5695756" y="2246017"/>
                <a:ext cx="38069" cy="41204"/>
              </a:xfrm>
              <a:custGeom>
                <a:avLst/>
                <a:gdLst>
                  <a:gd name="connsiteX0" fmla="*/ 5255 w 38069"/>
                  <a:gd name="connsiteY0" fmla="*/ 41204 h 41204"/>
                  <a:gd name="connsiteX1" fmla="*/ 215 w 38069"/>
                  <a:gd name="connsiteY1" fmla="*/ 29025 h 41204"/>
                  <a:gd name="connsiteX2" fmla="*/ 18274 w 38069"/>
                  <a:gd name="connsiteY2" fmla="*/ 886 h 41204"/>
                  <a:gd name="connsiteX3" fmla="*/ 36333 w 38069"/>
                  <a:gd name="connsiteY3" fmla="*/ 4666 h 41204"/>
                  <a:gd name="connsiteX4" fmla="*/ 36333 w 38069"/>
                  <a:gd name="connsiteY4" fmla="*/ 17685 h 41204"/>
                  <a:gd name="connsiteX5" fmla="*/ 15754 w 38069"/>
                  <a:gd name="connsiteY5" fmla="*/ 39944 h 41204"/>
                  <a:gd name="connsiteX6" fmla="*/ 5255 w 38069"/>
                  <a:gd name="connsiteY6" fmla="*/ 41204 h 41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069" h="41204">
                    <a:moveTo>
                      <a:pt x="5255" y="41204"/>
                    </a:moveTo>
                    <a:cubicBezTo>
                      <a:pt x="3575" y="37424"/>
                      <a:pt x="-1045" y="31965"/>
                      <a:pt x="215" y="29025"/>
                    </a:cubicBezTo>
                    <a:cubicBezTo>
                      <a:pt x="4835" y="18945"/>
                      <a:pt x="10714" y="8866"/>
                      <a:pt x="18274" y="886"/>
                    </a:cubicBezTo>
                    <a:cubicBezTo>
                      <a:pt x="20794" y="-1634"/>
                      <a:pt x="30874" y="1726"/>
                      <a:pt x="36333" y="4666"/>
                    </a:cubicBezTo>
                    <a:cubicBezTo>
                      <a:pt x="38433" y="5926"/>
                      <a:pt x="38853" y="14745"/>
                      <a:pt x="36333" y="17685"/>
                    </a:cubicBezTo>
                    <a:cubicBezTo>
                      <a:pt x="30454" y="26085"/>
                      <a:pt x="23314" y="33225"/>
                      <a:pt x="15754" y="39944"/>
                    </a:cubicBezTo>
                    <a:cubicBezTo>
                      <a:pt x="14494" y="42044"/>
                      <a:pt x="9874" y="40784"/>
                      <a:pt x="5255" y="4120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49" name="Freihandform: Form 148">
                <a:extLst>
                  <a:ext uri="{FF2B5EF4-FFF2-40B4-BE49-F238E27FC236}">
                    <a16:creationId xmlns:a16="http://schemas.microsoft.com/office/drawing/2014/main" id="{C39CA74F-0492-0667-5A2B-B448CA1AFFF7}"/>
                  </a:ext>
                </a:extLst>
              </p:cNvPr>
              <p:cNvSpPr/>
              <p:nvPr/>
            </p:nvSpPr>
            <p:spPr>
              <a:xfrm>
                <a:off x="5863454" y="1914319"/>
                <a:ext cx="42508" cy="46948"/>
              </a:xfrm>
              <a:custGeom>
                <a:avLst/>
                <a:gdLst>
                  <a:gd name="connsiteX0" fmla="*/ 42508 w 42508"/>
                  <a:gd name="connsiteY0" fmla="*/ 9618 h 46948"/>
                  <a:gd name="connsiteX1" fmla="*/ 18569 w 42508"/>
                  <a:gd name="connsiteY1" fmla="*/ 45316 h 46948"/>
                  <a:gd name="connsiteX2" fmla="*/ 4710 w 42508"/>
                  <a:gd name="connsiteY2" fmla="*/ 45736 h 46948"/>
                  <a:gd name="connsiteX3" fmla="*/ 90 w 42508"/>
                  <a:gd name="connsiteY3" fmla="*/ 37337 h 46948"/>
                  <a:gd name="connsiteX4" fmla="*/ 24029 w 42508"/>
                  <a:gd name="connsiteY4" fmla="*/ 378 h 46948"/>
                  <a:gd name="connsiteX5" fmla="*/ 42508 w 42508"/>
                  <a:gd name="connsiteY5" fmla="*/ 9618 h 46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508" h="46948">
                    <a:moveTo>
                      <a:pt x="42508" y="9618"/>
                    </a:moveTo>
                    <a:cubicBezTo>
                      <a:pt x="33688" y="23057"/>
                      <a:pt x="26969" y="34817"/>
                      <a:pt x="18569" y="45316"/>
                    </a:cubicBezTo>
                    <a:cubicBezTo>
                      <a:pt x="16469" y="47836"/>
                      <a:pt x="9330" y="46996"/>
                      <a:pt x="4710" y="45736"/>
                    </a:cubicBezTo>
                    <a:cubicBezTo>
                      <a:pt x="2610" y="45316"/>
                      <a:pt x="510" y="40276"/>
                      <a:pt x="90" y="37337"/>
                    </a:cubicBezTo>
                    <a:cubicBezTo>
                      <a:pt x="-1170" y="19277"/>
                      <a:pt x="11010" y="8778"/>
                      <a:pt x="24029" y="378"/>
                    </a:cubicBezTo>
                    <a:cubicBezTo>
                      <a:pt x="26549" y="-1722"/>
                      <a:pt x="34528" y="5418"/>
                      <a:pt x="42508" y="96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BE2B3DEA-454A-BA1F-2B3F-AB7A8700ECCA}"/>
                  </a:ext>
                </a:extLst>
              </p:cNvPr>
              <p:cNvSpPr/>
              <p:nvPr/>
            </p:nvSpPr>
            <p:spPr>
              <a:xfrm>
                <a:off x="4959743" y="2875616"/>
                <a:ext cx="34018" cy="49582"/>
              </a:xfrm>
              <a:custGeom>
                <a:avLst/>
                <a:gdLst>
                  <a:gd name="connsiteX0" fmla="*/ 0 w 34018"/>
                  <a:gd name="connsiteY0" fmla="*/ 41158 h 49582"/>
                  <a:gd name="connsiteX1" fmla="*/ 6720 w 34018"/>
                  <a:gd name="connsiteY1" fmla="*/ 20999 h 49582"/>
                  <a:gd name="connsiteX2" fmla="*/ 25619 w 34018"/>
                  <a:gd name="connsiteY2" fmla="*/ 0 h 49582"/>
                  <a:gd name="connsiteX3" fmla="*/ 34019 w 34018"/>
                  <a:gd name="connsiteY3" fmla="*/ 20579 h 49582"/>
                  <a:gd name="connsiteX4" fmla="*/ 11760 w 34018"/>
                  <a:gd name="connsiteY4" fmla="*/ 49558 h 49582"/>
                  <a:gd name="connsiteX5" fmla="*/ 0 w 34018"/>
                  <a:gd name="connsiteY5" fmla="*/ 41158 h 49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018" h="49582">
                    <a:moveTo>
                      <a:pt x="0" y="41158"/>
                    </a:moveTo>
                    <a:cubicBezTo>
                      <a:pt x="2520" y="33599"/>
                      <a:pt x="2940" y="26459"/>
                      <a:pt x="6720" y="20999"/>
                    </a:cubicBezTo>
                    <a:cubicBezTo>
                      <a:pt x="11760" y="13439"/>
                      <a:pt x="18899" y="6720"/>
                      <a:pt x="25619" y="0"/>
                    </a:cubicBezTo>
                    <a:cubicBezTo>
                      <a:pt x="28559" y="6720"/>
                      <a:pt x="34019" y="13859"/>
                      <a:pt x="34019" y="20579"/>
                    </a:cubicBezTo>
                    <a:cubicBezTo>
                      <a:pt x="33599" y="34439"/>
                      <a:pt x="29399" y="48298"/>
                      <a:pt x="11760" y="49558"/>
                    </a:cubicBezTo>
                    <a:cubicBezTo>
                      <a:pt x="7980" y="49978"/>
                      <a:pt x="4200" y="44938"/>
                      <a:pt x="0" y="411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70217D7A-91D3-4A05-99D5-AC125C983F66}"/>
                  </a:ext>
                </a:extLst>
              </p:cNvPr>
              <p:cNvSpPr/>
              <p:nvPr/>
            </p:nvSpPr>
            <p:spPr>
              <a:xfrm>
                <a:off x="5949220" y="2807159"/>
                <a:ext cx="36128" cy="44608"/>
              </a:xfrm>
              <a:custGeom>
                <a:avLst/>
                <a:gdLst>
                  <a:gd name="connsiteX0" fmla="*/ 19319 w 36128"/>
                  <a:gd name="connsiteY0" fmla="*/ 0 h 44608"/>
                  <a:gd name="connsiteX1" fmla="*/ 36118 w 36128"/>
                  <a:gd name="connsiteY1" fmla="*/ 28139 h 44608"/>
                  <a:gd name="connsiteX2" fmla="*/ 20159 w 36128"/>
                  <a:gd name="connsiteY2" fmla="*/ 44518 h 44608"/>
                  <a:gd name="connsiteX3" fmla="*/ 0 w 36128"/>
                  <a:gd name="connsiteY3" fmla="*/ 26459 h 44608"/>
                  <a:gd name="connsiteX4" fmla="*/ 19319 w 36128"/>
                  <a:gd name="connsiteY4" fmla="*/ 0 h 44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28" h="44608">
                    <a:moveTo>
                      <a:pt x="19319" y="0"/>
                    </a:moveTo>
                    <a:cubicBezTo>
                      <a:pt x="27299" y="12179"/>
                      <a:pt x="35279" y="20159"/>
                      <a:pt x="36118" y="28139"/>
                    </a:cubicBezTo>
                    <a:cubicBezTo>
                      <a:pt x="36538" y="33599"/>
                      <a:pt x="23939" y="45778"/>
                      <a:pt x="20159" y="44518"/>
                    </a:cubicBezTo>
                    <a:cubicBezTo>
                      <a:pt x="11759" y="41578"/>
                      <a:pt x="420" y="33178"/>
                      <a:pt x="0" y="26459"/>
                    </a:cubicBezTo>
                    <a:cubicBezTo>
                      <a:pt x="0" y="19319"/>
                      <a:pt x="10500" y="11339"/>
                      <a:pt x="1931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840972D8-02AC-9C2C-B9D2-90CAA1FEAD65}"/>
                  </a:ext>
                </a:extLst>
              </p:cNvPr>
              <p:cNvSpPr/>
              <p:nvPr/>
            </p:nvSpPr>
            <p:spPr>
              <a:xfrm>
                <a:off x="5372558" y="2833192"/>
                <a:ext cx="39504" cy="47101"/>
              </a:xfrm>
              <a:custGeom>
                <a:avLst/>
                <a:gdLst>
                  <a:gd name="connsiteX0" fmla="*/ 39505 w 39504"/>
                  <a:gd name="connsiteY0" fmla="*/ 6726 h 47101"/>
                  <a:gd name="connsiteX1" fmla="*/ 31945 w 39504"/>
                  <a:gd name="connsiteY1" fmla="*/ 24785 h 47101"/>
                  <a:gd name="connsiteX2" fmla="*/ 9686 w 39504"/>
                  <a:gd name="connsiteY2" fmla="*/ 46624 h 47101"/>
                  <a:gd name="connsiteX3" fmla="*/ 27 w 39504"/>
                  <a:gd name="connsiteY3" fmla="*/ 35705 h 47101"/>
                  <a:gd name="connsiteX4" fmla="*/ 30685 w 39504"/>
                  <a:gd name="connsiteY4" fmla="*/ 6 h 47101"/>
                  <a:gd name="connsiteX5" fmla="*/ 39505 w 39504"/>
                  <a:gd name="connsiteY5" fmla="*/ 6726 h 4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504" h="47101">
                    <a:moveTo>
                      <a:pt x="39505" y="6726"/>
                    </a:moveTo>
                    <a:cubicBezTo>
                      <a:pt x="36985" y="12606"/>
                      <a:pt x="34465" y="18485"/>
                      <a:pt x="31945" y="24785"/>
                    </a:cubicBezTo>
                    <a:cubicBezTo>
                      <a:pt x="27325" y="34865"/>
                      <a:pt x="26485" y="49984"/>
                      <a:pt x="9686" y="46624"/>
                    </a:cubicBezTo>
                    <a:cubicBezTo>
                      <a:pt x="5906" y="45784"/>
                      <a:pt x="446" y="39484"/>
                      <a:pt x="27" y="35705"/>
                    </a:cubicBezTo>
                    <a:cubicBezTo>
                      <a:pt x="-814" y="21005"/>
                      <a:pt x="18506" y="-414"/>
                      <a:pt x="30685" y="6"/>
                    </a:cubicBezTo>
                    <a:cubicBezTo>
                      <a:pt x="33205" y="6"/>
                      <a:pt x="35725" y="3786"/>
                      <a:pt x="39505" y="672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7E43EF7B-617D-D72B-1994-4B381B93EDF2}"/>
                  </a:ext>
                </a:extLst>
              </p:cNvPr>
              <p:cNvSpPr/>
              <p:nvPr/>
            </p:nvSpPr>
            <p:spPr>
              <a:xfrm>
                <a:off x="5315952" y="2329507"/>
                <a:ext cx="32503" cy="41710"/>
              </a:xfrm>
              <a:custGeom>
                <a:avLst/>
                <a:gdLst>
                  <a:gd name="connsiteX0" fmla="*/ 10435 w 32503"/>
                  <a:gd name="connsiteY0" fmla="*/ 41710 h 41710"/>
                  <a:gd name="connsiteX1" fmla="*/ 355 w 32503"/>
                  <a:gd name="connsiteY1" fmla="*/ 33731 h 41710"/>
                  <a:gd name="connsiteX2" fmla="*/ 4135 w 32503"/>
                  <a:gd name="connsiteY2" fmla="*/ 11472 h 41710"/>
                  <a:gd name="connsiteX3" fmla="*/ 23875 w 32503"/>
                  <a:gd name="connsiteY3" fmla="*/ 132 h 41710"/>
                  <a:gd name="connsiteX4" fmla="*/ 31854 w 32503"/>
                  <a:gd name="connsiteY4" fmla="*/ 4752 h 41710"/>
                  <a:gd name="connsiteX5" fmla="*/ 10435 w 32503"/>
                  <a:gd name="connsiteY5" fmla="*/ 41710 h 41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503" h="41710">
                    <a:moveTo>
                      <a:pt x="10435" y="41710"/>
                    </a:moveTo>
                    <a:cubicBezTo>
                      <a:pt x="7495" y="39610"/>
                      <a:pt x="355" y="37090"/>
                      <a:pt x="355" y="33731"/>
                    </a:cubicBezTo>
                    <a:cubicBezTo>
                      <a:pt x="-485" y="26171"/>
                      <a:pt x="-64" y="17351"/>
                      <a:pt x="4135" y="11472"/>
                    </a:cubicBezTo>
                    <a:cubicBezTo>
                      <a:pt x="7915" y="5592"/>
                      <a:pt x="16735" y="3072"/>
                      <a:pt x="23875" y="132"/>
                    </a:cubicBezTo>
                    <a:cubicBezTo>
                      <a:pt x="25554" y="-708"/>
                      <a:pt x="30594" y="2652"/>
                      <a:pt x="31854" y="4752"/>
                    </a:cubicBezTo>
                    <a:cubicBezTo>
                      <a:pt x="35634" y="14411"/>
                      <a:pt x="22195" y="39610"/>
                      <a:pt x="10435" y="4171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68F73A9D-122C-7F7D-9D69-6292234CC533}"/>
                  </a:ext>
                </a:extLst>
              </p:cNvPr>
              <p:cNvSpPr/>
              <p:nvPr/>
            </p:nvSpPr>
            <p:spPr>
              <a:xfrm>
                <a:off x="4899050" y="3232100"/>
                <a:ext cx="31823" cy="50478"/>
              </a:xfrm>
              <a:custGeom>
                <a:avLst/>
                <a:gdLst>
                  <a:gd name="connsiteX0" fmla="*/ 5255 w 31823"/>
                  <a:gd name="connsiteY0" fmla="*/ 50478 h 50478"/>
                  <a:gd name="connsiteX1" fmla="*/ 215 w 31823"/>
                  <a:gd name="connsiteY1" fmla="*/ 38299 h 50478"/>
                  <a:gd name="connsiteX2" fmla="*/ 20374 w 31823"/>
                  <a:gd name="connsiteY2" fmla="*/ 80 h 50478"/>
                  <a:gd name="connsiteX3" fmla="*/ 28774 w 31823"/>
                  <a:gd name="connsiteY3" fmla="*/ 3020 h 50478"/>
                  <a:gd name="connsiteX4" fmla="*/ 16174 w 31823"/>
                  <a:gd name="connsiteY4" fmla="*/ 48798 h 50478"/>
                  <a:gd name="connsiteX5" fmla="*/ 5255 w 31823"/>
                  <a:gd name="connsiteY5" fmla="*/ 50478 h 50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823" h="50478">
                    <a:moveTo>
                      <a:pt x="5255" y="50478"/>
                    </a:moveTo>
                    <a:cubicBezTo>
                      <a:pt x="3575" y="46699"/>
                      <a:pt x="-1045" y="41239"/>
                      <a:pt x="215" y="38299"/>
                    </a:cubicBezTo>
                    <a:cubicBezTo>
                      <a:pt x="6095" y="24859"/>
                      <a:pt x="13234" y="12260"/>
                      <a:pt x="20374" y="80"/>
                    </a:cubicBezTo>
                    <a:cubicBezTo>
                      <a:pt x="20794" y="-339"/>
                      <a:pt x="27514" y="920"/>
                      <a:pt x="28774" y="3020"/>
                    </a:cubicBezTo>
                    <a:cubicBezTo>
                      <a:pt x="35913" y="13520"/>
                      <a:pt x="30034" y="34939"/>
                      <a:pt x="16174" y="48798"/>
                    </a:cubicBezTo>
                    <a:cubicBezTo>
                      <a:pt x="14494" y="50058"/>
                      <a:pt x="9874" y="49639"/>
                      <a:pt x="5255" y="5047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7800058D-82F4-CB15-C051-2E3DA2F1DB42}"/>
                  </a:ext>
                </a:extLst>
              </p:cNvPr>
              <p:cNvSpPr/>
              <p:nvPr/>
            </p:nvSpPr>
            <p:spPr>
              <a:xfrm>
                <a:off x="6304909" y="3130916"/>
                <a:ext cx="45393" cy="35120"/>
              </a:xfrm>
              <a:custGeom>
                <a:avLst/>
                <a:gdLst>
                  <a:gd name="connsiteX0" fmla="*/ 45393 w 45393"/>
                  <a:gd name="connsiteY0" fmla="*/ 14329 h 35120"/>
                  <a:gd name="connsiteX1" fmla="*/ 23974 w 45393"/>
                  <a:gd name="connsiteY1" fmla="*/ 34068 h 35120"/>
                  <a:gd name="connsiteX2" fmla="*/ 35 w 45393"/>
                  <a:gd name="connsiteY2" fmla="*/ 14749 h 35120"/>
                  <a:gd name="connsiteX3" fmla="*/ 10115 w 45393"/>
                  <a:gd name="connsiteY3" fmla="*/ 49 h 35120"/>
                  <a:gd name="connsiteX4" fmla="*/ 45393 w 45393"/>
                  <a:gd name="connsiteY4" fmla="*/ 14329 h 35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393" h="35120">
                    <a:moveTo>
                      <a:pt x="45393" y="14329"/>
                    </a:moveTo>
                    <a:cubicBezTo>
                      <a:pt x="35734" y="23568"/>
                      <a:pt x="31114" y="31128"/>
                      <a:pt x="23974" y="34068"/>
                    </a:cubicBezTo>
                    <a:cubicBezTo>
                      <a:pt x="13475" y="38688"/>
                      <a:pt x="-805" y="27348"/>
                      <a:pt x="35" y="14749"/>
                    </a:cubicBezTo>
                    <a:cubicBezTo>
                      <a:pt x="455" y="9289"/>
                      <a:pt x="8015" y="-791"/>
                      <a:pt x="10115" y="49"/>
                    </a:cubicBezTo>
                    <a:cubicBezTo>
                      <a:pt x="20614" y="2149"/>
                      <a:pt x="30274" y="7609"/>
                      <a:pt x="45393" y="1432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7E678506-806C-6209-D7B9-DCC2246A67A3}"/>
                  </a:ext>
                </a:extLst>
              </p:cNvPr>
              <p:cNvSpPr/>
              <p:nvPr/>
            </p:nvSpPr>
            <p:spPr>
              <a:xfrm>
                <a:off x="6517289" y="2705715"/>
                <a:ext cx="45417" cy="31822"/>
              </a:xfrm>
              <a:custGeom>
                <a:avLst/>
                <a:gdLst>
                  <a:gd name="connsiteX0" fmla="*/ 36705 w 45417"/>
                  <a:gd name="connsiteY0" fmla="*/ 31726 h 31822"/>
                  <a:gd name="connsiteX1" fmla="*/ 167 w 45417"/>
                  <a:gd name="connsiteY1" fmla="*/ 9048 h 31822"/>
                  <a:gd name="connsiteX2" fmla="*/ 3527 w 45417"/>
                  <a:gd name="connsiteY2" fmla="*/ 1908 h 31822"/>
                  <a:gd name="connsiteX3" fmla="*/ 43845 w 45417"/>
                  <a:gd name="connsiteY3" fmla="*/ 16187 h 31822"/>
                  <a:gd name="connsiteX4" fmla="*/ 44685 w 45417"/>
                  <a:gd name="connsiteY4" fmla="*/ 25847 h 31822"/>
                  <a:gd name="connsiteX5" fmla="*/ 36705 w 45417"/>
                  <a:gd name="connsiteY5" fmla="*/ 31726 h 3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417" h="31822">
                    <a:moveTo>
                      <a:pt x="36705" y="31726"/>
                    </a:moveTo>
                    <a:cubicBezTo>
                      <a:pt x="19486" y="32986"/>
                      <a:pt x="9407" y="21647"/>
                      <a:pt x="167" y="9048"/>
                    </a:cubicBezTo>
                    <a:cubicBezTo>
                      <a:pt x="-673" y="7787"/>
                      <a:pt x="1847" y="2748"/>
                      <a:pt x="3527" y="1908"/>
                    </a:cubicBezTo>
                    <a:cubicBezTo>
                      <a:pt x="16126" y="-3552"/>
                      <a:pt x="35025" y="3168"/>
                      <a:pt x="43845" y="16187"/>
                    </a:cubicBezTo>
                    <a:cubicBezTo>
                      <a:pt x="45525" y="18707"/>
                      <a:pt x="45945" y="23327"/>
                      <a:pt x="44685" y="25847"/>
                    </a:cubicBezTo>
                    <a:cubicBezTo>
                      <a:pt x="43845" y="28367"/>
                      <a:pt x="39645" y="29627"/>
                      <a:pt x="36705" y="3172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D9B339E3-E5C7-3CBA-D2B8-03592B391D95}"/>
                  </a:ext>
                </a:extLst>
              </p:cNvPr>
              <p:cNvSpPr/>
              <p:nvPr/>
            </p:nvSpPr>
            <p:spPr>
              <a:xfrm>
                <a:off x="5783327" y="2742003"/>
                <a:ext cx="43692" cy="34198"/>
              </a:xfrm>
              <a:custGeom>
                <a:avLst/>
                <a:gdLst>
                  <a:gd name="connsiteX0" fmla="*/ 0 w 43692"/>
                  <a:gd name="connsiteY0" fmla="*/ 25678 h 34198"/>
                  <a:gd name="connsiteX1" fmla="*/ 2100 w 43692"/>
                  <a:gd name="connsiteY1" fmla="*/ 17278 h 34198"/>
                  <a:gd name="connsiteX2" fmla="*/ 32759 w 43692"/>
                  <a:gd name="connsiteY2" fmla="*/ 59 h 34198"/>
                  <a:gd name="connsiteX3" fmla="*/ 43678 w 43692"/>
                  <a:gd name="connsiteY3" fmla="*/ 8459 h 34198"/>
                  <a:gd name="connsiteX4" fmla="*/ 28139 w 43692"/>
                  <a:gd name="connsiteY4" fmla="*/ 31558 h 34198"/>
                  <a:gd name="connsiteX5" fmla="*/ 5460 w 43692"/>
                  <a:gd name="connsiteY5" fmla="*/ 33658 h 34198"/>
                  <a:gd name="connsiteX6" fmla="*/ 0 w 43692"/>
                  <a:gd name="connsiteY6" fmla="*/ 25678 h 3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692" h="34198">
                    <a:moveTo>
                      <a:pt x="0" y="25678"/>
                    </a:moveTo>
                    <a:cubicBezTo>
                      <a:pt x="840" y="22738"/>
                      <a:pt x="420" y="18538"/>
                      <a:pt x="2100" y="17278"/>
                    </a:cubicBezTo>
                    <a:cubicBezTo>
                      <a:pt x="12180" y="10978"/>
                      <a:pt x="22259" y="4679"/>
                      <a:pt x="32759" y="59"/>
                    </a:cubicBezTo>
                    <a:cubicBezTo>
                      <a:pt x="34858" y="-781"/>
                      <a:pt x="44098" y="7619"/>
                      <a:pt x="43678" y="8459"/>
                    </a:cubicBezTo>
                    <a:cubicBezTo>
                      <a:pt x="39478" y="16858"/>
                      <a:pt x="35279" y="26098"/>
                      <a:pt x="28139" y="31558"/>
                    </a:cubicBezTo>
                    <a:cubicBezTo>
                      <a:pt x="22679" y="35337"/>
                      <a:pt x="13439" y="34077"/>
                      <a:pt x="5460" y="33658"/>
                    </a:cubicBezTo>
                    <a:cubicBezTo>
                      <a:pt x="4200" y="33237"/>
                      <a:pt x="2100" y="28618"/>
                      <a:pt x="0" y="2567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B4812184-E478-7483-B8A8-A71B1C272E2D}"/>
                  </a:ext>
                </a:extLst>
              </p:cNvPr>
              <p:cNvSpPr/>
              <p:nvPr/>
            </p:nvSpPr>
            <p:spPr>
              <a:xfrm>
                <a:off x="5916444" y="1820201"/>
                <a:ext cx="30874" cy="53410"/>
              </a:xfrm>
              <a:custGeom>
                <a:avLst/>
                <a:gdLst>
                  <a:gd name="connsiteX0" fmla="*/ 24377 w 30874"/>
                  <a:gd name="connsiteY0" fmla="*/ 0 h 53410"/>
                  <a:gd name="connsiteX1" fmla="*/ 29836 w 30874"/>
                  <a:gd name="connsiteY1" fmla="*/ 7140 h 53410"/>
                  <a:gd name="connsiteX2" fmla="*/ 8417 w 30874"/>
                  <a:gd name="connsiteY2" fmla="*/ 53338 h 53410"/>
                  <a:gd name="connsiteX3" fmla="*/ 18 w 30874"/>
                  <a:gd name="connsiteY3" fmla="*/ 46618 h 53410"/>
                  <a:gd name="connsiteX4" fmla="*/ 20177 w 30874"/>
                  <a:gd name="connsiteY4" fmla="*/ 2520 h 53410"/>
                  <a:gd name="connsiteX5" fmla="*/ 24377 w 30874"/>
                  <a:gd name="connsiteY5" fmla="*/ 0 h 53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74" h="53410">
                    <a:moveTo>
                      <a:pt x="24377" y="0"/>
                    </a:moveTo>
                    <a:cubicBezTo>
                      <a:pt x="26477" y="2100"/>
                      <a:pt x="29417" y="4200"/>
                      <a:pt x="29836" y="7140"/>
                    </a:cubicBezTo>
                    <a:cubicBezTo>
                      <a:pt x="34036" y="26039"/>
                      <a:pt x="25217" y="45778"/>
                      <a:pt x="8417" y="53338"/>
                    </a:cubicBezTo>
                    <a:cubicBezTo>
                      <a:pt x="6737" y="54178"/>
                      <a:pt x="-402" y="47458"/>
                      <a:pt x="18" y="46618"/>
                    </a:cubicBezTo>
                    <a:cubicBezTo>
                      <a:pt x="6318" y="31499"/>
                      <a:pt x="13037" y="16799"/>
                      <a:pt x="20177" y="2520"/>
                    </a:cubicBezTo>
                    <a:cubicBezTo>
                      <a:pt x="20597" y="840"/>
                      <a:pt x="22697" y="840"/>
                      <a:pt x="24377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BC7AC26F-FE36-7C42-2739-2465E81AA6D7}"/>
                  </a:ext>
                </a:extLst>
              </p:cNvPr>
              <p:cNvSpPr/>
              <p:nvPr/>
            </p:nvSpPr>
            <p:spPr>
              <a:xfrm>
                <a:off x="6565682" y="3398493"/>
                <a:ext cx="31481" cy="49593"/>
              </a:xfrm>
              <a:custGeom>
                <a:avLst/>
                <a:gdLst>
                  <a:gd name="connsiteX0" fmla="*/ 21071 w 31481"/>
                  <a:gd name="connsiteY0" fmla="*/ 0 h 49593"/>
                  <a:gd name="connsiteX1" fmla="*/ 29891 w 31481"/>
                  <a:gd name="connsiteY1" fmla="*/ 8820 h 49593"/>
                  <a:gd name="connsiteX2" fmla="*/ 29891 w 31481"/>
                  <a:gd name="connsiteY2" fmla="*/ 23939 h 49593"/>
                  <a:gd name="connsiteX3" fmla="*/ 8472 w 31481"/>
                  <a:gd name="connsiteY3" fmla="*/ 49558 h 49593"/>
                  <a:gd name="connsiteX4" fmla="*/ 912 w 31481"/>
                  <a:gd name="connsiteY4" fmla="*/ 44518 h 49593"/>
                  <a:gd name="connsiteX5" fmla="*/ 21071 w 31481"/>
                  <a:gd name="connsiteY5" fmla="*/ 0 h 4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481" h="49593">
                    <a:moveTo>
                      <a:pt x="21071" y="0"/>
                    </a:moveTo>
                    <a:cubicBezTo>
                      <a:pt x="23591" y="2520"/>
                      <a:pt x="28631" y="5040"/>
                      <a:pt x="29891" y="8820"/>
                    </a:cubicBezTo>
                    <a:cubicBezTo>
                      <a:pt x="31571" y="13439"/>
                      <a:pt x="32411" y="20159"/>
                      <a:pt x="29891" y="23939"/>
                    </a:cubicBezTo>
                    <a:cubicBezTo>
                      <a:pt x="24011" y="33178"/>
                      <a:pt x="16031" y="41578"/>
                      <a:pt x="8472" y="49558"/>
                    </a:cubicBezTo>
                    <a:cubicBezTo>
                      <a:pt x="8052" y="49978"/>
                      <a:pt x="1752" y="46618"/>
                      <a:pt x="912" y="44518"/>
                    </a:cubicBezTo>
                    <a:cubicBezTo>
                      <a:pt x="-3288" y="30659"/>
                      <a:pt x="7632" y="5040"/>
                      <a:pt x="2107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74E89E91-D209-9A55-DD2B-14D110E36C11}"/>
                  </a:ext>
                </a:extLst>
              </p:cNvPr>
              <p:cNvSpPr/>
              <p:nvPr/>
            </p:nvSpPr>
            <p:spPr>
              <a:xfrm>
                <a:off x="6231868" y="2419096"/>
                <a:ext cx="38638" cy="34858"/>
              </a:xfrm>
              <a:custGeom>
                <a:avLst/>
                <a:gdLst>
                  <a:gd name="connsiteX0" fmla="*/ 19319 w 38638"/>
                  <a:gd name="connsiteY0" fmla="*/ 0 h 34858"/>
                  <a:gd name="connsiteX1" fmla="*/ 38638 w 38638"/>
                  <a:gd name="connsiteY1" fmla="*/ 15119 h 34858"/>
                  <a:gd name="connsiteX2" fmla="*/ 19739 w 38638"/>
                  <a:gd name="connsiteY2" fmla="*/ 34858 h 34858"/>
                  <a:gd name="connsiteX3" fmla="*/ 0 w 38638"/>
                  <a:gd name="connsiteY3" fmla="*/ 15539 h 34858"/>
                  <a:gd name="connsiteX4" fmla="*/ 19319 w 38638"/>
                  <a:gd name="connsiteY4" fmla="*/ 0 h 34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638" h="34858">
                    <a:moveTo>
                      <a:pt x="19319" y="0"/>
                    </a:moveTo>
                    <a:cubicBezTo>
                      <a:pt x="26879" y="6300"/>
                      <a:pt x="32759" y="10500"/>
                      <a:pt x="38638" y="15119"/>
                    </a:cubicBezTo>
                    <a:cubicBezTo>
                      <a:pt x="32339" y="21839"/>
                      <a:pt x="26039" y="28559"/>
                      <a:pt x="19739" y="34858"/>
                    </a:cubicBezTo>
                    <a:cubicBezTo>
                      <a:pt x="13020" y="28559"/>
                      <a:pt x="6720" y="21839"/>
                      <a:pt x="0" y="15539"/>
                    </a:cubicBezTo>
                    <a:cubicBezTo>
                      <a:pt x="5880" y="10919"/>
                      <a:pt x="11759" y="6300"/>
                      <a:pt x="1931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A844F7CB-E6B1-E05D-7F8B-4F5C240ADB88}"/>
                  </a:ext>
                </a:extLst>
              </p:cNvPr>
              <p:cNvSpPr/>
              <p:nvPr/>
            </p:nvSpPr>
            <p:spPr>
              <a:xfrm>
                <a:off x="6151261" y="3049488"/>
                <a:ext cx="34460" cy="53757"/>
              </a:xfrm>
              <a:custGeom>
                <a:avLst/>
                <a:gdLst>
                  <a:gd name="connsiteX0" fmla="*/ 12150 w 34460"/>
                  <a:gd name="connsiteY0" fmla="*/ 0 h 53757"/>
                  <a:gd name="connsiteX1" fmla="*/ 34409 w 34460"/>
                  <a:gd name="connsiteY1" fmla="*/ 39898 h 53757"/>
                  <a:gd name="connsiteX2" fmla="*/ 20969 w 34460"/>
                  <a:gd name="connsiteY2" fmla="*/ 53758 h 53757"/>
                  <a:gd name="connsiteX3" fmla="*/ 391 w 34460"/>
                  <a:gd name="connsiteY3" fmla="*/ 26879 h 53757"/>
                  <a:gd name="connsiteX4" fmla="*/ 12150 w 34460"/>
                  <a:gd name="connsiteY4" fmla="*/ 0 h 53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60" h="53757">
                    <a:moveTo>
                      <a:pt x="12150" y="0"/>
                    </a:moveTo>
                    <a:cubicBezTo>
                      <a:pt x="24749" y="21419"/>
                      <a:pt x="31469" y="30239"/>
                      <a:pt x="34409" y="39898"/>
                    </a:cubicBezTo>
                    <a:cubicBezTo>
                      <a:pt x="35249" y="42838"/>
                      <a:pt x="25589" y="49138"/>
                      <a:pt x="20969" y="53758"/>
                    </a:cubicBezTo>
                    <a:cubicBezTo>
                      <a:pt x="13830" y="44938"/>
                      <a:pt x="5010" y="36538"/>
                      <a:pt x="391" y="26879"/>
                    </a:cubicBezTo>
                    <a:cubicBezTo>
                      <a:pt x="-1709" y="22679"/>
                      <a:pt x="5010" y="14699"/>
                      <a:pt x="12150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6904701A-6E74-0FCE-4A27-DDD65803A2F0}"/>
                  </a:ext>
                </a:extLst>
              </p:cNvPr>
              <p:cNvSpPr/>
              <p:nvPr/>
            </p:nvSpPr>
            <p:spPr>
              <a:xfrm>
                <a:off x="6369202" y="2299821"/>
                <a:ext cx="28170" cy="47038"/>
              </a:xfrm>
              <a:custGeom>
                <a:avLst/>
                <a:gdLst>
                  <a:gd name="connsiteX0" fmla="*/ 20999 w 28170"/>
                  <a:gd name="connsiteY0" fmla="*/ 47038 h 47038"/>
                  <a:gd name="connsiteX1" fmla="*/ 0 w 28170"/>
                  <a:gd name="connsiteY1" fmla="*/ 19739 h 47038"/>
                  <a:gd name="connsiteX2" fmla="*/ 16799 w 28170"/>
                  <a:gd name="connsiteY2" fmla="*/ 0 h 47038"/>
                  <a:gd name="connsiteX3" fmla="*/ 28139 w 28170"/>
                  <a:gd name="connsiteY3" fmla="*/ 13439 h 47038"/>
                  <a:gd name="connsiteX4" fmla="*/ 20999 w 28170"/>
                  <a:gd name="connsiteY4" fmla="*/ 47038 h 47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70" h="47038">
                    <a:moveTo>
                      <a:pt x="20999" y="47038"/>
                    </a:moveTo>
                    <a:cubicBezTo>
                      <a:pt x="10080" y="33599"/>
                      <a:pt x="0" y="26879"/>
                      <a:pt x="0" y="19739"/>
                    </a:cubicBezTo>
                    <a:cubicBezTo>
                      <a:pt x="0" y="13020"/>
                      <a:pt x="10919" y="6720"/>
                      <a:pt x="16799" y="0"/>
                    </a:cubicBezTo>
                    <a:cubicBezTo>
                      <a:pt x="20579" y="4620"/>
                      <a:pt x="27719" y="8820"/>
                      <a:pt x="28139" y="13439"/>
                    </a:cubicBezTo>
                    <a:cubicBezTo>
                      <a:pt x="28559" y="21839"/>
                      <a:pt x="24779" y="30239"/>
                      <a:pt x="20999" y="4703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C1C76D14-1D52-6375-626E-9CC9BC523160}"/>
                  </a:ext>
                </a:extLst>
              </p:cNvPr>
              <p:cNvSpPr/>
              <p:nvPr/>
            </p:nvSpPr>
            <p:spPr>
              <a:xfrm>
                <a:off x="5633276" y="2260286"/>
                <a:ext cx="42115" cy="35547"/>
              </a:xfrm>
              <a:custGeom>
                <a:avLst/>
                <a:gdLst>
                  <a:gd name="connsiteX0" fmla="*/ 42116 w 42115"/>
                  <a:gd name="connsiteY0" fmla="*/ 23155 h 35547"/>
                  <a:gd name="connsiteX1" fmla="*/ 21957 w 42115"/>
                  <a:gd name="connsiteY1" fmla="*/ 35334 h 35547"/>
                  <a:gd name="connsiteX2" fmla="*/ 538 w 42115"/>
                  <a:gd name="connsiteY2" fmla="*/ 13495 h 35547"/>
                  <a:gd name="connsiteX3" fmla="*/ 13977 w 42115"/>
                  <a:gd name="connsiteY3" fmla="*/ 56 h 35547"/>
                  <a:gd name="connsiteX4" fmla="*/ 42116 w 42115"/>
                  <a:gd name="connsiteY4" fmla="*/ 23155 h 35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115" h="35547">
                    <a:moveTo>
                      <a:pt x="42116" y="23155"/>
                    </a:moveTo>
                    <a:cubicBezTo>
                      <a:pt x="33296" y="29035"/>
                      <a:pt x="27837" y="34494"/>
                      <a:pt x="21957" y="35334"/>
                    </a:cubicBezTo>
                    <a:cubicBezTo>
                      <a:pt x="10197" y="37434"/>
                      <a:pt x="-2822" y="23575"/>
                      <a:pt x="538" y="13495"/>
                    </a:cubicBezTo>
                    <a:cubicBezTo>
                      <a:pt x="2638" y="8035"/>
                      <a:pt x="12717" y="-784"/>
                      <a:pt x="13977" y="56"/>
                    </a:cubicBezTo>
                    <a:cubicBezTo>
                      <a:pt x="23637" y="5516"/>
                      <a:pt x="31196" y="13495"/>
                      <a:pt x="42116" y="231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D1250B52-6107-F6DD-C665-83620D8AB6C7}"/>
                  </a:ext>
                </a:extLst>
              </p:cNvPr>
              <p:cNvSpPr/>
              <p:nvPr/>
            </p:nvSpPr>
            <p:spPr>
              <a:xfrm>
                <a:off x="5549397" y="2666465"/>
                <a:ext cx="36538" cy="39058"/>
              </a:xfrm>
              <a:custGeom>
                <a:avLst/>
                <a:gdLst>
                  <a:gd name="connsiteX0" fmla="*/ 36538 w 36538"/>
                  <a:gd name="connsiteY0" fmla="*/ 18059 h 39058"/>
                  <a:gd name="connsiteX1" fmla="*/ 11759 w 36538"/>
                  <a:gd name="connsiteY1" fmla="*/ 39058 h 39058"/>
                  <a:gd name="connsiteX2" fmla="*/ 0 w 36538"/>
                  <a:gd name="connsiteY2" fmla="*/ 20579 h 39058"/>
                  <a:gd name="connsiteX3" fmla="*/ 9660 w 36538"/>
                  <a:gd name="connsiteY3" fmla="*/ 0 h 39058"/>
                  <a:gd name="connsiteX4" fmla="*/ 36538 w 36538"/>
                  <a:gd name="connsiteY4" fmla="*/ 18059 h 39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38" h="39058">
                    <a:moveTo>
                      <a:pt x="36538" y="18059"/>
                    </a:moveTo>
                    <a:cubicBezTo>
                      <a:pt x="25619" y="27299"/>
                      <a:pt x="18479" y="33178"/>
                      <a:pt x="11759" y="39058"/>
                    </a:cubicBezTo>
                    <a:cubicBezTo>
                      <a:pt x="7560" y="32759"/>
                      <a:pt x="420" y="26879"/>
                      <a:pt x="0" y="20579"/>
                    </a:cubicBezTo>
                    <a:cubicBezTo>
                      <a:pt x="0" y="13859"/>
                      <a:pt x="6300" y="6720"/>
                      <a:pt x="9660" y="0"/>
                    </a:cubicBezTo>
                    <a:cubicBezTo>
                      <a:pt x="17219" y="5040"/>
                      <a:pt x="24779" y="10079"/>
                      <a:pt x="36538" y="180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23889D9D-8ECD-18EE-25B3-1B7D3BF0D4F5}"/>
                  </a:ext>
                </a:extLst>
              </p:cNvPr>
              <p:cNvSpPr/>
              <p:nvPr/>
            </p:nvSpPr>
            <p:spPr>
              <a:xfrm>
                <a:off x="6297469" y="2155266"/>
                <a:ext cx="41914" cy="37908"/>
              </a:xfrm>
              <a:custGeom>
                <a:avLst/>
                <a:gdLst>
                  <a:gd name="connsiteX0" fmla="*/ 41914 w 41914"/>
                  <a:gd name="connsiteY0" fmla="*/ 29480 h 37908"/>
                  <a:gd name="connsiteX1" fmla="*/ 19235 w 41914"/>
                  <a:gd name="connsiteY1" fmla="*/ 37879 h 37908"/>
                  <a:gd name="connsiteX2" fmla="*/ 336 w 41914"/>
                  <a:gd name="connsiteY2" fmla="*/ 8901 h 37908"/>
                  <a:gd name="connsiteX3" fmla="*/ 10836 w 41914"/>
                  <a:gd name="connsiteY3" fmla="*/ 81 h 37908"/>
                  <a:gd name="connsiteX4" fmla="*/ 41914 w 41914"/>
                  <a:gd name="connsiteY4" fmla="*/ 29480 h 3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14" h="37908">
                    <a:moveTo>
                      <a:pt x="41914" y="29480"/>
                    </a:moveTo>
                    <a:cubicBezTo>
                      <a:pt x="30155" y="34099"/>
                      <a:pt x="24695" y="38299"/>
                      <a:pt x="19235" y="37879"/>
                    </a:cubicBezTo>
                    <a:cubicBezTo>
                      <a:pt x="9996" y="37459"/>
                      <a:pt x="-2184" y="18560"/>
                      <a:pt x="336" y="8901"/>
                    </a:cubicBezTo>
                    <a:cubicBezTo>
                      <a:pt x="1596" y="5121"/>
                      <a:pt x="9996" y="-759"/>
                      <a:pt x="10836" y="81"/>
                    </a:cubicBezTo>
                    <a:cubicBezTo>
                      <a:pt x="20495" y="8061"/>
                      <a:pt x="29315" y="16880"/>
                      <a:pt x="41914" y="294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54E7A5B5-27E0-CF28-F601-CD056C42E202}"/>
                  </a:ext>
                </a:extLst>
              </p:cNvPr>
              <p:cNvSpPr/>
              <p:nvPr/>
            </p:nvSpPr>
            <p:spPr>
              <a:xfrm>
                <a:off x="5802646" y="3158118"/>
                <a:ext cx="47878" cy="30017"/>
              </a:xfrm>
              <a:custGeom>
                <a:avLst/>
                <a:gdLst>
                  <a:gd name="connsiteX0" fmla="*/ 47878 w 47878"/>
                  <a:gd name="connsiteY0" fmla="*/ 13165 h 30017"/>
                  <a:gd name="connsiteX1" fmla="*/ 21419 w 47878"/>
                  <a:gd name="connsiteY1" fmla="*/ 29964 h 30017"/>
                  <a:gd name="connsiteX2" fmla="*/ 0 w 47878"/>
                  <a:gd name="connsiteY2" fmla="*/ 14005 h 30017"/>
                  <a:gd name="connsiteX3" fmla="*/ 24359 w 47878"/>
                  <a:gd name="connsiteY3" fmla="*/ 145 h 30017"/>
                  <a:gd name="connsiteX4" fmla="*/ 47878 w 47878"/>
                  <a:gd name="connsiteY4" fmla="*/ 13165 h 30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878" h="30017">
                    <a:moveTo>
                      <a:pt x="47878" y="13165"/>
                    </a:moveTo>
                    <a:cubicBezTo>
                      <a:pt x="35279" y="21564"/>
                      <a:pt x="27719" y="30804"/>
                      <a:pt x="21419" y="29964"/>
                    </a:cubicBezTo>
                    <a:cubicBezTo>
                      <a:pt x="13860" y="29124"/>
                      <a:pt x="7140" y="19465"/>
                      <a:pt x="0" y="14005"/>
                    </a:cubicBezTo>
                    <a:cubicBezTo>
                      <a:pt x="7980" y="8965"/>
                      <a:pt x="15539" y="1826"/>
                      <a:pt x="24359" y="145"/>
                    </a:cubicBezTo>
                    <a:cubicBezTo>
                      <a:pt x="28979" y="-1114"/>
                      <a:pt x="35698" y="6025"/>
                      <a:pt x="47878" y="1316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8DF5ED6F-7107-7C22-9BC7-53468C5775A2}"/>
                  </a:ext>
                </a:extLst>
              </p:cNvPr>
              <p:cNvSpPr/>
              <p:nvPr/>
            </p:nvSpPr>
            <p:spPr>
              <a:xfrm>
                <a:off x="5972686" y="2698250"/>
                <a:ext cx="42051" cy="29531"/>
              </a:xfrm>
              <a:custGeom>
                <a:avLst/>
                <a:gdLst>
                  <a:gd name="connsiteX0" fmla="*/ 42051 w 42051"/>
                  <a:gd name="connsiteY0" fmla="*/ 20292 h 29531"/>
                  <a:gd name="connsiteX1" fmla="*/ 19792 w 42051"/>
                  <a:gd name="connsiteY1" fmla="*/ 29532 h 29531"/>
                  <a:gd name="connsiteX2" fmla="*/ 53 w 42051"/>
                  <a:gd name="connsiteY2" fmla="*/ 11473 h 29531"/>
                  <a:gd name="connsiteX3" fmla="*/ 14333 w 42051"/>
                  <a:gd name="connsiteY3" fmla="*/ 133 h 29531"/>
                  <a:gd name="connsiteX4" fmla="*/ 42051 w 42051"/>
                  <a:gd name="connsiteY4" fmla="*/ 20292 h 2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51" h="29531">
                    <a:moveTo>
                      <a:pt x="42051" y="20292"/>
                    </a:moveTo>
                    <a:cubicBezTo>
                      <a:pt x="30712" y="25332"/>
                      <a:pt x="25252" y="29532"/>
                      <a:pt x="19792" y="29532"/>
                    </a:cubicBezTo>
                    <a:cubicBezTo>
                      <a:pt x="8453" y="29532"/>
                      <a:pt x="-787" y="23652"/>
                      <a:pt x="53" y="11473"/>
                    </a:cubicBezTo>
                    <a:cubicBezTo>
                      <a:pt x="473" y="6853"/>
                      <a:pt x="11393" y="-1127"/>
                      <a:pt x="14333" y="133"/>
                    </a:cubicBezTo>
                    <a:cubicBezTo>
                      <a:pt x="22312" y="3073"/>
                      <a:pt x="29452" y="10633"/>
                      <a:pt x="42051" y="2029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F39D7369-A3CD-E0D3-B1F9-62983825EF68}"/>
                  </a:ext>
                </a:extLst>
              </p:cNvPr>
              <p:cNvSpPr/>
              <p:nvPr/>
            </p:nvSpPr>
            <p:spPr>
              <a:xfrm>
                <a:off x="5537556" y="2080775"/>
                <a:ext cx="21774" cy="46012"/>
              </a:xfrm>
              <a:custGeom>
                <a:avLst/>
                <a:gdLst>
                  <a:gd name="connsiteX0" fmla="*/ 21500 w 21774"/>
                  <a:gd name="connsiteY0" fmla="*/ 22074 h 46012"/>
                  <a:gd name="connsiteX1" fmla="*/ 21080 w 21774"/>
                  <a:gd name="connsiteY1" fmla="*/ 35933 h 46012"/>
                  <a:gd name="connsiteX2" fmla="*/ 13521 w 21774"/>
                  <a:gd name="connsiteY2" fmla="*/ 46013 h 46012"/>
                  <a:gd name="connsiteX3" fmla="*/ 2601 w 21774"/>
                  <a:gd name="connsiteY3" fmla="*/ 35933 h 46012"/>
                  <a:gd name="connsiteX4" fmla="*/ 81 w 21774"/>
                  <a:gd name="connsiteY4" fmla="*/ 26274 h 46012"/>
                  <a:gd name="connsiteX5" fmla="*/ 7221 w 21774"/>
                  <a:gd name="connsiteY5" fmla="*/ 235 h 46012"/>
                  <a:gd name="connsiteX6" fmla="*/ 21500 w 21774"/>
                  <a:gd name="connsiteY6" fmla="*/ 22074 h 46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774" h="46012">
                    <a:moveTo>
                      <a:pt x="21500" y="22074"/>
                    </a:moveTo>
                    <a:cubicBezTo>
                      <a:pt x="21500" y="29213"/>
                      <a:pt x="22340" y="32993"/>
                      <a:pt x="21080" y="35933"/>
                    </a:cubicBezTo>
                    <a:cubicBezTo>
                      <a:pt x="19400" y="39713"/>
                      <a:pt x="16041" y="42653"/>
                      <a:pt x="13521" y="46013"/>
                    </a:cubicBezTo>
                    <a:cubicBezTo>
                      <a:pt x="9741" y="42653"/>
                      <a:pt x="5541" y="39713"/>
                      <a:pt x="2601" y="35933"/>
                    </a:cubicBezTo>
                    <a:cubicBezTo>
                      <a:pt x="921" y="33413"/>
                      <a:pt x="-339" y="29213"/>
                      <a:pt x="81" y="26274"/>
                    </a:cubicBezTo>
                    <a:cubicBezTo>
                      <a:pt x="1761" y="17034"/>
                      <a:pt x="4281" y="235"/>
                      <a:pt x="7221" y="235"/>
                    </a:cubicBezTo>
                    <a:cubicBezTo>
                      <a:pt x="28640" y="-2285"/>
                      <a:pt x="17301" y="16194"/>
                      <a:pt x="21500" y="2207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9C267842-5A0D-1948-5099-69EED955F75E}"/>
                  </a:ext>
                </a:extLst>
              </p:cNvPr>
              <p:cNvSpPr/>
              <p:nvPr/>
            </p:nvSpPr>
            <p:spPr>
              <a:xfrm>
                <a:off x="6461802" y="3097290"/>
                <a:ext cx="30099" cy="47533"/>
              </a:xfrm>
              <a:custGeom>
                <a:avLst/>
                <a:gdLst>
                  <a:gd name="connsiteX0" fmla="*/ 12816 w 30099"/>
                  <a:gd name="connsiteY0" fmla="*/ 47534 h 47533"/>
                  <a:gd name="connsiteX1" fmla="*/ 636 w 30099"/>
                  <a:gd name="connsiteY1" fmla="*/ 23595 h 47533"/>
                  <a:gd name="connsiteX2" fmla="*/ 19115 w 30099"/>
                  <a:gd name="connsiteY2" fmla="*/ 76 h 47533"/>
                  <a:gd name="connsiteX3" fmla="*/ 30035 w 30099"/>
                  <a:gd name="connsiteY3" fmla="*/ 12255 h 47533"/>
                  <a:gd name="connsiteX4" fmla="*/ 12816 w 30099"/>
                  <a:gd name="connsiteY4" fmla="*/ 47534 h 47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099" h="47533">
                    <a:moveTo>
                      <a:pt x="12816" y="47534"/>
                    </a:moveTo>
                    <a:cubicBezTo>
                      <a:pt x="6516" y="35355"/>
                      <a:pt x="2736" y="29895"/>
                      <a:pt x="636" y="23595"/>
                    </a:cubicBezTo>
                    <a:cubicBezTo>
                      <a:pt x="-2724" y="13515"/>
                      <a:pt x="7776" y="-1184"/>
                      <a:pt x="19115" y="76"/>
                    </a:cubicBezTo>
                    <a:cubicBezTo>
                      <a:pt x="23315" y="496"/>
                      <a:pt x="30875" y="8895"/>
                      <a:pt x="30035" y="12255"/>
                    </a:cubicBezTo>
                    <a:cubicBezTo>
                      <a:pt x="27935" y="20655"/>
                      <a:pt x="22475" y="28635"/>
                      <a:pt x="12816" y="4753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F671F39F-AB27-A87F-4292-63A935C209C6}"/>
                  </a:ext>
                </a:extLst>
              </p:cNvPr>
              <p:cNvSpPr/>
              <p:nvPr/>
            </p:nvSpPr>
            <p:spPr>
              <a:xfrm>
                <a:off x="5538306" y="3089276"/>
                <a:ext cx="32372" cy="42528"/>
              </a:xfrm>
              <a:custGeom>
                <a:avLst/>
                <a:gdLst>
                  <a:gd name="connsiteX0" fmla="*/ 31250 w 32372"/>
                  <a:gd name="connsiteY0" fmla="*/ 4730 h 42528"/>
                  <a:gd name="connsiteX1" fmla="*/ 32090 w 32372"/>
                  <a:gd name="connsiteY1" fmla="*/ 12290 h 42528"/>
                  <a:gd name="connsiteX2" fmla="*/ 7311 w 32372"/>
                  <a:gd name="connsiteY2" fmla="*/ 42528 h 42528"/>
                  <a:gd name="connsiteX3" fmla="*/ 1012 w 32372"/>
                  <a:gd name="connsiteY3" fmla="*/ 36649 h 42528"/>
                  <a:gd name="connsiteX4" fmla="*/ 22011 w 32372"/>
                  <a:gd name="connsiteY4" fmla="*/ 110 h 42528"/>
                  <a:gd name="connsiteX5" fmla="*/ 31250 w 32372"/>
                  <a:gd name="connsiteY5" fmla="*/ 4730 h 42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372" h="42528">
                    <a:moveTo>
                      <a:pt x="31250" y="4730"/>
                    </a:moveTo>
                    <a:cubicBezTo>
                      <a:pt x="31670" y="9350"/>
                      <a:pt x="32930" y="11450"/>
                      <a:pt x="32090" y="12290"/>
                    </a:cubicBezTo>
                    <a:cubicBezTo>
                      <a:pt x="24111" y="22369"/>
                      <a:pt x="15711" y="32449"/>
                      <a:pt x="7311" y="42528"/>
                    </a:cubicBezTo>
                    <a:cubicBezTo>
                      <a:pt x="5211" y="40429"/>
                      <a:pt x="1851" y="39169"/>
                      <a:pt x="1012" y="36649"/>
                    </a:cubicBezTo>
                    <a:cubicBezTo>
                      <a:pt x="-3188" y="23209"/>
                      <a:pt x="6051" y="7250"/>
                      <a:pt x="22011" y="110"/>
                    </a:cubicBezTo>
                    <a:cubicBezTo>
                      <a:pt x="24530" y="-730"/>
                      <a:pt x="29150" y="3470"/>
                      <a:pt x="31250" y="47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3E01ACDF-07C2-0F03-7BDE-D12716E5928C}"/>
                  </a:ext>
                </a:extLst>
              </p:cNvPr>
              <p:cNvSpPr/>
              <p:nvPr/>
            </p:nvSpPr>
            <p:spPr>
              <a:xfrm>
                <a:off x="6283106" y="3022551"/>
                <a:ext cx="36958" cy="29892"/>
              </a:xfrm>
              <a:custGeom>
                <a:avLst/>
                <a:gdLst>
                  <a:gd name="connsiteX0" fmla="*/ 36958 w 36958"/>
                  <a:gd name="connsiteY0" fmla="*/ 15598 h 29892"/>
                  <a:gd name="connsiteX1" fmla="*/ 15119 w 36958"/>
                  <a:gd name="connsiteY1" fmla="*/ 29877 h 29892"/>
                  <a:gd name="connsiteX2" fmla="*/ 0 w 36958"/>
                  <a:gd name="connsiteY2" fmla="*/ 15177 h 29892"/>
                  <a:gd name="connsiteX3" fmla="*/ 14699 w 36958"/>
                  <a:gd name="connsiteY3" fmla="*/ 58 h 29892"/>
                  <a:gd name="connsiteX4" fmla="*/ 36958 w 36958"/>
                  <a:gd name="connsiteY4" fmla="*/ 15598 h 29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958" h="29892">
                    <a:moveTo>
                      <a:pt x="36958" y="15598"/>
                    </a:moveTo>
                    <a:cubicBezTo>
                      <a:pt x="26879" y="22317"/>
                      <a:pt x="20579" y="30297"/>
                      <a:pt x="15119" y="29877"/>
                    </a:cubicBezTo>
                    <a:cubicBezTo>
                      <a:pt x="9240" y="29037"/>
                      <a:pt x="0" y="20217"/>
                      <a:pt x="0" y="15177"/>
                    </a:cubicBezTo>
                    <a:cubicBezTo>
                      <a:pt x="0" y="9718"/>
                      <a:pt x="9240" y="478"/>
                      <a:pt x="14699" y="58"/>
                    </a:cubicBezTo>
                    <a:cubicBezTo>
                      <a:pt x="20579" y="-782"/>
                      <a:pt x="26879" y="7618"/>
                      <a:pt x="36958" y="1559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0639029F-33DB-ADCE-DDB7-9D3D5A135217}"/>
                  </a:ext>
                </a:extLst>
              </p:cNvPr>
              <p:cNvSpPr/>
              <p:nvPr/>
            </p:nvSpPr>
            <p:spPr>
              <a:xfrm>
                <a:off x="6547694" y="2477050"/>
                <a:ext cx="44517" cy="28295"/>
              </a:xfrm>
              <a:custGeom>
                <a:avLst/>
                <a:gdLst>
                  <a:gd name="connsiteX0" fmla="*/ 44518 w 44517"/>
                  <a:gd name="connsiteY0" fmla="*/ 16802 h 28295"/>
                  <a:gd name="connsiteX1" fmla="*/ 24779 w 44517"/>
                  <a:gd name="connsiteY1" fmla="*/ 28142 h 28295"/>
                  <a:gd name="connsiteX2" fmla="*/ 0 w 44517"/>
                  <a:gd name="connsiteY2" fmla="*/ 3783 h 28295"/>
                  <a:gd name="connsiteX3" fmla="*/ 24779 w 44517"/>
                  <a:gd name="connsiteY3" fmla="*/ 423 h 28295"/>
                  <a:gd name="connsiteX4" fmla="*/ 44518 w 44517"/>
                  <a:gd name="connsiteY4" fmla="*/ 16802 h 2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517" h="28295">
                    <a:moveTo>
                      <a:pt x="44518" y="16802"/>
                    </a:moveTo>
                    <a:cubicBezTo>
                      <a:pt x="34858" y="22682"/>
                      <a:pt x="26879" y="29402"/>
                      <a:pt x="24779" y="28142"/>
                    </a:cubicBezTo>
                    <a:cubicBezTo>
                      <a:pt x="15539" y="21422"/>
                      <a:pt x="7980" y="12183"/>
                      <a:pt x="0" y="3783"/>
                    </a:cubicBezTo>
                    <a:cubicBezTo>
                      <a:pt x="8400" y="2523"/>
                      <a:pt x="17219" y="-1257"/>
                      <a:pt x="24779" y="423"/>
                    </a:cubicBezTo>
                    <a:cubicBezTo>
                      <a:pt x="31079" y="1683"/>
                      <a:pt x="35698" y="9243"/>
                      <a:pt x="44518" y="1680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3" name="Freihandform: Form 172">
                <a:extLst>
                  <a:ext uri="{FF2B5EF4-FFF2-40B4-BE49-F238E27FC236}">
                    <a16:creationId xmlns:a16="http://schemas.microsoft.com/office/drawing/2014/main" id="{F142D1DF-C17A-D5BC-5E73-95764E22D4F8}"/>
                  </a:ext>
                </a:extLst>
              </p:cNvPr>
              <p:cNvSpPr/>
              <p:nvPr/>
            </p:nvSpPr>
            <p:spPr>
              <a:xfrm>
                <a:off x="5688411" y="3021356"/>
                <a:ext cx="43258" cy="29094"/>
              </a:xfrm>
              <a:custGeom>
                <a:avLst/>
                <a:gdLst>
                  <a:gd name="connsiteX0" fmla="*/ 43258 w 43258"/>
                  <a:gd name="connsiteY0" fmla="*/ 10073 h 29094"/>
                  <a:gd name="connsiteX1" fmla="*/ 15119 w 43258"/>
                  <a:gd name="connsiteY1" fmla="*/ 28973 h 29094"/>
                  <a:gd name="connsiteX2" fmla="*/ 0 w 43258"/>
                  <a:gd name="connsiteY2" fmla="*/ 17213 h 29094"/>
                  <a:gd name="connsiteX3" fmla="*/ 21419 w 43258"/>
                  <a:gd name="connsiteY3" fmla="*/ 414 h 29094"/>
                  <a:gd name="connsiteX4" fmla="*/ 43258 w 43258"/>
                  <a:gd name="connsiteY4" fmla="*/ 10073 h 29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58" h="29094">
                    <a:moveTo>
                      <a:pt x="43258" y="10073"/>
                    </a:moveTo>
                    <a:cubicBezTo>
                      <a:pt x="30659" y="18893"/>
                      <a:pt x="23519" y="26033"/>
                      <a:pt x="15119" y="28973"/>
                    </a:cubicBezTo>
                    <a:cubicBezTo>
                      <a:pt x="11759" y="30233"/>
                      <a:pt x="5040" y="21413"/>
                      <a:pt x="0" y="17213"/>
                    </a:cubicBezTo>
                    <a:cubicBezTo>
                      <a:pt x="7139" y="11333"/>
                      <a:pt x="13439" y="3774"/>
                      <a:pt x="21419" y="414"/>
                    </a:cubicBezTo>
                    <a:cubicBezTo>
                      <a:pt x="25199" y="-1686"/>
                      <a:pt x="32338" y="4614"/>
                      <a:pt x="43258" y="1007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0B650B0F-AC35-796B-314F-CA353F125BC4}"/>
                  </a:ext>
                </a:extLst>
              </p:cNvPr>
              <p:cNvSpPr/>
              <p:nvPr/>
            </p:nvSpPr>
            <p:spPr>
              <a:xfrm>
                <a:off x="6556320" y="2982238"/>
                <a:ext cx="34632" cy="35751"/>
              </a:xfrm>
              <a:custGeom>
                <a:avLst/>
                <a:gdLst>
                  <a:gd name="connsiteX0" fmla="*/ 34632 w 34632"/>
                  <a:gd name="connsiteY0" fmla="*/ 15593 h 35751"/>
                  <a:gd name="connsiteX1" fmla="*/ 12793 w 34632"/>
                  <a:gd name="connsiteY1" fmla="*/ 35752 h 35751"/>
                  <a:gd name="connsiteX2" fmla="*/ 194 w 34632"/>
                  <a:gd name="connsiteY2" fmla="*/ 16853 h 35751"/>
                  <a:gd name="connsiteX3" fmla="*/ 20773 w 34632"/>
                  <a:gd name="connsiteY3" fmla="*/ 53 h 35751"/>
                  <a:gd name="connsiteX4" fmla="*/ 34632 w 34632"/>
                  <a:gd name="connsiteY4" fmla="*/ 15593 h 3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632" h="35751">
                    <a:moveTo>
                      <a:pt x="34632" y="15593"/>
                    </a:moveTo>
                    <a:cubicBezTo>
                      <a:pt x="25813" y="23573"/>
                      <a:pt x="19513" y="29452"/>
                      <a:pt x="12793" y="35752"/>
                    </a:cubicBezTo>
                    <a:cubicBezTo>
                      <a:pt x="8174" y="29032"/>
                      <a:pt x="-1486" y="20213"/>
                      <a:pt x="194" y="16853"/>
                    </a:cubicBezTo>
                    <a:cubicBezTo>
                      <a:pt x="3974" y="9293"/>
                      <a:pt x="13213" y="4253"/>
                      <a:pt x="20773" y="53"/>
                    </a:cubicBezTo>
                    <a:cubicBezTo>
                      <a:pt x="22033" y="-786"/>
                      <a:pt x="28333" y="8453"/>
                      <a:pt x="34632" y="1559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88CD0B4D-620E-4154-557C-D270618BA528}"/>
                  </a:ext>
                </a:extLst>
              </p:cNvPr>
              <p:cNvSpPr/>
              <p:nvPr/>
            </p:nvSpPr>
            <p:spPr>
              <a:xfrm>
                <a:off x="5737394" y="2488002"/>
                <a:ext cx="31235" cy="41128"/>
              </a:xfrm>
              <a:custGeom>
                <a:avLst/>
                <a:gdLst>
                  <a:gd name="connsiteX0" fmla="*/ 15274 w 31235"/>
                  <a:gd name="connsiteY0" fmla="*/ 41128 h 41128"/>
                  <a:gd name="connsiteX1" fmla="*/ 155 w 31235"/>
                  <a:gd name="connsiteY1" fmla="*/ 14670 h 41128"/>
                  <a:gd name="connsiteX2" fmla="*/ 9815 w 31235"/>
                  <a:gd name="connsiteY2" fmla="*/ 390 h 41128"/>
                  <a:gd name="connsiteX3" fmla="*/ 30814 w 31235"/>
                  <a:gd name="connsiteY3" fmla="*/ 23069 h 41128"/>
                  <a:gd name="connsiteX4" fmla="*/ 15274 w 31235"/>
                  <a:gd name="connsiteY4" fmla="*/ 41128 h 41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235" h="41128">
                    <a:moveTo>
                      <a:pt x="15274" y="41128"/>
                    </a:moveTo>
                    <a:cubicBezTo>
                      <a:pt x="8975" y="30629"/>
                      <a:pt x="2255" y="23069"/>
                      <a:pt x="155" y="14670"/>
                    </a:cubicBezTo>
                    <a:cubicBezTo>
                      <a:pt x="-1105" y="10890"/>
                      <a:pt x="5615" y="1650"/>
                      <a:pt x="9815" y="390"/>
                    </a:cubicBezTo>
                    <a:cubicBezTo>
                      <a:pt x="20734" y="-2550"/>
                      <a:pt x="33753" y="11730"/>
                      <a:pt x="30814" y="23069"/>
                    </a:cubicBezTo>
                    <a:cubicBezTo>
                      <a:pt x="28714" y="28949"/>
                      <a:pt x="22414" y="33149"/>
                      <a:pt x="15274" y="4112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FC5C8689-8968-DC38-486C-A2D820728C6F}"/>
                  </a:ext>
                </a:extLst>
              </p:cNvPr>
              <p:cNvSpPr/>
              <p:nvPr/>
            </p:nvSpPr>
            <p:spPr>
              <a:xfrm>
                <a:off x="6148658" y="2213304"/>
                <a:ext cx="33587" cy="30347"/>
              </a:xfrm>
              <a:custGeom>
                <a:avLst/>
                <a:gdLst>
                  <a:gd name="connsiteX0" fmla="*/ 12233 w 33587"/>
                  <a:gd name="connsiteY0" fmla="*/ 0 h 30347"/>
                  <a:gd name="connsiteX1" fmla="*/ 26512 w 33587"/>
                  <a:gd name="connsiteY1" fmla="*/ 5460 h 30347"/>
                  <a:gd name="connsiteX2" fmla="*/ 33232 w 33587"/>
                  <a:gd name="connsiteY2" fmla="*/ 20999 h 30347"/>
                  <a:gd name="connsiteX3" fmla="*/ 17693 w 33587"/>
                  <a:gd name="connsiteY3" fmla="*/ 30239 h 30347"/>
                  <a:gd name="connsiteX4" fmla="*/ 5093 w 33587"/>
                  <a:gd name="connsiteY4" fmla="*/ 23099 h 30347"/>
                  <a:gd name="connsiteX5" fmla="*/ 53 w 33587"/>
                  <a:gd name="connsiteY5" fmla="*/ 5880 h 30347"/>
                  <a:gd name="connsiteX6" fmla="*/ 12233 w 33587"/>
                  <a:gd name="connsiteY6" fmla="*/ 0 h 30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587" h="30347">
                    <a:moveTo>
                      <a:pt x="12233" y="0"/>
                    </a:moveTo>
                    <a:cubicBezTo>
                      <a:pt x="17693" y="1680"/>
                      <a:pt x="23572" y="2100"/>
                      <a:pt x="26512" y="5460"/>
                    </a:cubicBezTo>
                    <a:cubicBezTo>
                      <a:pt x="30292" y="9660"/>
                      <a:pt x="34912" y="17639"/>
                      <a:pt x="33232" y="20999"/>
                    </a:cubicBezTo>
                    <a:cubicBezTo>
                      <a:pt x="31132" y="25619"/>
                      <a:pt x="23572" y="29399"/>
                      <a:pt x="17693" y="30239"/>
                    </a:cubicBezTo>
                    <a:cubicBezTo>
                      <a:pt x="13913" y="31079"/>
                      <a:pt x="7613" y="26879"/>
                      <a:pt x="5093" y="23099"/>
                    </a:cubicBezTo>
                    <a:cubicBezTo>
                      <a:pt x="1733" y="18059"/>
                      <a:pt x="-367" y="11759"/>
                      <a:pt x="53" y="5880"/>
                    </a:cubicBezTo>
                    <a:cubicBezTo>
                      <a:pt x="53" y="4200"/>
                      <a:pt x="8033" y="2100"/>
                      <a:pt x="1223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7C7B9ED6-9277-2079-29E0-A7D76FD9A415}"/>
                  </a:ext>
                </a:extLst>
              </p:cNvPr>
              <p:cNvSpPr/>
              <p:nvPr/>
            </p:nvSpPr>
            <p:spPr>
              <a:xfrm>
                <a:off x="5223244" y="2193302"/>
                <a:ext cx="32586" cy="41333"/>
              </a:xfrm>
              <a:custGeom>
                <a:avLst/>
                <a:gdLst>
                  <a:gd name="connsiteX0" fmla="*/ 32586 w 32586"/>
                  <a:gd name="connsiteY0" fmla="*/ 13283 h 41333"/>
                  <a:gd name="connsiteX1" fmla="*/ 14947 w 32586"/>
                  <a:gd name="connsiteY1" fmla="*/ 41001 h 41333"/>
                  <a:gd name="connsiteX2" fmla="*/ 2348 w 32586"/>
                  <a:gd name="connsiteY2" fmla="*/ 36802 h 41333"/>
                  <a:gd name="connsiteX3" fmla="*/ 18727 w 32586"/>
                  <a:gd name="connsiteY3" fmla="*/ 263 h 41333"/>
                  <a:gd name="connsiteX4" fmla="*/ 27966 w 32586"/>
                  <a:gd name="connsiteY4" fmla="*/ 2783 h 41333"/>
                  <a:gd name="connsiteX5" fmla="*/ 32586 w 32586"/>
                  <a:gd name="connsiteY5" fmla="*/ 13283 h 41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586" h="41333">
                    <a:moveTo>
                      <a:pt x="32586" y="13283"/>
                    </a:moveTo>
                    <a:cubicBezTo>
                      <a:pt x="27547" y="21682"/>
                      <a:pt x="21667" y="31762"/>
                      <a:pt x="14947" y="41001"/>
                    </a:cubicBezTo>
                    <a:cubicBezTo>
                      <a:pt x="14107" y="42261"/>
                      <a:pt x="4027" y="39742"/>
                      <a:pt x="2348" y="36802"/>
                    </a:cubicBezTo>
                    <a:cubicBezTo>
                      <a:pt x="-4372" y="23782"/>
                      <a:pt x="4027" y="5723"/>
                      <a:pt x="18727" y="263"/>
                    </a:cubicBezTo>
                    <a:cubicBezTo>
                      <a:pt x="21247" y="-577"/>
                      <a:pt x="25447" y="683"/>
                      <a:pt x="27966" y="2783"/>
                    </a:cubicBezTo>
                    <a:cubicBezTo>
                      <a:pt x="30066" y="4463"/>
                      <a:pt x="30486" y="8243"/>
                      <a:pt x="32586" y="132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53DC8899-5DD7-D3FB-F1A8-B221647AF0C1}"/>
                  </a:ext>
                </a:extLst>
              </p:cNvPr>
              <p:cNvSpPr/>
              <p:nvPr/>
            </p:nvSpPr>
            <p:spPr>
              <a:xfrm>
                <a:off x="5917721" y="2928842"/>
                <a:ext cx="41578" cy="29526"/>
              </a:xfrm>
              <a:custGeom>
                <a:avLst/>
                <a:gdLst>
                  <a:gd name="connsiteX0" fmla="*/ 41578 w 41578"/>
                  <a:gd name="connsiteY0" fmla="*/ 16491 h 29526"/>
                  <a:gd name="connsiteX1" fmla="*/ 12180 w 41578"/>
                  <a:gd name="connsiteY1" fmla="*/ 29510 h 29526"/>
                  <a:gd name="connsiteX2" fmla="*/ 0 w 41578"/>
                  <a:gd name="connsiteY2" fmla="*/ 17751 h 29526"/>
                  <a:gd name="connsiteX3" fmla="*/ 20159 w 41578"/>
                  <a:gd name="connsiteY3" fmla="*/ 112 h 29526"/>
                  <a:gd name="connsiteX4" fmla="*/ 41578 w 41578"/>
                  <a:gd name="connsiteY4" fmla="*/ 16491 h 29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578" h="29526">
                    <a:moveTo>
                      <a:pt x="41578" y="16491"/>
                    </a:moveTo>
                    <a:cubicBezTo>
                      <a:pt x="28979" y="22371"/>
                      <a:pt x="20999" y="27830"/>
                      <a:pt x="12180" y="29510"/>
                    </a:cubicBezTo>
                    <a:cubicBezTo>
                      <a:pt x="8820" y="29930"/>
                      <a:pt x="4200" y="21950"/>
                      <a:pt x="0" y="17751"/>
                    </a:cubicBezTo>
                    <a:cubicBezTo>
                      <a:pt x="6720" y="11451"/>
                      <a:pt x="12599" y="3051"/>
                      <a:pt x="20159" y="112"/>
                    </a:cubicBezTo>
                    <a:cubicBezTo>
                      <a:pt x="24359" y="-1149"/>
                      <a:pt x="31919" y="8511"/>
                      <a:pt x="41578" y="1649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79" name="Freihandform: Form 178">
                <a:extLst>
                  <a:ext uri="{FF2B5EF4-FFF2-40B4-BE49-F238E27FC236}">
                    <a16:creationId xmlns:a16="http://schemas.microsoft.com/office/drawing/2014/main" id="{3288641F-B0F8-AFAC-1E45-DC885D6C34DD}"/>
                  </a:ext>
                </a:extLst>
              </p:cNvPr>
              <p:cNvSpPr/>
              <p:nvPr/>
            </p:nvSpPr>
            <p:spPr>
              <a:xfrm>
                <a:off x="5785007" y="2917118"/>
                <a:ext cx="44098" cy="29956"/>
              </a:xfrm>
              <a:custGeom>
                <a:avLst/>
                <a:gdLst>
                  <a:gd name="connsiteX0" fmla="*/ 44098 w 44098"/>
                  <a:gd name="connsiteY0" fmla="*/ 10995 h 29956"/>
                  <a:gd name="connsiteX1" fmla="*/ 20159 w 44098"/>
                  <a:gd name="connsiteY1" fmla="*/ 29895 h 29956"/>
                  <a:gd name="connsiteX2" fmla="*/ 0 w 44098"/>
                  <a:gd name="connsiteY2" fmla="*/ 18555 h 29956"/>
                  <a:gd name="connsiteX3" fmla="*/ 24359 w 44098"/>
                  <a:gd name="connsiteY3" fmla="*/ 76 h 29956"/>
                  <a:gd name="connsiteX4" fmla="*/ 44098 w 44098"/>
                  <a:gd name="connsiteY4" fmla="*/ 10995 h 2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098" h="29956">
                    <a:moveTo>
                      <a:pt x="44098" y="10995"/>
                    </a:moveTo>
                    <a:cubicBezTo>
                      <a:pt x="33178" y="20235"/>
                      <a:pt x="27299" y="29055"/>
                      <a:pt x="20159" y="29895"/>
                    </a:cubicBezTo>
                    <a:cubicBezTo>
                      <a:pt x="14279" y="30735"/>
                      <a:pt x="6720" y="22755"/>
                      <a:pt x="0" y="18555"/>
                    </a:cubicBezTo>
                    <a:cubicBezTo>
                      <a:pt x="7980" y="12255"/>
                      <a:pt x="15539" y="4696"/>
                      <a:pt x="24359" y="76"/>
                    </a:cubicBezTo>
                    <a:cubicBezTo>
                      <a:pt x="26879" y="-764"/>
                      <a:pt x="33599" y="5536"/>
                      <a:pt x="44098" y="1099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46FF144B-578F-C1CA-C5B8-1327A2C4C966}"/>
                  </a:ext>
                </a:extLst>
              </p:cNvPr>
              <p:cNvSpPr/>
              <p:nvPr/>
            </p:nvSpPr>
            <p:spPr>
              <a:xfrm>
                <a:off x="5297828" y="2582048"/>
                <a:ext cx="27808" cy="40365"/>
              </a:xfrm>
              <a:custGeom>
                <a:avLst/>
                <a:gdLst>
                  <a:gd name="connsiteX0" fmla="*/ 6300 w 27808"/>
                  <a:gd name="connsiteY0" fmla="*/ 40318 h 40365"/>
                  <a:gd name="connsiteX1" fmla="*/ 0 w 27808"/>
                  <a:gd name="connsiteY1" fmla="*/ 33599 h 40365"/>
                  <a:gd name="connsiteX2" fmla="*/ 7980 w 27808"/>
                  <a:gd name="connsiteY2" fmla="*/ 6300 h 40365"/>
                  <a:gd name="connsiteX3" fmla="*/ 25199 w 27808"/>
                  <a:gd name="connsiteY3" fmla="*/ 0 h 40365"/>
                  <a:gd name="connsiteX4" fmla="*/ 27299 w 27808"/>
                  <a:gd name="connsiteY4" fmla="*/ 17639 h 40365"/>
                  <a:gd name="connsiteX5" fmla="*/ 15119 w 27808"/>
                  <a:gd name="connsiteY5" fmla="*/ 39058 h 40365"/>
                  <a:gd name="connsiteX6" fmla="*/ 6300 w 27808"/>
                  <a:gd name="connsiteY6" fmla="*/ 40318 h 40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08" h="40365">
                    <a:moveTo>
                      <a:pt x="6300" y="40318"/>
                    </a:moveTo>
                    <a:cubicBezTo>
                      <a:pt x="4200" y="37798"/>
                      <a:pt x="0" y="35279"/>
                      <a:pt x="0" y="33599"/>
                    </a:cubicBezTo>
                    <a:cubicBezTo>
                      <a:pt x="1680" y="24359"/>
                      <a:pt x="3360" y="14279"/>
                      <a:pt x="7980" y="6300"/>
                    </a:cubicBezTo>
                    <a:cubicBezTo>
                      <a:pt x="10500" y="2100"/>
                      <a:pt x="19319" y="2100"/>
                      <a:pt x="25199" y="0"/>
                    </a:cubicBezTo>
                    <a:cubicBezTo>
                      <a:pt x="26039" y="5880"/>
                      <a:pt x="28979" y="12180"/>
                      <a:pt x="27299" y="17639"/>
                    </a:cubicBezTo>
                    <a:cubicBezTo>
                      <a:pt x="25199" y="25199"/>
                      <a:pt x="20159" y="32339"/>
                      <a:pt x="15119" y="39058"/>
                    </a:cubicBezTo>
                    <a:cubicBezTo>
                      <a:pt x="14279" y="40738"/>
                      <a:pt x="9239" y="40318"/>
                      <a:pt x="6300" y="403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E9B48906-42EE-5BBB-C57C-1C9D4C64DD1B}"/>
                  </a:ext>
                </a:extLst>
              </p:cNvPr>
              <p:cNvSpPr/>
              <p:nvPr/>
            </p:nvSpPr>
            <p:spPr>
              <a:xfrm>
                <a:off x="6471678" y="2849577"/>
                <a:ext cx="39058" cy="32870"/>
              </a:xfrm>
              <a:custGeom>
                <a:avLst/>
                <a:gdLst>
                  <a:gd name="connsiteX0" fmla="*/ 15119 w 39058"/>
                  <a:gd name="connsiteY0" fmla="*/ 0 h 32870"/>
                  <a:gd name="connsiteX1" fmla="*/ 39058 w 39058"/>
                  <a:gd name="connsiteY1" fmla="*/ 19739 h 32870"/>
                  <a:gd name="connsiteX2" fmla="*/ 20159 w 39058"/>
                  <a:gd name="connsiteY2" fmla="*/ 32759 h 32870"/>
                  <a:gd name="connsiteX3" fmla="*/ 0 w 39058"/>
                  <a:gd name="connsiteY3" fmla="*/ 14279 h 32870"/>
                  <a:gd name="connsiteX4" fmla="*/ 15119 w 39058"/>
                  <a:gd name="connsiteY4" fmla="*/ 0 h 3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58" h="32870">
                    <a:moveTo>
                      <a:pt x="15119" y="0"/>
                    </a:moveTo>
                    <a:cubicBezTo>
                      <a:pt x="24359" y="7560"/>
                      <a:pt x="31499" y="13439"/>
                      <a:pt x="39058" y="19739"/>
                    </a:cubicBezTo>
                    <a:cubicBezTo>
                      <a:pt x="32759" y="24359"/>
                      <a:pt x="24359" y="34018"/>
                      <a:pt x="20159" y="32759"/>
                    </a:cubicBezTo>
                    <a:cubicBezTo>
                      <a:pt x="12179" y="30239"/>
                      <a:pt x="6720" y="20999"/>
                      <a:pt x="0" y="14279"/>
                    </a:cubicBezTo>
                    <a:cubicBezTo>
                      <a:pt x="4200" y="10080"/>
                      <a:pt x="8820" y="5880"/>
                      <a:pt x="1511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51315198-C9DE-3755-F665-C8ECBC24FC7A}"/>
                  </a:ext>
                </a:extLst>
              </p:cNvPr>
              <p:cNvSpPr/>
              <p:nvPr/>
            </p:nvSpPr>
            <p:spPr>
              <a:xfrm>
                <a:off x="5438950" y="2152580"/>
                <a:ext cx="42410" cy="29380"/>
              </a:xfrm>
              <a:custGeom>
                <a:avLst/>
                <a:gdLst>
                  <a:gd name="connsiteX0" fmla="*/ 42410 w 42410"/>
                  <a:gd name="connsiteY0" fmla="*/ 6547 h 29380"/>
                  <a:gd name="connsiteX1" fmla="*/ 15951 w 42410"/>
                  <a:gd name="connsiteY1" fmla="*/ 29226 h 29380"/>
                  <a:gd name="connsiteX2" fmla="*/ 832 w 42410"/>
                  <a:gd name="connsiteY2" fmla="*/ 19146 h 29380"/>
                  <a:gd name="connsiteX3" fmla="*/ 18471 w 42410"/>
                  <a:gd name="connsiteY3" fmla="*/ 247 h 29380"/>
                  <a:gd name="connsiteX4" fmla="*/ 42410 w 42410"/>
                  <a:gd name="connsiteY4" fmla="*/ 6547 h 29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10" h="29380">
                    <a:moveTo>
                      <a:pt x="42410" y="6547"/>
                    </a:moveTo>
                    <a:cubicBezTo>
                      <a:pt x="30231" y="17467"/>
                      <a:pt x="23931" y="25446"/>
                      <a:pt x="15951" y="29226"/>
                    </a:cubicBezTo>
                    <a:cubicBezTo>
                      <a:pt x="13011" y="30486"/>
                      <a:pt x="2092" y="23766"/>
                      <a:pt x="832" y="19146"/>
                    </a:cubicBezTo>
                    <a:cubicBezTo>
                      <a:pt x="-3368" y="5287"/>
                      <a:pt x="9232" y="2347"/>
                      <a:pt x="18471" y="247"/>
                    </a:cubicBezTo>
                    <a:cubicBezTo>
                      <a:pt x="23511" y="-1013"/>
                      <a:pt x="29811" y="2767"/>
                      <a:pt x="42410" y="654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112B95C9-ED38-1ABE-555A-9A97C63CE683}"/>
                  </a:ext>
                </a:extLst>
              </p:cNvPr>
              <p:cNvSpPr/>
              <p:nvPr/>
            </p:nvSpPr>
            <p:spPr>
              <a:xfrm>
                <a:off x="5509450" y="2828158"/>
                <a:ext cx="28762" cy="42418"/>
              </a:xfrm>
              <a:custGeom>
                <a:avLst/>
                <a:gdLst>
                  <a:gd name="connsiteX0" fmla="*/ 17269 w 28762"/>
                  <a:gd name="connsiteY0" fmla="*/ 0 h 42418"/>
                  <a:gd name="connsiteX1" fmla="*/ 28608 w 28762"/>
                  <a:gd name="connsiteY1" fmla="*/ 18899 h 42418"/>
                  <a:gd name="connsiteX2" fmla="*/ 14749 w 28762"/>
                  <a:gd name="connsiteY2" fmla="*/ 42418 h 42418"/>
                  <a:gd name="connsiteX3" fmla="*/ 49 w 28762"/>
                  <a:gd name="connsiteY3" fmla="*/ 26459 h 42418"/>
                  <a:gd name="connsiteX4" fmla="*/ 17269 w 28762"/>
                  <a:gd name="connsiteY4" fmla="*/ 0 h 42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62" h="42418">
                    <a:moveTo>
                      <a:pt x="17269" y="0"/>
                    </a:moveTo>
                    <a:cubicBezTo>
                      <a:pt x="23148" y="9239"/>
                      <a:pt x="29868" y="15539"/>
                      <a:pt x="28608" y="18899"/>
                    </a:cubicBezTo>
                    <a:cubicBezTo>
                      <a:pt x="26088" y="27299"/>
                      <a:pt x="19369" y="34858"/>
                      <a:pt x="14749" y="42418"/>
                    </a:cubicBezTo>
                    <a:cubicBezTo>
                      <a:pt x="9289" y="36958"/>
                      <a:pt x="-791" y="30659"/>
                      <a:pt x="49" y="26459"/>
                    </a:cubicBezTo>
                    <a:cubicBezTo>
                      <a:pt x="1309" y="18479"/>
                      <a:pt x="8869" y="11759"/>
                      <a:pt x="1726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1F75E639-5F88-88DE-B124-935C6A00FCB5}"/>
                  </a:ext>
                </a:extLst>
              </p:cNvPr>
              <p:cNvSpPr/>
              <p:nvPr/>
            </p:nvSpPr>
            <p:spPr>
              <a:xfrm>
                <a:off x="5412421" y="1868670"/>
                <a:ext cx="30788" cy="41407"/>
              </a:xfrm>
              <a:custGeom>
                <a:avLst/>
                <a:gdLst>
                  <a:gd name="connsiteX0" fmla="*/ 8042 w 30788"/>
                  <a:gd name="connsiteY0" fmla="*/ 41407 h 41407"/>
                  <a:gd name="connsiteX1" fmla="*/ 482 w 30788"/>
                  <a:gd name="connsiteY1" fmla="*/ 32168 h 41407"/>
                  <a:gd name="connsiteX2" fmla="*/ 18541 w 30788"/>
                  <a:gd name="connsiteY2" fmla="*/ 249 h 41407"/>
                  <a:gd name="connsiteX3" fmla="*/ 30301 w 30788"/>
                  <a:gd name="connsiteY3" fmla="*/ 5709 h 41407"/>
                  <a:gd name="connsiteX4" fmla="*/ 8042 w 30788"/>
                  <a:gd name="connsiteY4" fmla="*/ 41407 h 41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88" h="41407">
                    <a:moveTo>
                      <a:pt x="8042" y="41407"/>
                    </a:moveTo>
                    <a:cubicBezTo>
                      <a:pt x="5942" y="38888"/>
                      <a:pt x="902" y="35948"/>
                      <a:pt x="482" y="32168"/>
                    </a:cubicBezTo>
                    <a:cubicBezTo>
                      <a:pt x="-2038" y="17048"/>
                      <a:pt x="5522" y="6129"/>
                      <a:pt x="18541" y="249"/>
                    </a:cubicBezTo>
                    <a:cubicBezTo>
                      <a:pt x="21481" y="-1011"/>
                      <a:pt x="29461" y="2769"/>
                      <a:pt x="30301" y="5709"/>
                    </a:cubicBezTo>
                    <a:cubicBezTo>
                      <a:pt x="33661" y="16628"/>
                      <a:pt x="18961" y="40147"/>
                      <a:pt x="8042" y="4140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5" name="Freihandform: Form 184">
                <a:extLst>
                  <a:ext uri="{FF2B5EF4-FFF2-40B4-BE49-F238E27FC236}">
                    <a16:creationId xmlns:a16="http://schemas.microsoft.com/office/drawing/2014/main" id="{E47ADF87-DB8C-1DF6-AAA3-329DAA592466}"/>
                  </a:ext>
                </a:extLst>
              </p:cNvPr>
              <p:cNvSpPr/>
              <p:nvPr/>
            </p:nvSpPr>
            <p:spPr>
              <a:xfrm>
                <a:off x="5771740" y="2015056"/>
                <a:ext cx="35525" cy="40265"/>
              </a:xfrm>
              <a:custGeom>
                <a:avLst/>
                <a:gdLst>
                  <a:gd name="connsiteX0" fmla="*/ 35526 w 35525"/>
                  <a:gd name="connsiteY0" fmla="*/ 7997 h 40265"/>
                  <a:gd name="connsiteX1" fmla="*/ 17047 w 35525"/>
                  <a:gd name="connsiteY1" fmla="*/ 37815 h 40265"/>
                  <a:gd name="connsiteX2" fmla="*/ 3607 w 35525"/>
                  <a:gd name="connsiteY2" fmla="*/ 39075 h 40265"/>
                  <a:gd name="connsiteX3" fmla="*/ 667 w 35525"/>
                  <a:gd name="connsiteY3" fmla="*/ 26476 h 40265"/>
                  <a:gd name="connsiteX4" fmla="*/ 24606 w 35525"/>
                  <a:gd name="connsiteY4" fmla="*/ 437 h 40265"/>
                  <a:gd name="connsiteX5" fmla="*/ 29646 w 35525"/>
                  <a:gd name="connsiteY5" fmla="*/ 1277 h 40265"/>
                  <a:gd name="connsiteX6" fmla="*/ 35526 w 35525"/>
                  <a:gd name="connsiteY6" fmla="*/ 7997 h 40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525" h="40265">
                    <a:moveTo>
                      <a:pt x="35526" y="7997"/>
                    </a:moveTo>
                    <a:cubicBezTo>
                      <a:pt x="29646" y="18076"/>
                      <a:pt x="24186" y="28576"/>
                      <a:pt x="17047" y="37815"/>
                    </a:cubicBezTo>
                    <a:cubicBezTo>
                      <a:pt x="14947" y="40335"/>
                      <a:pt x="6547" y="41175"/>
                      <a:pt x="3607" y="39075"/>
                    </a:cubicBezTo>
                    <a:cubicBezTo>
                      <a:pt x="667" y="37395"/>
                      <a:pt x="-1013" y="28576"/>
                      <a:pt x="667" y="26476"/>
                    </a:cubicBezTo>
                    <a:cubicBezTo>
                      <a:pt x="7807" y="17236"/>
                      <a:pt x="16207" y="8837"/>
                      <a:pt x="24606" y="437"/>
                    </a:cubicBezTo>
                    <a:cubicBezTo>
                      <a:pt x="25446" y="-403"/>
                      <a:pt x="28386" y="17"/>
                      <a:pt x="29646" y="1277"/>
                    </a:cubicBezTo>
                    <a:cubicBezTo>
                      <a:pt x="31326" y="2957"/>
                      <a:pt x="33006" y="5477"/>
                      <a:pt x="35526" y="799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FE4599CE-22F9-F8FA-9EF3-FD8E4D443FE0}"/>
                  </a:ext>
                </a:extLst>
              </p:cNvPr>
              <p:cNvSpPr/>
              <p:nvPr/>
            </p:nvSpPr>
            <p:spPr>
              <a:xfrm>
                <a:off x="5979879" y="3106030"/>
                <a:ext cx="36538" cy="28860"/>
              </a:xfrm>
              <a:custGeom>
                <a:avLst/>
                <a:gdLst>
                  <a:gd name="connsiteX0" fmla="*/ 36538 w 36538"/>
                  <a:gd name="connsiteY0" fmla="*/ 16955 h 28860"/>
                  <a:gd name="connsiteX1" fmla="*/ 18899 w 36538"/>
                  <a:gd name="connsiteY1" fmla="*/ 28715 h 28860"/>
                  <a:gd name="connsiteX2" fmla="*/ 0 w 36538"/>
                  <a:gd name="connsiteY2" fmla="*/ 8555 h 28860"/>
                  <a:gd name="connsiteX3" fmla="*/ 15959 w 36538"/>
                  <a:gd name="connsiteY3" fmla="*/ 156 h 28860"/>
                  <a:gd name="connsiteX4" fmla="*/ 36538 w 36538"/>
                  <a:gd name="connsiteY4" fmla="*/ 16955 h 2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38" h="28860">
                    <a:moveTo>
                      <a:pt x="36538" y="16955"/>
                    </a:moveTo>
                    <a:cubicBezTo>
                      <a:pt x="27719" y="22835"/>
                      <a:pt x="20159" y="29974"/>
                      <a:pt x="18899" y="28715"/>
                    </a:cubicBezTo>
                    <a:cubicBezTo>
                      <a:pt x="11759" y="23255"/>
                      <a:pt x="6300" y="15275"/>
                      <a:pt x="0" y="8555"/>
                    </a:cubicBezTo>
                    <a:cubicBezTo>
                      <a:pt x="5460" y="5616"/>
                      <a:pt x="11759" y="-1104"/>
                      <a:pt x="15959" y="156"/>
                    </a:cubicBezTo>
                    <a:cubicBezTo>
                      <a:pt x="22259" y="1836"/>
                      <a:pt x="27299" y="8975"/>
                      <a:pt x="36538" y="169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5A653963-FBA6-9956-FBF4-21D190A9EEAF}"/>
                  </a:ext>
                </a:extLst>
              </p:cNvPr>
              <p:cNvSpPr/>
              <p:nvPr/>
            </p:nvSpPr>
            <p:spPr>
              <a:xfrm>
                <a:off x="5822806" y="2636226"/>
                <a:ext cx="28575" cy="41158"/>
              </a:xfrm>
              <a:custGeom>
                <a:avLst/>
                <a:gdLst>
                  <a:gd name="connsiteX0" fmla="*/ 15959 w 28575"/>
                  <a:gd name="connsiteY0" fmla="*/ 41158 h 41158"/>
                  <a:gd name="connsiteX1" fmla="*/ 0 w 28575"/>
                  <a:gd name="connsiteY1" fmla="*/ 19319 h 41158"/>
                  <a:gd name="connsiteX2" fmla="*/ 13019 w 28575"/>
                  <a:gd name="connsiteY2" fmla="*/ 0 h 41158"/>
                  <a:gd name="connsiteX3" fmla="*/ 28559 w 28575"/>
                  <a:gd name="connsiteY3" fmla="*/ 16379 h 41158"/>
                  <a:gd name="connsiteX4" fmla="*/ 15959 w 28575"/>
                  <a:gd name="connsiteY4" fmla="*/ 41158 h 41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41158">
                    <a:moveTo>
                      <a:pt x="15959" y="41158"/>
                    </a:moveTo>
                    <a:cubicBezTo>
                      <a:pt x="8400" y="31499"/>
                      <a:pt x="0" y="25619"/>
                      <a:pt x="0" y="19319"/>
                    </a:cubicBezTo>
                    <a:cubicBezTo>
                      <a:pt x="0" y="13019"/>
                      <a:pt x="8400" y="6720"/>
                      <a:pt x="13019" y="0"/>
                    </a:cubicBezTo>
                    <a:cubicBezTo>
                      <a:pt x="18479" y="5460"/>
                      <a:pt x="27719" y="10500"/>
                      <a:pt x="28559" y="16379"/>
                    </a:cubicBezTo>
                    <a:cubicBezTo>
                      <a:pt x="28979" y="23099"/>
                      <a:pt x="21419" y="30659"/>
                      <a:pt x="15959" y="4115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94FAF9CA-9A55-9CF9-4370-9C39427B6620}"/>
                  </a:ext>
                </a:extLst>
              </p:cNvPr>
              <p:cNvSpPr/>
              <p:nvPr/>
            </p:nvSpPr>
            <p:spPr>
              <a:xfrm>
                <a:off x="6104541" y="2616907"/>
                <a:ext cx="29066" cy="35278"/>
              </a:xfrm>
              <a:custGeom>
                <a:avLst/>
                <a:gdLst>
                  <a:gd name="connsiteX0" fmla="*/ 14771 w 29066"/>
                  <a:gd name="connsiteY0" fmla="*/ 0 h 35278"/>
                  <a:gd name="connsiteX1" fmla="*/ 29051 w 29066"/>
                  <a:gd name="connsiteY1" fmla="*/ 16799 h 35278"/>
                  <a:gd name="connsiteX2" fmla="*/ 9312 w 29066"/>
                  <a:gd name="connsiteY2" fmla="*/ 35279 h 35278"/>
                  <a:gd name="connsiteX3" fmla="*/ 72 w 29066"/>
                  <a:gd name="connsiteY3" fmla="*/ 19739 h 35278"/>
                  <a:gd name="connsiteX4" fmla="*/ 14771 w 29066"/>
                  <a:gd name="connsiteY4" fmla="*/ 0 h 35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066" h="35278">
                    <a:moveTo>
                      <a:pt x="14771" y="0"/>
                    </a:moveTo>
                    <a:cubicBezTo>
                      <a:pt x="21491" y="7980"/>
                      <a:pt x="29471" y="15960"/>
                      <a:pt x="29051" y="16799"/>
                    </a:cubicBezTo>
                    <a:cubicBezTo>
                      <a:pt x="23171" y="23939"/>
                      <a:pt x="16031" y="29399"/>
                      <a:pt x="9312" y="35279"/>
                    </a:cubicBezTo>
                    <a:cubicBezTo>
                      <a:pt x="5952" y="30239"/>
                      <a:pt x="-768" y="23939"/>
                      <a:pt x="72" y="19739"/>
                    </a:cubicBezTo>
                    <a:cubicBezTo>
                      <a:pt x="1332" y="13439"/>
                      <a:pt x="8052" y="8400"/>
                      <a:pt x="1477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447CBD62-AD84-EA17-0A04-B18DB3F4BD97}"/>
                  </a:ext>
                </a:extLst>
              </p:cNvPr>
              <p:cNvSpPr/>
              <p:nvPr/>
            </p:nvSpPr>
            <p:spPr>
              <a:xfrm>
                <a:off x="5767368" y="2121328"/>
                <a:ext cx="23639" cy="39898"/>
              </a:xfrm>
              <a:custGeom>
                <a:avLst/>
                <a:gdLst>
                  <a:gd name="connsiteX0" fmla="*/ 0 w 23639"/>
                  <a:gd name="connsiteY0" fmla="*/ 11759 h 39898"/>
                  <a:gd name="connsiteX1" fmla="*/ 9660 w 23639"/>
                  <a:gd name="connsiteY1" fmla="*/ 0 h 39898"/>
                  <a:gd name="connsiteX2" fmla="*/ 21839 w 23639"/>
                  <a:gd name="connsiteY2" fmla="*/ 12179 h 39898"/>
                  <a:gd name="connsiteX3" fmla="*/ 22259 w 23639"/>
                  <a:gd name="connsiteY3" fmla="*/ 26879 h 39898"/>
                  <a:gd name="connsiteX4" fmla="*/ 10919 w 23639"/>
                  <a:gd name="connsiteY4" fmla="*/ 39898 h 39898"/>
                  <a:gd name="connsiteX5" fmla="*/ 1680 w 23639"/>
                  <a:gd name="connsiteY5" fmla="*/ 30239 h 39898"/>
                  <a:gd name="connsiteX6" fmla="*/ 0 w 23639"/>
                  <a:gd name="connsiteY6" fmla="*/ 11759 h 39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39" h="39898">
                    <a:moveTo>
                      <a:pt x="0" y="11759"/>
                    </a:moveTo>
                    <a:cubicBezTo>
                      <a:pt x="2100" y="8820"/>
                      <a:pt x="5880" y="4620"/>
                      <a:pt x="9660" y="0"/>
                    </a:cubicBezTo>
                    <a:cubicBezTo>
                      <a:pt x="13859" y="4200"/>
                      <a:pt x="19319" y="7140"/>
                      <a:pt x="21839" y="12179"/>
                    </a:cubicBezTo>
                    <a:cubicBezTo>
                      <a:pt x="23939" y="16379"/>
                      <a:pt x="24359" y="22679"/>
                      <a:pt x="22259" y="26879"/>
                    </a:cubicBezTo>
                    <a:cubicBezTo>
                      <a:pt x="20159" y="31919"/>
                      <a:pt x="15119" y="35698"/>
                      <a:pt x="10919" y="39898"/>
                    </a:cubicBezTo>
                    <a:cubicBezTo>
                      <a:pt x="7560" y="36958"/>
                      <a:pt x="3360" y="34019"/>
                      <a:pt x="1680" y="30239"/>
                    </a:cubicBezTo>
                    <a:cubicBezTo>
                      <a:pt x="0" y="25619"/>
                      <a:pt x="840" y="20159"/>
                      <a:pt x="0" y="117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1794A793-E97A-6CE9-4BE3-43EC99D618DF}"/>
                  </a:ext>
                </a:extLst>
              </p:cNvPr>
              <p:cNvSpPr/>
              <p:nvPr/>
            </p:nvSpPr>
            <p:spPr>
              <a:xfrm>
                <a:off x="5947893" y="2603048"/>
                <a:ext cx="29114" cy="36118"/>
              </a:xfrm>
              <a:custGeom>
                <a:avLst/>
                <a:gdLst>
                  <a:gd name="connsiteX0" fmla="*/ 12247 w 29114"/>
                  <a:gd name="connsiteY0" fmla="*/ 36119 h 36118"/>
                  <a:gd name="connsiteX1" fmla="*/ 68 w 29114"/>
                  <a:gd name="connsiteY1" fmla="*/ 19319 h 36118"/>
                  <a:gd name="connsiteX2" fmla="*/ 19387 w 29114"/>
                  <a:gd name="connsiteY2" fmla="*/ 0 h 36118"/>
                  <a:gd name="connsiteX3" fmla="*/ 29046 w 29114"/>
                  <a:gd name="connsiteY3" fmla="*/ 18479 h 36118"/>
                  <a:gd name="connsiteX4" fmla="*/ 12247 w 29114"/>
                  <a:gd name="connsiteY4" fmla="*/ 36119 h 3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14" h="36118">
                    <a:moveTo>
                      <a:pt x="12247" y="36119"/>
                    </a:moveTo>
                    <a:cubicBezTo>
                      <a:pt x="6367" y="28139"/>
                      <a:pt x="-772" y="20579"/>
                      <a:pt x="68" y="19319"/>
                    </a:cubicBezTo>
                    <a:cubicBezTo>
                      <a:pt x="5527" y="12180"/>
                      <a:pt x="12667" y="6300"/>
                      <a:pt x="19387" y="0"/>
                    </a:cubicBezTo>
                    <a:cubicBezTo>
                      <a:pt x="22747" y="6300"/>
                      <a:pt x="29886" y="13020"/>
                      <a:pt x="29046" y="18479"/>
                    </a:cubicBezTo>
                    <a:cubicBezTo>
                      <a:pt x="28626" y="23939"/>
                      <a:pt x="20227" y="28559"/>
                      <a:pt x="12247" y="361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1" name="Freihandform: Form 190">
                <a:extLst>
                  <a:ext uri="{FF2B5EF4-FFF2-40B4-BE49-F238E27FC236}">
                    <a16:creationId xmlns:a16="http://schemas.microsoft.com/office/drawing/2014/main" id="{587CB986-66BB-2651-D6DE-38D7FA09AAAB}"/>
                  </a:ext>
                </a:extLst>
              </p:cNvPr>
              <p:cNvSpPr/>
              <p:nvPr/>
            </p:nvSpPr>
            <p:spPr>
              <a:xfrm>
                <a:off x="5737063" y="2833220"/>
                <a:ext cx="26801" cy="44075"/>
              </a:xfrm>
              <a:custGeom>
                <a:avLst/>
                <a:gdLst>
                  <a:gd name="connsiteX0" fmla="*/ 2586 w 26801"/>
                  <a:gd name="connsiteY0" fmla="*/ 44075 h 44075"/>
                  <a:gd name="connsiteX1" fmla="*/ 66 w 26801"/>
                  <a:gd name="connsiteY1" fmla="*/ 13837 h 44075"/>
                  <a:gd name="connsiteX2" fmla="*/ 16865 w 26801"/>
                  <a:gd name="connsiteY2" fmla="*/ 1657 h 44075"/>
                  <a:gd name="connsiteX3" fmla="*/ 26525 w 26801"/>
                  <a:gd name="connsiteY3" fmla="*/ 16357 h 44075"/>
                  <a:gd name="connsiteX4" fmla="*/ 2586 w 26801"/>
                  <a:gd name="connsiteY4" fmla="*/ 44075 h 44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801" h="44075">
                    <a:moveTo>
                      <a:pt x="2586" y="44075"/>
                    </a:moveTo>
                    <a:cubicBezTo>
                      <a:pt x="1326" y="30216"/>
                      <a:pt x="-354" y="21816"/>
                      <a:pt x="66" y="13837"/>
                    </a:cubicBezTo>
                    <a:cubicBezTo>
                      <a:pt x="486" y="3757"/>
                      <a:pt x="6365" y="-3382"/>
                      <a:pt x="16865" y="1657"/>
                    </a:cubicBezTo>
                    <a:cubicBezTo>
                      <a:pt x="21905" y="4177"/>
                      <a:pt x="28205" y="14257"/>
                      <a:pt x="26525" y="16357"/>
                    </a:cubicBezTo>
                    <a:cubicBezTo>
                      <a:pt x="21905" y="25596"/>
                      <a:pt x="13925" y="32316"/>
                      <a:pt x="2586" y="4407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C7271362-2482-8E0A-DAC6-D0ABFE88095C}"/>
                  </a:ext>
                </a:extLst>
              </p:cNvPr>
              <p:cNvSpPr/>
              <p:nvPr/>
            </p:nvSpPr>
            <p:spPr>
              <a:xfrm>
                <a:off x="6083574" y="2923074"/>
                <a:ext cx="29453" cy="34872"/>
              </a:xfrm>
              <a:custGeom>
                <a:avLst/>
                <a:gdLst>
                  <a:gd name="connsiteX0" fmla="*/ 10960 w 29453"/>
                  <a:gd name="connsiteY0" fmla="*/ 0 h 34872"/>
                  <a:gd name="connsiteX1" fmla="*/ 29439 w 29453"/>
                  <a:gd name="connsiteY1" fmla="*/ 24779 h 34872"/>
                  <a:gd name="connsiteX2" fmla="*/ 16420 w 29453"/>
                  <a:gd name="connsiteY2" fmla="*/ 34858 h 34872"/>
                  <a:gd name="connsiteX3" fmla="*/ 461 w 29453"/>
                  <a:gd name="connsiteY3" fmla="*/ 14279 h 34872"/>
                  <a:gd name="connsiteX4" fmla="*/ 10960 w 29453"/>
                  <a:gd name="connsiteY4" fmla="*/ 0 h 34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53" h="34872">
                    <a:moveTo>
                      <a:pt x="10960" y="0"/>
                    </a:moveTo>
                    <a:cubicBezTo>
                      <a:pt x="18520" y="9660"/>
                      <a:pt x="24820" y="16799"/>
                      <a:pt x="29439" y="24779"/>
                    </a:cubicBezTo>
                    <a:cubicBezTo>
                      <a:pt x="29859" y="25619"/>
                      <a:pt x="21040" y="34858"/>
                      <a:pt x="16420" y="34858"/>
                    </a:cubicBezTo>
                    <a:cubicBezTo>
                      <a:pt x="3400" y="35279"/>
                      <a:pt x="-1639" y="26459"/>
                      <a:pt x="461" y="14279"/>
                    </a:cubicBezTo>
                    <a:cubicBezTo>
                      <a:pt x="881" y="10080"/>
                      <a:pt x="5500" y="7140"/>
                      <a:pt x="10960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D042C7A9-1F0F-4726-4968-805A6656AE4D}"/>
                  </a:ext>
                </a:extLst>
              </p:cNvPr>
              <p:cNvSpPr/>
              <p:nvPr/>
            </p:nvSpPr>
            <p:spPr>
              <a:xfrm>
                <a:off x="5603155" y="2955832"/>
                <a:ext cx="27316" cy="41998"/>
              </a:xfrm>
              <a:custGeom>
                <a:avLst/>
                <a:gdLst>
                  <a:gd name="connsiteX0" fmla="*/ 14279 w 27316"/>
                  <a:gd name="connsiteY0" fmla="*/ 0 h 41998"/>
                  <a:gd name="connsiteX1" fmla="*/ 27299 w 27316"/>
                  <a:gd name="connsiteY1" fmla="*/ 23519 h 41998"/>
                  <a:gd name="connsiteX2" fmla="*/ 13439 w 27316"/>
                  <a:gd name="connsiteY2" fmla="*/ 41998 h 41998"/>
                  <a:gd name="connsiteX3" fmla="*/ 0 w 27316"/>
                  <a:gd name="connsiteY3" fmla="*/ 23099 h 41998"/>
                  <a:gd name="connsiteX4" fmla="*/ 14279 w 27316"/>
                  <a:gd name="connsiteY4" fmla="*/ 0 h 41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16" h="41998">
                    <a:moveTo>
                      <a:pt x="14279" y="0"/>
                    </a:moveTo>
                    <a:cubicBezTo>
                      <a:pt x="20579" y="10080"/>
                      <a:pt x="27719" y="17219"/>
                      <a:pt x="27299" y="23519"/>
                    </a:cubicBezTo>
                    <a:cubicBezTo>
                      <a:pt x="26879" y="29819"/>
                      <a:pt x="18479" y="35698"/>
                      <a:pt x="13439" y="41998"/>
                    </a:cubicBezTo>
                    <a:cubicBezTo>
                      <a:pt x="8820" y="35698"/>
                      <a:pt x="420" y="29819"/>
                      <a:pt x="0" y="23099"/>
                    </a:cubicBezTo>
                    <a:cubicBezTo>
                      <a:pt x="0" y="16799"/>
                      <a:pt x="7560" y="10080"/>
                      <a:pt x="1427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4" name="Freihandform: Form 193">
                <a:extLst>
                  <a:ext uri="{FF2B5EF4-FFF2-40B4-BE49-F238E27FC236}">
                    <a16:creationId xmlns:a16="http://schemas.microsoft.com/office/drawing/2014/main" id="{C17030DD-E8BB-449A-F7A3-F0794AC96772}"/>
                  </a:ext>
                </a:extLst>
              </p:cNvPr>
              <p:cNvSpPr/>
              <p:nvPr/>
            </p:nvSpPr>
            <p:spPr>
              <a:xfrm>
                <a:off x="5832318" y="3022610"/>
                <a:ext cx="35845" cy="29570"/>
              </a:xfrm>
              <a:custGeom>
                <a:avLst/>
                <a:gdLst>
                  <a:gd name="connsiteX0" fmla="*/ 35846 w 35845"/>
                  <a:gd name="connsiteY0" fmla="*/ 18899 h 29570"/>
                  <a:gd name="connsiteX1" fmla="*/ 15267 w 35845"/>
                  <a:gd name="connsiteY1" fmla="*/ 29399 h 29570"/>
                  <a:gd name="connsiteX2" fmla="*/ 147 w 35845"/>
                  <a:gd name="connsiteY2" fmla="*/ 14699 h 29570"/>
                  <a:gd name="connsiteX3" fmla="*/ 9387 w 35845"/>
                  <a:gd name="connsiteY3" fmla="*/ 0 h 29570"/>
                  <a:gd name="connsiteX4" fmla="*/ 35846 w 35845"/>
                  <a:gd name="connsiteY4" fmla="*/ 18899 h 2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845" h="29570">
                    <a:moveTo>
                      <a:pt x="35846" y="18899"/>
                    </a:moveTo>
                    <a:cubicBezTo>
                      <a:pt x="25346" y="24779"/>
                      <a:pt x="19047" y="30659"/>
                      <a:pt x="15267" y="29399"/>
                    </a:cubicBezTo>
                    <a:cubicBezTo>
                      <a:pt x="8967" y="27299"/>
                      <a:pt x="2667" y="20999"/>
                      <a:pt x="147" y="14699"/>
                    </a:cubicBezTo>
                    <a:cubicBezTo>
                      <a:pt x="-1113" y="11340"/>
                      <a:pt x="6027" y="5040"/>
                      <a:pt x="9387" y="0"/>
                    </a:cubicBezTo>
                    <a:cubicBezTo>
                      <a:pt x="16526" y="5040"/>
                      <a:pt x="24086" y="10500"/>
                      <a:pt x="35846" y="188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5" name="Freihandform: Form 194">
                <a:extLst>
                  <a:ext uri="{FF2B5EF4-FFF2-40B4-BE49-F238E27FC236}">
                    <a16:creationId xmlns:a16="http://schemas.microsoft.com/office/drawing/2014/main" id="{5E7F86C1-499A-7035-E07D-A81AC3970FF4}"/>
                  </a:ext>
                </a:extLst>
              </p:cNvPr>
              <p:cNvSpPr/>
              <p:nvPr/>
            </p:nvSpPr>
            <p:spPr>
              <a:xfrm>
                <a:off x="6357022" y="2466256"/>
                <a:ext cx="35698" cy="29868"/>
              </a:xfrm>
              <a:custGeom>
                <a:avLst/>
                <a:gdLst>
                  <a:gd name="connsiteX0" fmla="*/ 35698 w 35698"/>
                  <a:gd name="connsiteY0" fmla="*/ 20036 h 29868"/>
                  <a:gd name="connsiteX1" fmla="*/ 16799 w 35698"/>
                  <a:gd name="connsiteY1" fmla="*/ 29696 h 29868"/>
                  <a:gd name="connsiteX2" fmla="*/ 0 w 35698"/>
                  <a:gd name="connsiteY2" fmla="*/ 7017 h 29868"/>
                  <a:gd name="connsiteX3" fmla="*/ 17219 w 35698"/>
                  <a:gd name="connsiteY3" fmla="*/ 297 h 29868"/>
                  <a:gd name="connsiteX4" fmla="*/ 35698 w 35698"/>
                  <a:gd name="connsiteY4" fmla="*/ 20036 h 29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8" h="29868">
                    <a:moveTo>
                      <a:pt x="35698" y="20036"/>
                    </a:moveTo>
                    <a:cubicBezTo>
                      <a:pt x="26459" y="25076"/>
                      <a:pt x="18059" y="30956"/>
                      <a:pt x="16799" y="29696"/>
                    </a:cubicBezTo>
                    <a:cubicBezTo>
                      <a:pt x="10080" y="22976"/>
                      <a:pt x="5460" y="14577"/>
                      <a:pt x="0" y="7017"/>
                    </a:cubicBezTo>
                    <a:cubicBezTo>
                      <a:pt x="5880" y="4497"/>
                      <a:pt x="13020" y="-1383"/>
                      <a:pt x="17219" y="297"/>
                    </a:cubicBezTo>
                    <a:cubicBezTo>
                      <a:pt x="23519" y="3237"/>
                      <a:pt x="27719" y="10797"/>
                      <a:pt x="35698" y="20036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468FF226-4F15-178A-D34E-E8531C524988}"/>
                  </a:ext>
                </a:extLst>
              </p:cNvPr>
              <p:cNvSpPr/>
              <p:nvPr/>
            </p:nvSpPr>
            <p:spPr>
              <a:xfrm>
                <a:off x="5980299" y="2225329"/>
                <a:ext cx="34438" cy="29621"/>
              </a:xfrm>
              <a:custGeom>
                <a:avLst/>
                <a:gdLst>
                  <a:gd name="connsiteX0" fmla="*/ 34438 w 34438"/>
                  <a:gd name="connsiteY0" fmla="*/ 17375 h 29621"/>
                  <a:gd name="connsiteX1" fmla="*/ 18059 w 34438"/>
                  <a:gd name="connsiteY1" fmla="*/ 29554 h 29621"/>
                  <a:gd name="connsiteX2" fmla="*/ 0 w 34438"/>
                  <a:gd name="connsiteY2" fmla="*/ 8975 h 29621"/>
                  <a:gd name="connsiteX3" fmla="*/ 15119 w 34438"/>
                  <a:gd name="connsiteY3" fmla="*/ 155 h 29621"/>
                  <a:gd name="connsiteX4" fmla="*/ 34438 w 34438"/>
                  <a:gd name="connsiteY4" fmla="*/ 17375 h 29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438" h="29621">
                    <a:moveTo>
                      <a:pt x="34438" y="17375"/>
                    </a:moveTo>
                    <a:cubicBezTo>
                      <a:pt x="26459" y="23254"/>
                      <a:pt x="18899" y="30394"/>
                      <a:pt x="18059" y="29554"/>
                    </a:cubicBezTo>
                    <a:cubicBezTo>
                      <a:pt x="11339" y="23674"/>
                      <a:pt x="5880" y="16115"/>
                      <a:pt x="0" y="8975"/>
                    </a:cubicBezTo>
                    <a:cubicBezTo>
                      <a:pt x="5040" y="5615"/>
                      <a:pt x="11339" y="-1105"/>
                      <a:pt x="15119" y="155"/>
                    </a:cubicBezTo>
                    <a:cubicBezTo>
                      <a:pt x="21839" y="2255"/>
                      <a:pt x="26459" y="9395"/>
                      <a:pt x="34438" y="1737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7" name="Freihandform: Form 196">
                <a:extLst>
                  <a:ext uri="{FF2B5EF4-FFF2-40B4-BE49-F238E27FC236}">
                    <a16:creationId xmlns:a16="http://schemas.microsoft.com/office/drawing/2014/main" id="{AB9721B5-003D-B775-03CC-7DA630DB6854}"/>
                  </a:ext>
                </a:extLst>
              </p:cNvPr>
              <p:cNvSpPr/>
              <p:nvPr/>
            </p:nvSpPr>
            <p:spPr>
              <a:xfrm>
                <a:off x="6241948" y="2247258"/>
                <a:ext cx="35698" cy="29111"/>
              </a:xfrm>
              <a:custGeom>
                <a:avLst/>
                <a:gdLst>
                  <a:gd name="connsiteX0" fmla="*/ 35698 w 35698"/>
                  <a:gd name="connsiteY0" fmla="*/ 16864 h 29111"/>
                  <a:gd name="connsiteX1" fmla="*/ 19739 w 35698"/>
                  <a:gd name="connsiteY1" fmla="*/ 29043 h 29111"/>
                  <a:gd name="connsiteX2" fmla="*/ 0 w 35698"/>
                  <a:gd name="connsiteY2" fmla="*/ 10564 h 29111"/>
                  <a:gd name="connsiteX3" fmla="*/ 18479 w 35698"/>
                  <a:gd name="connsiteY3" fmla="*/ 65 h 29111"/>
                  <a:gd name="connsiteX4" fmla="*/ 35698 w 35698"/>
                  <a:gd name="connsiteY4" fmla="*/ 16864 h 29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698" h="29111">
                    <a:moveTo>
                      <a:pt x="35698" y="16864"/>
                    </a:moveTo>
                    <a:cubicBezTo>
                      <a:pt x="28139" y="22744"/>
                      <a:pt x="20999" y="29883"/>
                      <a:pt x="19739" y="29043"/>
                    </a:cubicBezTo>
                    <a:cubicBezTo>
                      <a:pt x="12179" y="24004"/>
                      <a:pt x="6300" y="16864"/>
                      <a:pt x="0" y="10564"/>
                    </a:cubicBezTo>
                    <a:cubicBezTo>
                      <a:pt x="6300" y="6784"/>
                      <a:pt x="12599" y="-775"/>
                      <a:pt x="18479" y="65"/>
                    </a:cubicBezTo>
                    <a:cubicBezTo>
                      <a:pt x="23519" y="65"/>
                      <a:pt x="28139" y="8884"/>
                      <a:pt x="35698" y="168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8" name="Freihandform: Form 197">
                <a:extLst>
                  <a:ext uri="{FF2B5EF4-FFF2-40B4-BE49-F238E27FC236}">
                    <a16:creationId xmlns:a16="http://schemas.microsoft.com/office/drawing/2014/main" id="{47DE142B-48CC-83A2-7B6E-0F974D48466F}"/>
                  </a:ext>
                </a:extLst>
              </p:cNvPr>
              <p:cNvSpPr/>
              <p:nvPr/>
            </p:nvSpPr>
            <p:spPr>
              <a:xfrm>
                <a:off x="6052956" y="2287577"/>
                <a:ext cx="35278" cy="29883"/>
              </a:xfrm>
              <a:custGeom>
                <a:avLst/>
                <a:gdLst>
                  <a:gd name="connsiteX0" fmla="*/ 35278 w 35278"/>
                  <a:gd name="connsiteY0" fmla="*/ 13504 h 29883"/>
                  <a:gd name="connsiteX1" fmla="*/ 19319 w 35278"/>
                  <a:gd name="connsiteY1" fmla="*/ 29883 h 29883"/>
                  <a:gd name="connsiteX2" fmla="*/ 0 w 35278"/>
                  <a:gd name="connsiteY2" fmla="*/ 10564 h 29883"/>
                  <a:gd name="connsiteX3" fmla="*/ 14279 w 35278"/>
                  <a:gd name="connsiteY3" fmla="*/ 65 h 29883"/>
                  <a:gd name="connsiteX4" fmla="*/ 35278 w 35278"/>
                  <a:gd name="connsiteY4" fmla="*/ 13504 h 2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78" h="29883">
                    <a:moveTo>
                      <a:pt x="35278" y="13504"/>
                    </a:moveTo>
                    <a:cubicBezTo>
                      <a:pt x="28139" y="21064"/>
                      <a:pt x="23519" y="25264"/>
                      <a:pt x="19319" y="29883"/>
                    </a:cubicBezTo>
                    <a:cubicBezTo>
                      <a:pt x="13019" y="23584"/>
                      <a:pt x="6720" y="17284"/>
                      <a:pt x="0" y="10564"/>
                    </a:cubicBezTo>
                    <a:cubicBezTo>
                      <a:pt x="4620" y="6784"/>
                      <a:pt x="10079" y="-775"/>
                      <a:pt x="14279" y="65"/>
                    </a:cubicBezTo>
                    <a:cubicBezTo>
                      <a:pt x="20999" y="905"/>
                      <a:pt x="26459" y="7624"/>
                      <a:pt x="35278" y="1350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199" name="Freihandform: Form 198">
                <a:extLst>
                  <a:ext uri="{FF2B5EF4-FFF2-40B4-BE49-F238E27FC236}">
                    <a16:creationId xmlns:a16="http://schemas.microsoft.com/office/drawing/2014/main" id="{930E9F23-04B2-C1CB-B0E5-D496490D490A}"/>
                  </a:ext>
                </a:extLst>
              </p:cNvPr>
              <p:cNvSpPr/>
              <p:nvPr/>
            </p:nvSpPr>
            <p:spPr>
              <a:xfrm>
                <a:off x="6052116" y="3084708"/>
                <a:ext cx="37798" cy="29524"/>
              </a:xfrm>
              <a:custGeom>
                <a:avLst/>
                <a:gdLst>
                  <a:gd name="connsiteX0" fmla="*/ 37798 w 37798"/>
                  <a:gd name="connsiteY0" fmla="*/ 16018 h 29524"/>
                  <a:gd name="connsiteX1" fmla="*/ 20579 w 37798"/>
                  <a:gd name="connsiteY1" fmla="*/ 29457 h 29524"/>
                  <a:gd name="connsiteX2" fmla="*/ 0 w 37798"/>
                  <a:gd name="connsiteY2" fmla="*/ 11398 h 29524"/>
                  <a:gd name="connsiteX3" fmla="*/ 11759 w 37798"/>
                  <a:gd name="connsiteY3" fmla="*/ 59 h 29524"/>
                  <a:gd name="connsiteX4" fmla="*/ 37798 w 37798"/>
                  <a:gd name="connsiteY4" fmla="*/ 16018 h 29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798" h="29524">
                    <a:moveTo>
                      <a:pt x="37798" y="16018"/>
                    </a:moveTo>
                    <a:cubicBezTo>
                      <a:pt x="28979" y="23158"/>
                      <a:pt x="22259" y="30297"/>
                      <a:pt x="20579" y="29457"/>
                    </a:cubicBezTo>
                    <a:cubicBezTo>
                      <a:pt x="13019" y="24838"/>
                      <a:pt x="6720" y="17698"/>
                      <a:pt x="0" y="11398"/>
                    </a:cubicBezTo>
                    <a:cubicBezTo>
                      <a:pt x="4200" y="7618"/>
                      <a:pt x="9240" y="-781"/>
                      <a:pt x="11759" y="59"/>
                    </a:cubicBezTo>
                    <a:cubicBezTo>
                      <a:pt x="19739" y="2578"/>
                      <a:pt x="26459" y="8458"/>
                      <a:pt x="37798" y="160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0" name="Freihandform: Form 199">
                <a:extLst>
                  <a:ext uri="{FF2B5EF4-FFF2-40B4-BE49-F238E27FC236}">
                    <a16:creationId xmlns:a16="http://schemas.microsoft.com/office/drawing/2014/main" id="{00DC8FBE-BD7C-B6D8-500B-B5F17A52E5E5}"/>
                  </a:ext>
                </a:extLst>
              </p:cNvPr>
              <p:cNvSpPr/>
              <p:nvPr/>
            </p:nvSpPr>
            <p:spPr>
              <a:xfrm>
                <a:off x="5487645" y="2333839"/>
                <a:ext cx="29851" cy="38220"/>
              </a:xfrm>
              <a:custGeom>
                <a:avLst/>
                <a:gdLst>
                  <a:gd name="connsiteX0" fmla="*/ 22274 w 29851"/>
                  <a:gd name="connsiteY0" fmla="*/ 0 h 38220"/>
                  <a:gd name="connsiteX1" fmla="*/ 29834 w 29851"/>
                  <a:gd name="connsiteY1" fmla="*/ 23519 h 38220"/>
                  <a:gd name="connsiteX2" fmla="*/ 13455 w 29851"/>
                  <a:gd name="connsiteY2" fmla="*/ 37798 h 38220"/>
                  <a:gd name="connsiteX3" fmla="*/ 15 w 29851"/>
                  <a:gd name="connsiteY3" fmla="*/ 26039 h 38220"/>
                  <a:gd name="connsiteX4" fmla="*/ 22274 w 29851"/>
                  <a:gd name="connsiteY4" fmla="*/ 0 h 38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" h="38220">
                    <a:moveTo>
                      <a:pt x="22274" y="0"/>
                    </a:moveTo>
                    <a:cubicBezTo>
                      <a:pt x="26474" y="12179"/>
                      <a:pt x="29834" y="17639"/>
                      <a:pt x="29834" y="23519"/>
                    </a:cubicBezTo>
                    <a:cubicBezTo>
                      <a:pt x="30254" y="34018"/>
                      <a:pt x="23114" y="39898"/>
                      <a:pt x="13455" y="37798"/>
                    </a:cubicBezTo>
                    <a:cubicBezTo>
                      <a:pt x="7995" y="36538"/>
                      <a:pt x="-405" y="27299"/>
                      <a:pt x="15" y="26039"/>
                    </a:cubicBezTo>
                    <a:cubicBezTo>
                      <a:pt x="5055" y="18479"/>
                      <a:pt x="11775" y="11759"/>
                      <a:pt x="22274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ECF178AE-7762-5587-C01E-DE85D7D65AA6}"/>
                  </a:ext>
                </a:extLst>
              </p:cNvPr>
              <p:cNvSpPr/>
              <p:nvPr/>
            </p:nvSpPr>
            <p:spPr>
              <a:xfrm>
                <a:off x="6158791" y="2351743"/>
                <a:ext cx="35278" cy="27747"/>
              </a:xfrm>
              <a:custGeom>
                <a:avLst/>
                <a:gdLst>
                  <a:gd name="connsiteX0" fmla="*/ 35278 w 35278"/>
                  <a:gd name="connsiteY0" fmla="*/ 18215 h 27747"/>
                  <a:gd name="connsiteX1" fmla="*/ 15119 w 35278"/>
                  <a:gd name="connsiteY1" fmla="*/ 27454 h 27747"/>
                  <a:gd name="connsiteX2" fmla="*/ 0 w 35278"/>
                  <a:gd name="connsiteY2" fmla="*/ 8555 h 27747"/>
                  <a:gd name="connsiteX3" fmla="*/ 15539 w 35278"/>
                  <a:gd name="connsiteY3" fmla="*/ 156 h 27747"/>
                  <a:gd name="connsiteX4" fmla="*/ 35278 w 35278"/>
                  <a:gd name="connsiteY4" fmla="*/ 18215 h 27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78" h="27747">
                    <a:moveTo>
                      <a:pt x="35278" y="18215"/>
                    </a:moveTo>
                    <a:cubicBezTo>
                      <a:pt x="25199" y="23255"/>
                      <a:pt x="17219" y="29134"/>
                      <a:pt x="15119" y="27454"/>
                    </a:cubicBezTo>
                    <a:cubicBezTo>
                      <a:pt x="8820" y="22835"/>
                      <a:pt x="5040" y="15275"/>
                      <a:pt x="0" y="8555"/>
                    </a:cubicBezTo>
                    <a:cubicBezTo>
                      <a:pt x="5040" y="5615"/>
                      <a:pt x="11759" y="-1104"/>
                      <a:pt x="15539" y="156"/>
                    </a:cubicBezTo>
                    <a:cubicBezTo>
                      <a:pt x="21839" y="1836"/>
                      <a:pt x="26039" y="9395"/>
                      <a:pt x="35278" y="1821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3DA18570-A1D2-5E30-2545-8F0B57A7C8A0}"/>
                  </a:ext>
                </a:extLst>
              </p:cNvPr>
              <p:cNvSpPr/>
              <p:nvPr/>
            </p:nvSpPr>
            <p:spPr>
              <a:xfrm>
                <a:off x="5602251" y="2823538"/>
                <a:ext cx="35763" cy="29425"/>
              </a:xfrm>
              <a:custGeom>
                <a:avLst/>
                <a:gdLst>
                  <a:gd name="connsiteX0" fmla="*/ 35763 w 35763"/>
                  <a:gd name="connsiteY0" fmla="*/ 20999 h 29425"/>
                  <a:gd name="connsiteX1" fmla="*/ 10984 w 35763"/>
                  <a:gd name="connsiteY1" fmla="*/ 29399 h 29425"/>
                  <a:gd name="connsiteX2" fmla="*/ 65 w 35763"/>
                  <a:gd name="connsiteY2" fmla="*/ 18059 h 29425"/>
                  <a:gd name="connsiteX3" fmla="*/ 14764 w 35763"/>
                  <a:gd name="connsiteY3" fmla="*/ 0 h 29425"/>
                  <a:gd name="connsiteX4" fmla="*/ 35763 w 35763"/>
                  <a:gd name="connsiteY4" fmla="*/ 20999 h 29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763" h="29425">
                    <a:moveTo>
                      <a:pt x="35763" y="20999"/>
                    </a:moveTo>
                    <a:cubicBezTo>
                      <a:pt x="24003" y="25199"/>
                      <a:pt x="17284" y="29819"/>
                      <a:pt x="10984" y="29399"/>
                    </a:cubicBezTo>
                    <a:cubicBezTo>
                      <a:pt x="6784" y="28979"/>
                      <a:pt x="-775" y="19739"/>
                      <a:pt x="65" y="18059"/>
                    </a:cubicBezTo>
                    <a:cubicBezTo>
                      <a:pt x="3424" y="11340"/>
                      <a:pt x="9724" y="5880"/>
                      <a:pt x="14764" y="0"/>
                    </a:cubicBezTo>
                    <a:cubicBezTo>
                      <a:pt x="20224" y="5460"/>
                      <a:pt x="25683" y="10920"/>
                      <a:pt x="35763" y="209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6195B666-A887-F3A8-3E03-408E85CE88E9}"/>
                  </a:ext>
                </a:extLst>
              </p:cNvPr>
              <p:cNvSpPr/>
              <p:nvPr/>
            </p:nvSpPr>
            <p:spPr>
              <a:xfrm>
                <a:off x="6789184" y="1935696"/>
                <a:ext cx="27419" cy="38256"/>
              </a:xfrm>
              <a:custGeom>
                <a:avLst/>
                <a:gdLst>
                  <a:gd name="connsiteX0" fmla="*/ 0 w 27419"/>
                  <a:gd name="connsiteY0" fmla="*/ 30659 h 38256"/>
                  <a:gd name="connsiteX1" fmla="*/ 5040 w 27419"/>
                  <a:gd name="connsiteY1" fmla="*/ 21839 h 38256"/>
                  <a:gd name="connsiteX2" fmla="*/ 23099 w 27419"/>
                  <a:gd name="connsiteY2" fmla="*/ 0 h 38256"/>
                  <a:gd name="connsiteX3" fmla="*/ 27299 w 27419"/>
                  <a:gd name="connsiteY3" fmla="*/ 8820 h 38256"/>
                  <a:gd name="connsiteX4" fmla="*/ 10500 w 27419"/>
                  <a:gd name="connsiteY4" fmla="*/ 37798 h 38256"/>
                  <a:gd name="connsiteX5" fmla="*/ 5880 w 27419"/>
                  <a:gd name="connsiteY5" fmla="*/ 37378 h 38256"/>
                  <a:gd name="connsiteX6" fmla="*/ 0 w 27419"/>
                  <a:gd name="connsiteY6" fmla="*/ 30659 h 38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19" h="38256">
                    <a:moveTo>
                      <a:pt x="0" y="30659"/>
                    </a:moveTo>
                    <a:cubicBezTo>
                      <a:pt x="1680" y="27719"/>
                      <a:pt x="2940" y="24359"/>
                      <a:pt x="5040" y="21839"/>
                    </a:cubicBezTo>
                    <a:cubicBezTo>
                      <a:pt x="10919" y="14279"/>
                      <a:pt x="16799" y="7140"/>
                      <a:pt x="23099" y="0"/>
                    </a:cubicBezTo>
                    <a:cubicBezTo>
                      <a:pt x="24359" y="2940"/>
                      <a:pt x="28139" y="6720"/>
                      <a:pt x="27299" y="8820"/>
                    </a:cubicBezTo>
                    <a:cubicBezTo>
                      <a:pt x="22259" y="18899"/>
                      <a:pt x="16379" y="28139"/>
                      <a:pt x="10500" y="37798"/>
                    </a:cubicBezTo>
                    <a:cubicBezTo>
                      <a:pt x="10080" y="38638"/>
                      <a:pt x="6720" y="38218"/>
                      <a:pt x="5880" y="37378"/>
                    </a:cubicBezTo>
                    <a:cubicBezTo>
                      <a:pt x="3360" y="35278"/>
                      <a:pt x="1680" y="32759"/>
                      <a:pt x="0" y="306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A0940E93-B0D9-B44C-9E94-1C245A9F5262}"/>
                  </a:ext>
                </a:extLst>
              </p:cNvPr>
              <p:cNvSpPr/>
              <p:nvPr/>
            </p:nvSpPr>
            <p:spPr>
              <a:xfrm>
                <a:off x="6149971" y="2882756"/>
                <a:ext cx="32506" cy="29097"/>
              </a:xfrm>
              <a:custGeom>
                <a:avLst/>
                <a:gdLst>
                  <a:gd name="connsiteX0" fmla="*/ 14279 w 32506"/>
                  <a:gd name="connsiteY0" fmla="*/ 0 h 29097"/>
                  <a:gd name="connsiteX1" fmla="*/ 30239 w 32506"/>
                  <a:gd name="connsiteY1" fmla="*/ 10079 h 29097"/>
                  <a:gd name="connsiteX2" fmla="*/ 31499 w 32506"/>
                  <a:gd name="connsiteY2" fmla="*/ 22679 h 29097"/>
                  <a:gd name="connsiteX3" fmla="*/ 20159 w 32506"/>
                  <a:gd name="connsiteY3" fmla="*/ 28979 h 29097"/>
                  <a:gd name="connsiteX4" fmla="*/ 4620 w 32506"/>
                  <a:gd name="connsiteY4" fmla="*/ 16379 h 29097"/>
                  <a:gd name="connsiteX5" fmla="*/ 0 w 32506"/>
                  <a:gd name="connsiteY5" fmla="*/ 7560 h 29097"/>
                  <a:gd name="connsiteX6" fmla="*/ 14279 w 32506"/>
                  <a:gd name="connsiteY6" fmla="*/ 0 h 29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506" h="29097">
                    <a:moveTo>
                      <a:pt x="14279" y="0"/>
                    </a:moveTo>
                    <a:cubicBezTo>
                      <a:pt x="19319" y="3360"/>
                      <a:pt x="26039" y="5880"/>
                      <a:pt x="30239" y="10079"/>
                    </a:cubicBezTo>
                    <a:cubicBezTo>
                      <a:pt x="32759" y="12599"/>
                      <a:pt x="33179" y="19739"/>
                      <a:pt x="31499" y="22679"/>
                    </a:cubicBezTo>
                    <a:cubicBezTo>
                      <a:pt x="29399" y="26039"/>
                      <a:pt x="22679" y="29819"/>
                      <a:pt x="20159" y="28979"/>
                    </a:cubicBezTo>
                    <a:cubicBezTo>
                      <a:pt x="14279" y="26459"/>
                      <a:pt x="9240" y="20999"/>
                      <a:pt x="4620" y="16379"/>
                    </a:cubicBezTo>
                    <a:cubicBezTo>
                      <a:pt x="2520" y="14279"/>
                      <a:pt x="1260" y="10500"/>
                      <a:pt x="0" y="7560"/>
                    </a:cubicBezTo>
                    <a:cubicBezTo>
                      <a:pt x="3780" y="5040"/>
                      <a:pt x="8400" y="2940"/>
                      <a:pt x="1427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DAF6CEC6-5C2F-23FB-6441-C089237FD1BB}"/>
                  </a:ext>
                </a:extLst>
              </p:cNvPr>
              <p:cNvSpPr/>
              <p:nvPr/>
            </p:nvSpPr>
            <p:spPr>
              <a:xfrm>
                <a:off x="5497093" y="2970893"/>
                <a:ext cx="35505" cy="29531"/>
              </a:xfrm>
              <a:custGeom>
                <a:avLst/>
                <a:gdLst>
                  <a:gd name="connsiteX0" fmla="*/ 35505 w 35505"/>
                  <a:gd name="connsiteY0" fmla="*/ 20218 h 29531"/>
                  <a:gd name="connsiteX1" fmla="*/ 14086 w 35505"/>
                  <a:gd name="connsiteY1" fmla="*/ 29457 h 29531"/>
                  <a:gd name="connsiteX2" fmla="*/ 1067 w 35505"/>
                  <a:gd name="connsiteY2" fmla="*/ 13498 h 29531"/>
                  <a:gd name="connsiteX3" fmla="*/ 14506 w 35505"/>
                  <a:gd name="connsiteY3" fmla="*/ 58 h 29531"/>
                  <a:gd name="connsiteX4" fmla="*/ 35505 w 35505"/>
                  <a:gd name="connsiteY4" fmla="*/ 20218 h 29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505" h="29531">
                    <a:moveTo>
                      <a:pt x="35505" y="20218"/>
                    </a:moveTo>
                    <a:cubicBezTo>
                      <a:pt x="25426" y="24837"/>
                      <a:pt x="19966" y="29457"/>
                      <a:pt x="14086" y="29457"/>
                    </a:cubicBezTo>
                    <a:cubicBezTo>
                      <a:pt x="4006" y="30297"/>
                      <a:pt x="-2713" y="23997"/>
                      <a:pt x="1067" y="13498"/>
                    </a:cubicBezTo>
                    <a:cubicBezTo>
                      <a:pt x="3166" y="7618"/>
                      <a:pt x="12826" y="-782"/>
                      <a:pt x="14506" y="58"/>
                    </a:cubicBezTo>
                    <a:cubicBezTo>
                      <a:pt x="21646" y="3838"/>
                      <a:pt x="26265" y="10558"/>
                      <a:pt x="35505" y="2021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E5E9578B-495C-6604-2E4C-222EDD8C0A5A}"/>
                  </a:ext>
                </a:extLst>
              </p:cNvPr>
              <p:cNvSpPr/>
              <p:nvPr/>
            </p:nvSpPr>
            <p:spPr>
              <a:xfrm>
                <a:off x="6517301" y="2323760"/>
                <a:ext cx="27068" cy="36209"/>
              </a:xfrm>
              <a:custGeom>
                <a:avLst/>
                <a:gdLst>
                  <a:gd name="connsiteX0" fmla="*/ 20313 w 27068"/>
                  <a:gd name="connsiteY0" fmla="*/ 0 h 36209"/>
                  <a:gd name="connsiteX1" fmla="*/ 27033 w 27068"/>
                  <a:gd name="connsiteY1" fmla="*/ 22259 h 36209"/>
                  <a:gd name="connsiteX2" fmla="*/ 10654 w 27068"/>
                  <a:gd name="connsiteY2" fmla="*/ 34858 h 36209"/>
                  <a:gd name="connsiteX3" fmla="*/ 154 w 27068"/>
                  <a:gd name="connsiteY3" fmla="*/ 20579 h 36209"/>
                  <a:gd name="connsiteX4" fmla="*/ 20313 w 27068"/>
                  <a:gd name="connsiteY4" fmla="*/ 0 h 36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68" h="36209">
                    <a:moveTo>
                      <a:pt x="20313" y="0"/>
                    </a:moveTo>
                    <a:cubicBezTo>
                      <a:pt x="24093" y="10920"/>
                      <a:pt x="27453" y="16799"/>
                      <a:pt x="27033" y="22259"/>
                    </a:cubicBezTo>
                    <a:cubicBezTo>
                      <a:pt x="26613" y="31499"/>
                      <a:pt x="21153" y="39478"/>
                      <a:pt x="10654" y="34858"/>
                    </a:cubicBezTo>
                    <a:cubicBezTo>
                      <a:pt x="5614" y="32759"/>
                      <a:pt x="-1106" y="23099"/>
                      <a:pt x="154" y="20579"/>
                    </a:cubicBezTo>
                    <a:cubicBezTo>
                      <a:pt x="3094" y="13859"/>
                      <a:pt x="10654" y="9240"/>
                      <a:pt x="20313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500AB0F6-1ACE-A8D8-33D0-9FB8EE222C73}"/>
                  </a:ext>
                </a:extLst>
              </p:cNvPr>
              <p:cNvSpPr/>
              <p:nvPr/>
            </p:nvSpPr>
            <p:spPr>
              <a:xfrm>
                <a:off x="5650220" y="2387597"/>
                <a:ext cx="25591" cy="31878"/>
              </a:xfrm>
              <a:custGeom>
                <a:avLst/>
                <a:gdLst>
                  <a:gd name="connsiteX0" fmla="*/ 25592 w 25591"/>
                  <a:gd name="connsiteY0" fmla="*/ 20579 h 31878"/>
                  <a:gd name="connsiteX1" fmla="*/ 20132 w 25591"/>
                  <a:gd name="connsiteY1" fmla="*/ 31499 h 31878"/>
                  <a:gd name="connsiteX2" fmla="*/ 11312 w 25591"/>
                  <a:gd name="connsiteY2" fmla="*/ 28559 h 31878"/>
                  <a:gd name="connsiteX3" fmla="*/ 393 w 25591"/>
                  <a:gd name="connsiteY3" fmla="*/ 17639 h 31878"/>
                  <a:gd name="connsiteX4" fmla="*/ 2073 w 25591"/>
                  <a:gd name="connsiteY4" fmla="*/ 0 h 31878"/>
                  <a:gd name="connsiteX5" fmla="*/ 18452 w 25591"/>
                  <a:gd name="connsiteY5" fmla="*/ 3360 h 31878"/>
                  <a:gd name="connsiteX6" fmla="*/ 25592 w 25591"/>
                  <a:gd name="connsiteY6" fmla="*/ 20579 h 31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591" h="31878">
                    <a:moveTo>
                      <a:pt x="25592" y="20579"/>
                    </a:moveTo>
                    <a:cubicBezTo>
                      <a:pt x="23072" y="26039"/>
                      <a:pt x="22232" y="30239"/>
                      <a:pt x="20132" y="31499"/>
                    </a:cubicBezTo>
                    <a:cubicBezTo>
                      <a:pt x="18452" y="32759"/>
                      <a:pt x="13832" y="30659"/>
                      <a:pt x="11312" y="28559"/>
                    </a:cubicBezTo>
                    <a:cubicBezTo>
                      <a:pt x="7113" y="25619"/>
                      <a:pt x="1653" y="21839"/>
                      <a:pt x="393" y="17639"/>
                    </a:cubicBezTo>
                    <a:cubicBezTo>
                      <a:pt x="-867" y="12180"/>
                      <a:pt x="1233" y="5880"/>
                      <a:pt x="2073" y="0"/>
                    </a:cubicBezTo>
                    <a:cubicBezTo>
                      <a:pt x="7533" y="840"/>
                      <a:pt x="15092" y="0"/>
                      <a:pt x="18452" y="3360"/>
                    </a:cubicBezTo>
                    <a:cubicBezTo>
                      <a:pt x="22652" y="8400"/>
                      <a:pt x="23912" y="15959"/>
                      <a:pt x="25592" y="2057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1351E510-96DE-9B47-1CB2-A54581FA2CBE}"/>
                  </a:ext>
                </a:extLst>
              </p:cNvPr>
              <p:cNvSpPr/>
              <p:nvPr/>
            </p:nvSpPr>
            <p:spPr>
              <a:xfrm>
                <a:off x="6265667" y="2724842"/>
                <a:ext cx="25924" cy="33441"/>
              </a:xfrm>
              <a:custGeom>
                <a:avLst/>
                <a:gdLst>
                  <a:gd name="connsiteX0" fmla="*/ 11139 w 25924"/>
                  <a:gd name="connsiteY0" fmla="*/ 0 h 33441"/>
                  <a:gd name="connsiteX1" fmla="*/ 25838 w 25924"/>
                  <a:gd name="connsiteY1" fmla="*/ 23519 h 33441"/>
                  <a:gd name="connsiteX2" fmla="*/ 17858 w 25924"/>
                  <a:gd name="connsiteY2" fmla="*/ 33179 h 33441"/>
                  <a:gd name="connsiteX3" fmla="*/ 639 w 25924"/>
                  <a:gd name="connsiteY3" fmla="*/ 15539 h 33441"/>
                  <a:gd name="connsiteX4" fmla="*/ 11139 w 25924"/>
                  <a:gd name="connsiteY4" fmla="*/ 0 h 3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24" h="33441">
                    <a:moveTo>
                      <a:pt x="11139" y="0"/>
                    </a:moveTo>
                    <a:cubicBezTo>
                      <a:pt x="17858" y="10080"/>
                      <a:pt x="22898" y="16379"/>
                      <a:pt x="25838" y="23519"/>
                    </a:cubicBezTo>
                    <a:cubicBezTo>
                      <a:pt x="26678" y="25619"/>
                      <a:pt x="21218" y="32339"/>
                      <a:pt x="17858" y="33179"/>
                    </a:cubicBezTo>
                    <a:cubicBezTo>
                      <a:pt x="7779" y="35279"/>
                      <a:pt x="-2721" y="24359"/>
                      <a:pt x="639" y="15539"/>
                    </a:cubicBezTo>
                    <a:cubicBezTo>
                      <a:pt x="1899" y="10920"/>
                      <a:pt x="6099" y="7140"/>
                      <a:pt x="1113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2DA90E94-B139-9A0E-2BC8-B123CE525AC7}"/>
                  </a:ext>
                </a:extLst>
              </p:cNvPr>
              <p:cNvSpPr/>
              <p:nvPr/>
            </p:nvSpPr>
            <p:spPr>
              <a:xfrm>
                <a:off x="5989092" y="2394737"/>
                <a:ext cx="25645" cy="26631"/>
              </a:xfrm>
              <a:custGeom>
                <a:avLst/>
                <a:gdLst>
                  <a:gd name="connsiteX0" fmla="*/ 25645 w 25645"/>
                  <a:gd name="connsiteY0" fmla="*/ 17219 h 26631"/>
                  <a:gd name="connsiteX1" fmla="*/ 8846 w 25645"/>
                  <a:gd name="connsiteY1" fmla="*/ 26459 h 26631"/>
                  <a:gd name="connsiteX2" fmla="*/ 27 w 25645"/>
                  <a:gd name="connsiteY2" fmla="*/ 11759 h 26631"/>
                  <a:gd name="connsiteX3" fmla="*/ 11366 w 25645"/>
                  <a:gd name="connsiteY3" fmla="*/ 0 h 26631"/>
                  <a:gd name="connsiteX4" fmla="*/ 25645 w 25645"/>
                  <a:gd name="connsiteY4" fmla="*/ 17219 h 26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645" h="26631">
                    <a:moveTo>
                      <a:pt x="25645" y="17219"/>
                    </a:moveTo>
                    <a:cubicBezTo>
                      <a:pt x="18086" y="21839"/>
                      <a:pt x="10946" y="27719"/>
                      <a:pt x="8846" y="26459"/>
                    </a:cubicBezTo>
                    <a:cubicBezTo>
                      <a:pt x="4226" y="23939"/>
                      <a:pt x="-393" y="16799"/>
                      <a:pt x="27" y="11759"/>
                    </a:cubicBezTo>
                    <a:cubicBezTo>
                      <a:pt x="446" y="7560"/>
                      <a:pt x="7166" y="3780"/>
                      <a:pt x="11366" y="0"/>
                    </a:cubicBezTo>
                    <a:cubicBezTo>
                      <a:pt x="15146" y="4620"/>
                      <a:pt x="18926" y="9240"/>
                      <a:pt x="25645" y="1721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7E4D5B91-825F-3FCE-AAF9-AC4B88ED3B7F}"/>
                  </a:ext>
                </a:extLst>
              </p:cNvPr>
              <p:cNvSpPr/>
              <p:nvPr/>
            </p:nvSpPr>
            <p:spPr>
              <a:xfrm>
                <a:off x="6072275" y="2436659"/>
                <a:ext cx="27718" cy="27794"/>
              </a:xfrm>
              <a:custGeom>
                <a:avLst/>
                <a:gdLst>
                  <a:gd name="connsiteX0" fmla="*/ 27719 w 27718"/>
                  <a:gd name="connsiteY0" fmla="*/ 10995 h 27794"/>
                  <a:gd name="connsiteX1" fmla="*/ 9240 w 27718"/>
                  <a:gd name="connsiteY1" fmla="*/ 27795 h 27794"/>
                  <a:gd name="connsiteX2" fmla="*/ 0 w 27718"/>
                  <a:gd name="connsiteY2" fmla="*/ 13515 h 27794"/>
                  <a:gd name="connsiteX3" fmla="*/ 10500 w 27718"/>
                  <a:gd name="connsiteY3" fmla="*/ 76 h 27794"/>
                  <a:gd name="connsiteX4" fmla="*/ 27719 w 27718"/>
                  <a:gd name="connsiteY4" fmla="*/ 10995 h 27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718" h="27794">
                    <a:moveTo>
                      <a:pt x="27719" y="10995"/>
                    </a:moveTo>
                    <a:cubicBezTo>
                      <a:pt x="19319" y="18555"/>
                      <a:pt x="14279" y="23175"/>
                      <a:pt x="9240" y="27795"/>
                    </a:cubicBezTo>
                    <a:cubicBezTo>
                      <a:pt x="5880" y="23175"/>
                      <a:pt x="0" y="18135"/>
                      <a:pt x="0" y="13515"/>
                    </a:cubicBezTo>
                    <a:cubicBezTo>
                      <a:pt x="420" y="8475"/>
                      <a:pt x="5880" y="1756"/>
                      <a:pt x="10500" y="76"/>
                    </a:cubicBezTo>
                    <a:cubicBezTo>
                      <a:pt x="13859" y="-764"/>
                      <a:pt x="19739" y="5536"/>
                      <a:pt x="27719" y="1099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1" name="Freihandform: Form 210">
                <a:extLst>
                  <a:ext uri="{FF2B5EF4-FFF2-40B4-BE49-F238E27FC236}">
                    <a16:creationId xmlns:a16="http://schemas.microsoft.com/office/drawing/2014/main" id="{77381497-DAF4-B4B3-2018-D8AC3564F016}"/>
                  </a:ext>
                </a:extLst>
              </p:cNvPr>
              <p:cNvSpPr/>
              <p:nvPr/>
            </p:nvSpPr>
            <p:spPr>
              <a:xfrm>
                <a:off x="5550237" y="2455614"/>
                <a:ext cx="39058" cy="20219"/>
              </a:xfrm>
              <a:custGeom>
                <a:avLst/>
                <a:gdLst>
                  <a:gd name="connsiteX0" fmla="*/ 39058 w 39058"/>
                  <a:gd name="connsiteY0" fmla="*/ 14299 h 20219"/>
                  <a:gd name="connsiteX1" fmla="*/ 9240 w 39058"/>
                  <a:gd name="connsiteY1" fmla="*/ 20179 h 20219"/>
                  <a:gd name="connsiteX2" fmla="*/ 0 w 39058"/>
                  <a:gd name="connsiteY2" fmla="*/ 10939 h 20219"/>
                  <a:gd name="connsiteX3" fmla="*/ 17639 w 39058"/>
                  <a:gd name="connsiteY3" fmla="*/ 20 h 20219"/>
                  <a:gd name="connsiteX4" fmla="*/ 39058 w 39058"/>
                  <a:gd name="connsiteY4" fmla="*/ 14299 h 2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58" h="20219">
                    <a:moveTo>
                      <a:pt x="39058" y="14299"/>
                    </a:moveTo>
                    <a:cubicBezTo>
                      <a:pt x="23099" y="17659"/>
                      <a:pt x="16379" y="20599"/>
                      <a:pt x="9240" y="20179"/>
                    </a:cubicBezTo>
                    <a:cubicBezTo>
                      <a:pt x="5880" y="20179"/>
                      <a:pt x="2940" y="14299"/>
                      <a:pt x="0" y="10939"/>
                    </a:cubicBezTo>
                    <a:cubicBezTo>
                      <a:pt x="5880" y="7160"/>
                      <a:pt x="11340" y="1280"/>
                      <a:pt x="17639" y="20"/>
                    </a:cubicBezTo>
                    <a:cubicBezTo>
                      <a:pt x="21419" y="-400"/>
                      <a:pt x="26879" y="5899"/>
                      <a:pt x="39058" y="142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2" name="Freihandform: Form 211">
                <a:extLst>
                  <a:ext uri="{FF2B5EF4-FFF2-40B4-BE49-F238E27FC236}">
                    <a16:creationId xmlns:a16="http://schemas.microsoft.com/office/drawing/2014/main" id="{9C9FBE5A-E972-C774-9F52-DB756BE7D691}"/>
                  </a:ext>
                </a:extLst>
              </p:cNvPr>
              <p:cNvSpPr/>
              <p:nvPr/>
            </p:nvSpPr>
            <p:spPr>
              <a:xfrm>
                <a:off x="5499420" y="2540139"/>
                <a:ext cx="32338" cy="26923"/>
              </a:xfrm>
              <a:custGeom>
                <a:avLst/>
                <a:gdLst>
                  <a:gd name="connsiteX0" fmla="*/ 32338 w 32338"/>
                  <a:gd name="connsiteY0" fmla="*/ 7891 h 26923"/>
                  <a:gd name="connsiteX1" fmla="*/ 14699 w 32338"/>
                  <a:gd name="connsiteY1" fmla="*/ 26790 h 26923"/>
                  <a:gd name="connsiteX2" fmla="*/ 0 w 32338"/>
                  <a:gd name="connsiteY2" fmla="*/ 16291 h 26923"/>
                  <a:gd name="connsiteX3" fmla="*/ 16799 w 32338"/>
                  <a:gd name="connsiteY3" fmla="*/ 332 h 26923"/>
                  <a:gd name="connsiteX4" fmla="*/ 32338 w 32338"/>
                  <a:gd name="connsiteY4" fmla="*/ 7891 h 26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38" h="26923">
                    <a:moveTo>
                      <a:pt x="32338" y="7891"/>
                    </a:moveTo>
                    <a:cubicBezTo>
                      <a:pt x="25199" y="15871"/>
                      <a:pt x="20999" y="23010"/>
                      <a:pt x="14699" y="26790"/>
                    </a:cubicBezTo>
                    <a:cubicBezTo>
                      <a:pt x="12599" y="28050"/>
                      <a:pt x="5040" y="20071"/>
                      <a:pt x="0" y="16291"/>
                    </a:cubicBezTo>
                    <a:cubicBezTo>
                      <a:pt x="5460" y="10831"/>
                      <a:pt x="10500" y="4531"/>
                      <a:pt x="16799" y="332"/>
                    </a:cubicBezTo>
                    <a:cubicBezTo>
                      <a:pt x="18899" y="-1348"/>
                      <a:pt x="24779" y="3691"/>
                      <a:pt x="32338" y="789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3" name="Freihandform: Form 212">
                <a:extLst>
                  <a:ext uri="{FF2B5EF4-FFF2-40B4-BE49-F238E27FC236}">
                    <a16:creationId xmlns:a16="http://schemas.microsoft.com/office/drawing/2014/main" id="{7074D760-12FE-BF18-065D-63E0C97FA6A7}"/>
                  </a:ext>
                </a:extLst>
              </p:cNvPr>
              <p:cNvSpPr/>
              <p:nvPr/>
            </p:nvSpPr>
            <p:spPr>
              <a:xfrm>
                <a:off x="5569540" y="2174666"/>
                <a:ext cx="27314" cy="28155"/>
              </a:xfrm>
              <a:custGeom>
                <a:avLst/>
                <a:gdLst>
                  <a:gd name="connsiteX0" fmla="*/ 27315 w 27314"/>
                  <a:gd name="connsiteY0" fmla="*/ 12180 h 28155"/>
                  <a:gd name="connsiteX1" fmla="*/ 7996 w 27314"/>
                  <a:gd name="connsiteY1" fmla="*/ 28139 h 28155"/>
                  <a:gd name="connsiteX2" fmla="*/ 16 w 27314"/>
                  <a:gd name="connsiteY2" fmla="*/ 18899 h 28155"/>
                  <a:gd name="connsiteX3" fmla="*/ 10516 w 27314"/>
                  <a:gd name="connsiteY3" fmla="*/ 0 h 28155"/>
                  <a:gd name="connsiteX4" fmla="*/ 27315 w 27314"/>
                  <a:gd name="connsiteY4" fmla="*/ 12180 h 2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14" h="28155">
                    <a:moveTo>
                      <a:pt x="27315" y="12180"/>
                    </a:moveTo>
                    <a:cubicBezTo>
                      <a:pt x="18915" y="19319"/>
                      <a:pt x="13876" y="24359"/>
                      <a:pt x="7996" y="28139"/>
                    </a:cubicBezTo>
                    <a:cubicBezTo>
                      <a:pt x="7576" y="28559"/>
                      <a:pt x="-404" y="20999"/>
                      <a:pt x="16" y="18899"/>
                    </a:cubicBezTo>
                    <a:cubicBezTo>
                      <a:pt x="2116" y="12180"/>
                      <a:pt x="6736" y="6300"/>
                      <a:pt x="10516" y="0"/>
                    </a:cubicBezTo>
                    <a:cubicBezTo>
                      <a:pt x="15136" y="2940"/>
                      <a:pt x="19335" y="6300"/>
                      <a:pt x="27315" y="1218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4" name="Freihandform: Form 213">
                <a:extLst>
                  <a:ext uri="{FF2B5EF4-FFF2-40B4-BE49-F238E27FC236}">
                    <a16:creationId xmlns:a16="http://schemas.microsoft.com/office/drawing/2014/main" id="{C6308DD1-44B0-9946-4469-28598F6E98E9}"/>
                  </a:ext>
                </a:extLst>
              </p:cNvPr>
              <p:cNvSpPr/>
              <p:nvPr/>
            </p:nvSpPr>
            <p:spPr>
              <a:xfrm>
                <a:off x="6368782" y="2687632"/>
                <a:ext cx="32758" cy="25833"/>
              </a:xfrm>
              <a:custGeom>
                <a:avLst/>
                <a:gdLst>
                  <a:gd name="connsiteX0" fmla="*/ 32759 w 32758"/>
                  <a:gd name="connsiteY0" fmla="*/ 19572 h 25833"/>
                  <a:gd name="connsiteX1" fmla="*/ 9239 w 32758"/>
                  <a:gd name="connsiteY1" fmla="*/ 25451 h 25833"/>
                  <a:gd name="connsiteX2" fmla="*/ 0 w 32758"/>
                  <a:gd name="connsiteY2" fmla="*/ 4452 h 25833"/>
                  <a:gd name="connsiteX3" fmla="*/ 13019 w 32758"/>
                  <a:gd name="connsiteY3" fmla="*/ 252 h 25833"/>
                  <a:gd name="connsiteX4" fmla="*/ 32759 w 32758"/>
                  <a:gd name="connsiteY4" fmla="*/ 19572 h 25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58" h="25833">
                    <a:moveTo>
                      <a:pt x="32759" y="19572"/>
                    </a:moveTo>
                    <a:cubicBezTo>
                      <a:pt x="20159" y="22932"/>
                      <a:pt x="10919" y="27131"/>
                      <a:pt x="9239" y="25451"/>
                    </a:cubicBezTo>
                    <a:cubicBezTo>
                      <a:pt x="4620" y="19992"/>
                      <a:pt x="2940" y="11592"/>
                      <a:pt x="0" y="4452"/>
                    </a:cubicBezTo>
                    <a:cubicBezTo>
                      <a:pt x="4620" y="2772"/>
                      <a:pt x="10500" y="-1007"/>
                      <a:pt x="13019" y="252"/>
                    </a:cubicBezTo>
                    <a:cubicBezTo>
                      <a:pt x="19319" y="4032"/>
                      <a:pt x="23519" y="10332"/>
                      <a:pt x="32759" y="1957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94F4F641-FA86-D224-8EB4-A693F75F6F1D}"/>
                  </a:ext>
                </a:extLst>
              </p:cNvPr>
              <p:cNvSpPr/>
              <p:nvPr/>
            </p:nvSpPr>
            <p:spPr>
              <a:xfrm>
                <a:off x="6334742" y="2823538"/>
                <a:ext cx="26060" cy="28138"/>
              </a:xfrm>
              <a:custGeom>
                <a:avLst/>
                <a:gdLst>
                  <a:gd name="connsiteX0" fmla="*/ 26060 w 26060"/>
                  <a:gd name="connsiteY0" fmla="*/ 16799 h 28138"/>
                  <a:gd name="connsiteX1" fmla="*/ 8841 w 26060"/>
                  <a:gd name="connsiteY1" fmla="*/ 28139 h 28138"/>
                  <a:gd name="connsiteX2" fmla="*/ 21 w 26060"/>
                  <a:gd name="connsiteY2" fmla="*/ 13020 h 28138"/>
                  <a:gd name="connsiteX3" fmla="*/ 11361 w 26060"/>
                  <a:gd name="connsiteY3" fmla="*/ 0 h 28138"/>
                  <a:gd name="connsiteX4" fmla="*/ 26060 w 26060"/>
                  <a:gd name="connsiteY4" fmla="*/ 16799 h 28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60" h="28138">
                    <a:moveTo>
                      <a:pt x="26060" y="16799"/>
                    </a:moveTo>
                    <a:cubicBezTo>
                      <a:pt x="18501" y="21839"/>
                      <a:pt x="13461" y="25199"/>
                      <a:pt x="8841" y="28139"/>
                    </a:cubicBezTo>
                    <a:cubicBezTo>
                      <a:pt x="5481" y="23099"/>
                      <a:pt x="-399" y="17639"/>
                      <a:pt x="21" y="13020"/>
                    </a:cubicBezTo>
                    <a:cubicBezTo>
                      <a:pt x="441" y="8400"/>
                      <a:pt x="7161" y="4200"/>
                      <a:pt x="11361" y="0"/>
                    </a:cubicBezTo>
                    <a:cubicBezTo>
                      <a:pt x="15561" y="4620"/>
                      <a:pt x="19341" y="9240"/>
                      <a:pt x="26060" y="167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86544522-8899-AEA2-7DB1-5279F89398C2}"/>
                  </a:ext>
                </a:extLst>
              </p:cNvPr>
              <p:cNvSpPr/>
              <p:nvPr/>
            </p:nvSpPr>
            <p:spPr>
              <a:xfrm>
                <a:off x="6527115" y="2577849"/>
                <a:ext cx="25684" cy="22694"/>
              </a:xfrm>
              <a:custGeom>
                <a:avLst/>
                <a:gdLst>
                  <a:gd name="connsiteX0" fmla="*/ 13439 w 25684"/>
                  <a:gd name="connsiteY0" fmla="*/ 0 h 22694"/>
                  <a:gd name="connsiteX1" fmla="*/ 25619 w 25684"/>
                  <a:gd name="connsiteY1" fmla="*/ 13020 h 22694"/>
                  <a:gd name="connsiteX2" fmla="*/ 18899 w 25684"/>
                  <a:gd name="connsiteY2" fmla="*/ 22679 h 22694"/>
                  <a:gd name="connsiteX3" fmla="*/ 0 w 25684"/>
                  <a:gd name="connsiteY3" fmla="*/ 9660 h 22694"/>
                  <a:gd name="connsiteX4" fmla="*/ 13439 w 25684"/>
                  <a:gd name="connsiteY4" fmla="*/ 0 h 22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684" h="22694">
                    <a:moveTo>
                      <a:pt x="13439" y="0"/>
                    </a:moveTo>
                    <a:cubicBezTo>
                      <a:pt x="18059" y="4620"/>
                      <a:pt x="23099" y="7980"/>
                      <a:pt x="25619" y="13020"/>
                    </a:cubicBezTo>
                    <a:cubicBezTo>
                      <a:pt x="26459" y="14699"/>
                      <a:pt x="18899" y="23099"/>
                      <a:pt x="18899" y="22679"/>
                    </a:cubicBezTo>
                    <a:cubicBezTo>
                      <a:pt x="12180" y="18899"/>
                      <a:pt x="6300" y="13859"/>
                      <a:pt x="0" y="9660"/>
                    </a:cubicBezTo>
                    <a:cubicBezTo>
                      <a:pt x="3360" y="6720"/>
                      <a:pt x="7140" y="4200"/>
                      <a:pt x="13439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7" name="Freihandform: Form 216">
                <a:extLst>
                  <a:ext uri="{FF2B5EF4-FFF2-40B4-BE49-F238E27FC236}">
                    <a16:creationId xmlns:a16="http://schemas.microsoft.com/office/drawing/2014/main" id="{D943C455-00B6-D9F8-42E5-8441398EE47A}"/>
                  </a:ext>
                </a:extLst>
              </p:cNvPr>
              <p:cNvSpPr/>
              <p:nvPr/>
            </p:nvSpPr>
            <p:spPr>
              <a:xfrm>
                <a:off x="5668252" y="3158607"/>
                <a:ext cx="26060" cy="24855"/>
              </a:xfrm>
              <a:custGeom>
                <a:avLst/>
                <a:gdLst>
                  <a:gd name="connsiteX0" fmla="*/ 15539 w 26060"/>
                  <a:gd name="connsiteY0" fmla="*/ 24855 h 24855"/>
                  <a:gd name="connsiteX1" fmla="*/ 0 w 26060"/>
                  <a:gd name="connsiteY1" fmla="*/ 12256 h 24855"/>
                  <a:gd name="connsiteX2" fmla="*/ 13860 w 26060"/>
                  <a:gd name="connsiteY2" fmla="*/ 76 h 24855"/>
                  <a:gd name="connsiteX3" fmla="*/ 26039 w 26060"/>
                  <a:gd name="connsiteY3" fmla="*/ 9316 h 24855"/>
                  <a:gd name="connsiteX4" fmla="*/ 15539 w 26060"/>
                  <a:gd name="connsiteY4" fmla="*/ 24855 h 24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60" h="24855">
                    <a:moveTo>
                      <a:pt x="15539" y="24855"/>
                    </a:moveTo>
                    <a:cubicBezTo>
                      <a:pt x="8400" y="18975"/>
                      <a:pt x="4200" y="15616"/>
                      <a:pt x="0" y="12256"/>
                    </a:cubicBezTo>
                    <a:cubicBezTo>
                      <a:pt x="4620" y="8056"/>
                      <a:pt x="8400" y="1756"/>
                      <a:pt x="13860" y="76"/>
                    </a:cubicBezTo>
                    <a:cubicBezTo>
                      <a:pt x="17219" y="-764"/>
                      <a:pt x="25619" y="5536"/>
                      <a:pt x="26039" y="9316"/>
                    </a:cubicBezTo>
                    <a:cubicBezTo>
                      <a:pt x="26459" y="13096"/>
                      <a:pt x="20579" y="17715"/>
                      <a:pt x="15539" y="248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8" name="Freihandform: Form 217">
                <a:extLst>
                  <a:ext uri="{FF2B5EF4-FFF2-40B4-BE49-F238E27FC236}">
                    <a16:creationId xmlns:a16="http://schemas.microsoft.com/office/drawing/2014/main" id="{3427998D-8BC4-52B1-3D51-AD835E7FA424}"/>
                  </a:ext>
                </a:extLst>
              </p:cNvPr>
              <p:cNvSpPr/>
              <p:nvPr/>
            </p:nvSpPr>
            <p:spPr>
              <a:xfrm>
                <a:off x="6139472" y="2739522"/>
                <a:ext cx="30658" cy="18948"/>
              </a:xfrm>
              <a:custGeom>
                <a:avLst/>
                <a:gdLst>
                  <a:gd name="connsiteX0" fmla="*/ 30659 w 30658"/>
                  <a:gd name="connsiteY0" fmla="*/ 13039 h 18948"/>
                  <a:gd name="connsiteX1" fmla="*/ 5880 w 30658"/>
                  <a:gd name="connsiteY1" fmla="*/ 18919 h 18948"/>
                  <a:gd name="connsiteX2" fmla="*/ 0 w 30658"/>
                  <a:gd name="connsiteY2" fmla="*/ 13039 h 18948"/>
                  <a:gd name="connsiteX3" fmla="*/ 18479 w 30658"/>
                  <a:gd name="connsiteY3" fmla="*/ 20 h 18948"/>
                  <a:gd name="connsiteX4" fmla="*/ 30659 w 30658"/>
                  <a:gd name="connsiteY4" fmla="*/ 13039 h 1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658" h="18948">
                    <a:moveTo>
                      <a:pt x="30659" y="13039"/>
                    </a:moveTo>
                    <a:cubicBezTo>
                      <a:pt x="19319" y="15979"/>
                      <a:pt x="12599" y="18079"/>
                      <a:pt x="5880" y="18919"/>
                    </a:cubicBezTo>
                    <a:cubicBezTo>
                      <a:pt x="4200" y="19339"/>
                      <a:pt x="2100" y="15139"/>
                      <a:pt x="0" y="13039"/>
                    </a:cubicBezTo>
                    <a:cubicBezTo>
                      <a:pt x="6300" y="8419"/>
                      <a:pt x="12180" y="3380"/>
                      <a:pt x="18479" y="20"/>
                    </a:cubicBezTo>
                    <a:cubicBezTo>
                      <a:pt x="19319" y="-400"/>
                      <a:pt x="23939" y="5900"/>
                      <a:pt x="30659" y="1303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19" name="Freihandform: Form 218">
                <a:extLst>
                  <a:ext uri="{FF2B5EF4-FFF2-40B4-BE49-F238E27FC236}">
                    <a16:creationId xmlns:a16="http://schemas.microsoft.com/office/drawing/2014/main" id="{588D539E-353A-D0B7-1699-1558C7C973DF}"/>
                  </a:ext>
                </a:extLst>
              </p:cNvPr>
              <p:cNvSpPr/>
              <p:nvPr/>
            </p:nvSpPr>
            <p:spPr>
              <a:xfrm>
                <a:off x="5832465" y="2383397"/>
                <a:ext cx="23099" cy="18500"/>
              </a:xfrm>
              <a:custGeom>
                <a:avLst/>
                <a:gdLst>
                  <a:gd name="connsiteX0" fmla="*/ 23099 w 23099"/>
                  <a:gd name="connsiteY0" fmla="*/ 8400 h 18500"/>
                  <a:gd name="connsiteX1" fmla="*/ 12179 w 23099"/>
                  <a:gd name="connsiteY1" fmla="*/ 18479 h 18500"/>
                  <a:gd name="connsiteX2" fmla="*/ 0 w 23099"/>
                  <a:gd name="connsiteY2" fmla="*/ 7560 h 18500"/>
                  <a:gd name="connsiteX3" fmla="*/ 10500 w 23099"/>
                  <a:gd name="connsiteY3" fmla="*/ 0 h 18500"/>
                  <a:gd name="connsiteX4" fmla="*/ 23099 w 23099"/>
                  <a:gd name="connsiteY4" fmla="*/ 8400 h 18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99" h="18500">
                    <a:moveTo>
                      <a:pt x="23099" y="8400"/>
                    </a:moveTo>
                    <a:cubicBezTo>
                      <a:pt x="18059" y="13019"/>
                      <a:pt x="13439" y="18899"/>
                      <a:pt x="12179" y="18479"/>
                    </a:cubicBezTo>
                    <a:cubicBezTo>
                      <a:pt x="7560" y="15959"/>
                      <a:pt x="4200" y="11340"/>
                      <a:pt x="0" y="7560"/>
                    </a:cubicBezTo>
                    <a:cubicBezTo>
                      <a:pt x="3360" y="5040"/>
                      <a:pt x="7140" y="420"/>
                      <a:pt x="10500" y="0"/>
                    </a:cubicBezTo>
                    <a:cubicBezTo>
                      <a:pt x="13859" y="0"/>
                      <a:pt x="17639" y="4620"/>
                      <a:pt x="23099" y="84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0" name="Freihandform: Form 219">
                <a:extLst>
                  <a:ext uri="{FF2B5EF4-FFF2-40B4-BE49-F238E27FC236}">
                    <a16:creationId xmlns:a16="http://schemas.microsoft.com/office/drawing/2014/main" id="{66603131-FC15-07D7-46DC-1C15C7D3BEC9}"/>
                  </a:ext>
                </a:extLst>
              </p:cNvPr>
              <p:cNvSpPr/>
              <p:nvPr/>
            </p:nvSpPr>
            <p:spPr>
              <a:xfrm>
                <a:off x="6313764" y="2613104"/>
                <a:ext cx="22258" cy="18531"/>
              </a:xfrm>
              <a:custGeom>
                <a:avLst/>
                <a:gdLst>
                  <a:gd name="connsiteX0" fmla="*/ 22259 w 22258"/>
                  <a:gd name="connsiteY0" fmla="*/ 8842 h 18531"/>
                  <a:gd name="connsiteX1" fmla="*/ 10920 w 22258"/>
                  <a:gd name="connsiteY1" fmla="*/ 18502 h 18531"/>
                  <a:gd name="connsiteX2" fmla="*/ 0 w 22258"/>
                  <a:gd name="connsiteY2" fmla="*/ 12202 h 18531"/>
                  <a:gd name="connsiteX3" fmla="*/ 10920 w 22258"/>
                  <a:gd name="connsiteY3" fmla="*/ 23 h 18531"/>
                  <a:gd name="connsiteX4" fmla="*/ 22259 w 22258"/>
                  <a:gd name="connsiteY4" fmla="*/ 8842 h 18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58" h="18531">
                    <a:moveTo>
                      <a:pt x="22259" y="8842"/>
                    </a:moveTo>
                    <a:cubicBezTo>
                      <a:pt x="17639" y="13042"/>
                      <a:pt x="14699" y="18082"/>
                      <a:pt x="10920" y="18502"/>
                    </a:cubicBezTo>
                    <a:cubicBezTo>
                      <a:pt x="7560" y="18922"/>
                      <a:pt x="3780" y="14722"/>
                      <a:pt x="0" y="12202"/>
                    </a:cubicBezTo>
                    <a:cubicBezTo>
                      <a:pt x="3360" y="8002"/>
                      <a:pt x="6720" y="3383"/>
                      <a:pt x="10920" y="23"/>
                    </a:cubicBezTo>
                    <a:cubicBezTo>
                      <a:pt x="11759" y="-397"/>
                      <a:pt x="17219" y="5063"/>
                      <a:pt x="22259" y="8842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A4AEDAD7-58F5-DA26-4245-E9A39D4CBFA0}"/>
                  </a:ext>
                </a:extLst>
              </p:cNvPr>
              <p:cNvSpPr/>
              <p:nvPr/>
            </p:nvSpPr>
            <p:spPr>
              <a:xfrm>
                <a:off x="5916375" y="2497632"/>
                <a:ext cx="18565" cy="23099"/>
              </a:xfrm>
              <a:custGeom>
                <a:avLst/>
                <a:gdLst>
                  <a:gd name="connsiteX0" fmla="*/ 8906 w 18565"/>
                  <a:gd name="connsiteY0" fmla="*/ 23099 h 23099"/>
                  <a:gd name="connsiteX1" fmla="*/ 86 w 18565"/>
                  <a:gd name="connsiteY1" fmla="*/ 10919 h 23099"/>
                  <a:gd name="connsiteX2" fmla="*/ 12266 w 18565"/>
                  <a:gd name="connsiteY2" fmla="*/ 0 h 23099"/>
                  <a:gd name="connsiteX3" fmla="*/ 18565 w 18565"/>
                  <a:gd name="connsiteY3" fmla="*/ 11340 h 23099"/>
                  <a:gd name="connsiteX4" fmla="*/ 8906 w 18565"/>
                  <a:gd name="connsiteY4" fmla="*/ 23099 h 23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65" h="23099">
                    <a:moveTo>
                      <a:pt x="8906" y="23099"/>
                    </a:moveTo>
                    <a:cubicBezTo>
                      <a:pt x="4706" y="17639"/>
                      <a:pt x="-754" y="12179"/>
                      <a:pt x="86" y="10919"/>
                    </a:cubicBezTo>
                    <a:cubicBezTo>
                      <a:pt x="3026" y="6720"/>
                      <a:pt x="8066" y="3780"/>
                      <a:pt x="12266" y="0"/>
                    </a:cubicBezTo>
                    <a:cubicBezTo>
                      <a:pt x="14366" y="3780"/>
                      <a:pt x="18565" y="7980"/>
                      <a:pt x="18565" y="11340"/>
                    </a:cubicBezTo>
                    <a:cubicBezTo>
                      <a:pt x="18565" y="15119"/>
                      <a:pt x="13526" y="18059"/>
                      <a:pt x="8906" y="2309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7F3D8521-16F2-7235-2DBE-3E1BBEF07E29}"/>
                  </a:ext>
                </a:extLst>
              </p:cNvPr>
              <p:cNvSpPr/>
              <p:nvPr/>
            </p:nvSpPr>
            <p:spPr>
              <a:xfrm>
                <a:off x="5906770" y="2340458"/>
                <a:ext cx="16411" cy="16900"/>
              </a:xfrm>
              <a:custGeom>
                <a:avLst/>
                <a:gdLst>
                  <a:gd name="connsiteX0" fmla="*/ 6332 w 16411"/>
                  <a:gd name="connsiteY0" fmla="*/ 16900 h 16900"/>
                  <a:gd name="connsiteX1" fmla="*/ 32 w 16411"/>
                  <a:gd name="connsiteY1" fmla="*/ 11021 h 16900"/>
                  <a:gd name="connsiteX2" fmla="*/ 6752 w 16411"/>
                  <a:gd name="connsiteY2" fmla="*/ 101 h 16900"/>
                  <a:gd name="connsiteX3" fmla="*/ 16411 w 16411"/>
                  <a:gd name="connsiteY3" fmla="*/ 5981 h 16900"/>
                  <a:gd name="connsiteX4" fmla="*/ 6332 w 16411"/>
                  <a:gd name="connsiteY4" fmla="*/ 16900 h 16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11" h="16900">
                    <a:moveTo>
                      <a:pt x="6332" y="16900"/>
                    </a:moveTo>
                    <a:cubicBezTo>
                      <a:pt x="3392" y="14380"/>
                      <a:pt x="-388" y="11860"/>
                      <a:pt x="32" y="11021"/>
                    </a:cubicBezTo>
                    <a:cubicBezTo>
                      <a:pt x="1712" y="6821"/>
                      <a:pt x="3392" y="2201"/>
                      <a:pt x="6752" y="101"/>
                    </a:cubicBezTo>
                    <a:cubicBezTo>
                      <a:pt x="8012" y="-739"/>
                      <a:pt x="13052" y="3881"/>
                      <a:pt x="16411" y="5981"/>
                    </a:cubicBezTo>
                    <a:cubicBezTo>
                      <a:pt x="13052" y="9760"/>
                      <a:pt x="9692" y="13121"/>
                      <a:pt x="6332" y="1690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B8FB4ED9-7D90-0804-1EBE-125865EC632F}"/>
                  </a:ext>
                </a:extLst>
              </p:cNvPr>
              <p:cNvSpPr/>
              <p:nvPr/>
            </p:nvSpPr>
            <p:spPr>
              <a:xfrm>
                <a:off x="7546361" y="3926446"/>
                <a:ext cx="56328" cy="56903"/>
              </a:xfrm>
              <a:custGeom>
                <a:avLst/>
                <a:gdLst>
                  <a:gd name="connsiteX0" fmla="*/ 45409 w 56328"/>
                  <a:gd name="connsiteY0" fmla="*/ 6264 h 56903"/>
                  <a:gd name="connsiteX1" fmla="*/ 56328 w 56328"/>
                  <a:gd name="connsiteY1" fmla="*/ 38183 h 56903"/>
                  <a:gd name="connsiteX2" fmla="*/ 43729 w 56328"/>
                  <a:gd name="connsiteY2" fmla="*/ 45742 h 56903"/>
                  <a:gd name="connsiteX3" fmla="*/ 2991 w 56328"/>
                  <a:gd name="connsiteY3" fmla="*/ 42802 h 56903"/>
                  <a:gd name="connsiteX4" fmla="*/ 16850 w 56328"/>
                  <a:gd name="connsiteY4" fmla="*/ 804 h 56903"/>
                  <a:gd name="connsiteX5" fmla="*/ 45409 w 56328"/>
                  <a:gd name="connsiteY5" fmla="*/ 6264 h 56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328" h="56903">
                    <a:moveTo>
                      <a:pt x="45409" y="6264"/>
                    </a:moveTo>
                    <a:cubicBezTo>
                      <a:pt x="49189" y="16764"/>
                      <a:pt x="52549" y="27683"/>
                      <a:pt x="56328" y="38183"/>
                    </a:cubicBezTo>
                    <a:cubicBezTo>
                      <a:pt x="52128" y="40702"/>
                      <a:pt x="47508" y="42802"/>
                      <a:pt x="43729" y="45742"/>
                    </a:cubicBezTo>
                    <a:cubicBezTo>
                      <a:pt x="23990" y="61282"/>
                      <a:pt x="17270" y="60862"/>
                      <a:pt x="2991" y="42802"/>
                    </a:cubicBezTo>
                    <a:cubicBezTo>
                      <a:pt x="-4569" y="33143"/>
                      <a:pt x="2991" y="4584"/>
                      <a:pt x="16850" y="804"/>
                    </a:cubicBezTo>
                    <a:cubicBezTo>
                      <a:pt x="25250" y="-2136"/>
                      <a:pt x="35749" y="3744"/>
                      <a:pt x="45409" y="6264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4" name="Freihandform: Form 223">
                <a:extLst>
                  <a:ext uri="{FF2B5EF4-FFF2-40B4-BE49-F238E27FC236}">
                    <a16:creationId xmlns:a16="http://schemas.microsoft.com/office/drawing/2014/main" id="{B2DF91A8-5B07-211D-1DC8-3BEC973EA01C}"/>
                  </a:ext>
                </a:extLst>
              </p:cNvPr>
              <p:cNvSpPr/>
              <p:nvPr/>
            </p:nvSpPr>
            <p:spPr>
              <a:xfrm>
                <a:off x="7511553" y="4017857"/>
                <a:ext cx="37798" cy="40576"/>
              </a:xfrm>
              <a:custGeom>
                <a:avLst/>
                <a:gdLst>
                  <a:gd name="connsiteX0" fmla="*/ 37798 w 37798"/>
                  <a:gd name="connsiteY0" fmla="*/ 5569 h 40576"/>
                  <a:gd name="connsiteX1" fmla="*/ 8820 w 37798"/>
                  <a:gd name="connsiteY1" fmla="*/ 40428 h 40576"/>
                  <a:gd name="connsiteX2" fmla="*/ 0 w 37798"/>
                  <a:gd name="connsiteY2" fmla="*/ 37068 h 40576"/>
                  <a:gd name="connsiteX3" fmla="*/ 24359 w 37798"/>
                  <a:gd name="connsiteY3" fmla="*/ 110 h 40576"/>
                  <a:gd name="connsiteX4" fmla="*/ 37798 w 37798"/>
                  <a:gd name="connsiteY4" fmla="*/ 5569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798" h="40576">
                    <a:moveTo>
                      <a:pt x="37798" y="5569"/>
                    </a:moveTo>
                    <a:cubicBezTo>
                      <a:pt x="34438" y="23628"/>
                      <a:pt x="22679" y="32868"/>
                      <a:pt x="8820" y="40428"/>
                    </a:cubicBezTo>
                    <a:cubicBezTo>
                      <a:pt x="7139" y="41268"/>
                      <a:pt x="2940" y="38328"/>
                      <a:pt x="0" y="37068"/>
                    </a:cubicBezTo>
                    <a:cubicBezTo>
                      <a:pt x="7980" y="24468"/>
                      <a:pt x="15960" y="11869"/>
                      <a:pt x="24359" y="110"/>
                    </a:cubicBezTo>
                    <a:cubicBezTo>
                      <a:pt x="25199" y="-730"/>
                      <a:pt x="32759" y="3469"/>
                      <a:pt x="37798" y="556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1E33BFB4-4809-E7CA-1E79-970D0CB2F49A}"/>
                  </a:ext>
                </a:extLst>
              </p:cNvPr>
              <p:cNvSpPr/>
              <p:nvPr/>
            </p:nvSpPr>
            <p:spPr>
              <a:xfrm>
                <a:off x="7724433" y="4655466"/>
                <a:ext cx="139904" cy="143679"/>
              </a:xfrm>
              <a:custGeom>
                <a:avLst/>
                <a:gdLst>
                  <a:gd name="connsiteX0" fmla="*/ 139904 w 139904"/>
                  <a:gd name="connsiteY0" fmla="*/ 44971 h 143679"/>
                  <a:gd name="connsiteX1" fmla="*/ 48348 w 139904"/>
                  <a:gd name="connsiteY1" fmla="*/ 143667 h 143679"/>
                  <a:gd name="connsiteX2" fmla="*/ 1310 w 139904"/>
                  <a:gd name="connsiteY2" fmla="*/ 116368 h 143679"/>
                  <a:gd name="connsiteX3" fmla="*/ 3830 w 139904"/>
                  <a:gd name="connsiteY3" fmla="*/ 93689 h 143679"/>
                  <a:gd name="connsiteX4" fmla="*/ 51288 w 139904"/>
                  <a:gd name="connsiteY4" fmla="*/ 71850 h 143679"/>
                  <a:gd name="connsiteX5" fmla="*/ 76487 w 139904"/>
                  <a:gd name="connsiteY5" fmla="*/ 51691 h 143679"/>
                  <a:gd name="connsiteX6" fmla="*/ 76067 w 139904"/>
                  <a:gd name="connsiteY6" fmla="*/ 41192 h 143679"/>
                  <a:gd name="connsiteX7" fmla="*/ 98326 w 139904"/>
                  <a:gd name="connsiteY7" fmla="*/ 33 h 143679"/>
                  <a:gd name="connsiteX8" fmla="*/ 139904 w 139904"/>
                  <a:gd name="connsiteY8" fmla="*/ 44971 h 143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9904" h="143679">
                    <a:moveTo>
                      <a:pt x="139904" y="44971"/>
                    </a:moveTo>
                    <a:cubicBezTo>
                      <a:pt x="139904" y="86549"/>
                      <a:pt x="89087" y="142827"/>
                      <a:pt x="48348" y="143667"/>
                    </a:cubicBezTo>
                    <a:cubicBezTo>
                      <a:pt x="29029" y="144087"/>
                      <a:pt x="10970" y="134008"/>
                      <a:pt x="1310" y="116368"/>
                    </a:cubicBezTo>
                    <a:cubicBezTo>
                      <a:pt x="-1629" y="110909"/>
                      <a:pt x="890" y="100409"/>
                      <a:pt x="3830" y="93689"/>
                    </a:cubicBezTo>
                    <a:cubicBezTo>
                      <a:pt x="16849" y="62611"/>
                      <a:pt x="17270" y="62611"/>
                      <a:pt x="51288" y="71850"/>
                    </a:cubicBezTo>
                    <a:cubicBezTo>
                      <a:pt x="69347" y="76470"/>
                      <a:pt x="75227" y="71850"/>
                      <a:pt x="76487" y="51691"/>
                    </a:cubicBezTo>
                    <a:cubicBezTo>
                      <a:pt x="76487" y="48331"/>
                      <a:pt x="76067" y="44551"/>
                      <a:pt x="76067" y="41192"/>
                    </a:cubicBezTo>
                    <a:cubicBezTo>
                      <a:pt x="77747" y="14313"/>
                      <a:pt x="86147" y="-807"/>
                      <a:pt x="98326" y="33"/>
                    </a:cubicBezTo>
                    <a:cubicBezTo>
                      <a:pt x="120165" y="2133"/>
                      <a:pt x="139904" y="23552"/>
                      <a:pt x="139904" y="4497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C1E3690B-84B2-BD34-02F9-8F57BDE03F85}"/>
                  </a:ext>
                </a:extLst>
              </p:cNvPr>
              <p:cNvSpPr/>
              <p:nvPr/>
            </p:nvSpPr>
            <p:spPr>
              <a:xfrm>
                <a:off x="7843284" y="5139160"/>
                <a:ext cx="139068" cy="133292"/>
              </a:xfrm>
              <a:custGeom>
                <a:avLst/>
                <a:gdLst>
                  <a:gd name="connsiteX0" fmla="*/ 139069 w 139068"/>
                  <a:gd name="connsiteY0" fmla="*/ 84155 h 133292"/>
                  <a:gd name="connsiteX1" fmla="*/ 128149 w 139068"/>
                  <a:gd name="connsiteY1" fmla="*/ 108094 h 133292"/>
                  <a:gd name="connsiteX2" fmla="*/ 105470 w 139068"/>
                  <a:gd name="connsiteY2" fmla="*/ 133293 h 133292"/>
                  <a:gd name="connsiteX3" fmla="*/ 82791 w 139068"/>
                  <a:gd name="connsiteY3" fmla="*/ 108514 h 133292"/>
                  <a:gd name="connsiteX4" fmla="*/ 67252 w 139068"/>
                  <a:gd name="connsiteY4" fmla="*/ 81635 h 133292"/>
                  <a:gd name="connsiteX5" fmla="*/ 24834 w 139068"/>
                  <a:gd name="connsiteY5" fmla="*/ 69876 h 133292"/>
                  <a:gd name="connsiteX6" fmla="*/ 2575 w 139068"/>
                  <a:gd name="connsiteY6" fmla="*/ 64416 h 133292"/>
                  <a:gd name="connsiteX7" fmla="*/ 2155 w 139068"/>
                  <a:gd name="connsiteY7" fmla="*/ 45516 h 133292"/>
                  <a:gd name="connsiteX8" fmla="*/ 33654 w 139068"/>
                  <a:gd name="connsiteY8" fmla="*/ 6458 h 133292"/>
                  <a:gd name="connsiteX9" fmla="*/ 81112 w 139068"/>
                  <a:gd name="connsiteY9" fmla="*/ 8978 h 133292"/>
                  <a:gd name="connsiteX10" fmla="*/ 128569 w 139068"/>
                  <a:gd name="connsiteY10" fmla="*/ 55176 h 133292"/>
                  <a:gd name="connsiteX11" fmla="*/ 139069 w 139068"/>
                  <a:gd name="connsiteY11" fmla="*/ 84155 h 133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9068" h="133292">
                    <a:moveTo>
                      <a:pt x="139069" y="84155"/>
                    </a:moveTo>
                    <a:cubicBezTo>
                      <a:pt x="135289" y="92975"/>
                      <a:pt x="132769" y="101374"/>
                      <a:pt x="128149" y="108094"/>
                    </a:cubicBezTo>
                    <a:cubicBezTo>
                      <a:pt x="121430" y="117333"/>
                      <a:pt x="113030" y="124893"/>
                      <a:pt x="105470" y="133293"/>
                    </a:cubicBezTo>
                    <a:cubicBezTo>
                      <a:pt x="97911" y="125313"/>
                      <a:pt x="89511" y="117753"/>
                      <a:pt x="82791" y="108514"/>
                    </a:cubicBezTo>
                    <a:cubicBezTo>
                      <a:pt x="76491" y="100114"/>
                      <a:pt x="73552" y="89614"/>
                      <a:pt x="67252" y="81635"/>
                    </a:cubicBezTo>
                    <a:cubicBezTo>
                      <a:pt x="56333" y="68196"/>
                      <a:pt x="45413" y="53496"/>
                      <a:pt x="24834" y="69876"/>
                    </a:cubicBezTo>
                    <a:cubicBezTo>
                      <a:pt x="20634" y="72815"/>
                      <a:pt x="8035" y="69035"/>
                      <a:pt x="2575" y="64416"/>
                    </a:cubicBezTo>
                    <a:cubicBezTo>
                      <a:pt x="-785" y="61896"/>
                      <a:pt x="-785" y="50136"/>
                      <a:pt x="2155" y="45516"/>
                    </a:cubicBezTo>
                    <a:cubicBezTo>
                      <a:pt x="10974" y="31657"/>
                      <a:pt x="14334" y="14438"/>
                      <a:pt x="33654" y="6458"/>
                    </a:cubicBezTo>
                    <a:cubicBezTo>
                      <a:pt x="51713" y="-1102"/>
                      <a:pt x="64732" y="-4042"/>
                      <a:pt x="81112" y="8978"/>
                    </a:cubicBezTo>
                    <a:cubicBezTo>
                      <a:pt x="98331" y="23257"/>
                      <a:pt x="120170" y="32077"/>
                      <a:pt x="128569" y="55176"/>
                    </a:cubicBezTo>
                    <a:cubicBezTo>
                      <a:pt x="131510" y="65255"/>
                      <a:pt x="135289" y="74495"/>
                      <a:pt x="139069" y="8415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3E252C71-7559-9EE1-E989-4906D95E060E}"/>
                  </a:ext>
                </a:extLst>
              </p:cNvPr>
              <p:cNvSpPr/>
              <p:nvPr/>
            </p:nvSpPr>
            <p:spPr>
              <a:xfrm>
                <a:off x="7895296" y="4931294"/>
                <a:ext cx="148324" cy="133034"/>
              </a:xfrm>
              <a:custGeom>
                <a:avLst/>
                <a:gdLst>
                  <a:gd name="connsiteX0" fmla="*/ 37079 w 148324"/>
                  <a:gd name="connsiteY0" fmla="*/ 132848 h 133034"/>
                  <a:gd name="connsiteX1" fmla="*/ 16080 w 148324"/>
                  <a:gd name="connsiteY1" fmla="*/ 132848 h 133034"/>
                  <a:gd name="connsiteX2" fmla="*/ 541 w 148324"/>
                  <a:gd name="connsiteY2" fmla="*/ 111008 h 133034"/>
                  <a:gd name="connsiteX3" fmla="*/ 11880 w 148324"/>
                  <a:gd name="connsiteY3" fmla="*/ 76990 h 133034"/>
                  <a:gd name="connsiteX4" fmla="*/ 40439 w 148324"/>
                  <a:gd name="connsiteY4" fmla="*/ 68590 h 133034"/>
                  <a:gd name="connsiteX5" fmla="*/ 94197 w 148324"/>
                  <a:gd name="connsiteY5" fmla="*/ 45911 h 133034"/>
                  <a:gd name="connsiteX6" fmla="*/ 106796 w 148324"/>
                  <a:gd name="connsiteY6" fmla="*/ 12312 h 133034"/>
                  <a:gd name="connsiteX7" fmla="*/ 121496 w 148324"/>
                  <a:gd name="connsiteY7" fmla="*/ 133 h 133034"/>
                  <a:gd name="connsiteX8" fmla="*/ 145434 w 148324"/>
                  <a:gd name="connsiteY8" fmla="*/ 17352 h 133034"/>
                  <a:gd name="connsiteX9" fmla="*/ 147114 w 148324"/>
                  <a:gd name="connsiteY9" fmla="*/ 42551 h 133034"/>
                  <a:gd name="connsiteX10" fmla="*/ 37079 w 148324"/>
                  <a:gd name="connsiteY10" fmla="*/ 132848 h 133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8324" h="133034">
                    <a:moveTo>
                      <a:pt x="37079" y="132848"/>
                    </a:moveTo>
                    <a:cubicBezTo>
                      <a:pt x="29939" y="132848"/>
                      <a:pt x="23220" y="133267"/>
                      <a:pt x="16080" y="132848"/>
                    </a:cubicBezTo>
                    <a:cubicBezTo>
                      <a:pt x="2221" y="132007"/>
                      <a:pt x="-1559" y="121928"/>
                      <a:pt x="541" y="111008"/>
                    </a:cubicBezTo>
                    <a:cubicBezTo>
                      <a:pt x="2640" y="99249"/>
                      <a:pt x="6840" y="87909"/>
                      <a:pt x="11880" y="76990"/>
                    </a:cubicBezTo>
                    <a:cubicBezTo>
                      <a:pt x="17760" y="63970"/>
                      <a:pt x="26579" y="62290"/>
                      <a:pt x="40439" y="68590"/>
                    </a:cubicBezTo>
                    <a:cubicBezTo>
                      <a:pt x="69838" y="82450"/>
                      <a:pt x="82437" y="76150"/>
                      <a:pt x="94197" y="45911"/>
                    </a:cubicBezTo>
                    <a:cubicBezTo>
                      <a:pt x="98397" y="34572"/>
                      <a:pt x="101336" y="22812"/>
                      <a:pt x="106796" y="12312"/>
                    </a:cubicBezTo>
                    <a:cubicBezTo>
                      <a:pt x="109736" y="6853"/>
                      <a:pt x="118555" y="-1127"/>
                      <a:pt x="121496" y="133"/>
                    </a:cubicBezTo>
                    <a:cubicBezTo>
                      <a:pt x="130735" y="3493"/>
                      <a:pt x="140395" y="9373"/>
                      <a:pt x="145434" y="17352"/>
                    </a:cubicBezTo>
                    <a:cubicBezTo>
                      <a:pt x="149634" y="23652"/>
                      <a:pt x="148374" y="34572"/>
                      <a:pt x="147114" y="42551"/>
                    </a:cubicBezTo>
                    <a:cubicBezTo>
                      <a:pt x="137874" y="95889"/>
                      <a:pt x="90837" y="133687"/>
                      <a:pt x="37079" y="13284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58814093-F519-E98F-28F0-FF195915532B}"/>
                  </a:ext>
                </a:extLst>
              </p:cNvPr>
              <p:cNvSpPr/>
              <p:nvPr/>
            </p:nvSpPr>
            <p:spPr>
              <a:xfrm>
                <a:off x="8191780" y="4488671"/>
                <a:ext cx="153875" cy="114330"/>
              </a:xfrm>
              <a:custGeom>
                <a:avLst/>
                <a:gdLst>
                  <a:gd name="connsiteX0" fmla="*/ 43822 w 153875"/>
                  <a:gd name="connsiteY0" fmla="*/ 114330 h 114330"/>
                  <a:gd name="connsiteX1" fmla="*/ 21143 w 153875"/>
                  <a:gd name="connsiteY1" fmla="*/ 108870 h 114330"/>
                  <a:gd name="connsiteX2" fmla="*/ 144 w 153875"/>
                  <a:gd name="connsiteY2" fmla="*/ 82832 h 114330"/>
                  <a:gd name="connsiteX3" fmla="*/ 23662 w 153875"/>
                  <a:gd name="connsiteY3" fmla="*/ 45033 h 114330"/>
                  <a:gd name="connsiteX4" fmla="*/ 46342 w 153875"/>
                  <a:gd name="connsiteY4" fmla="*/ 50073 h 114330"/>
                  <a:gd name="connsiteX5" fmla="*/ 100519 w 153875"/>
                  <a:gd name="connsiteY5" fmla="*/ 31594 h 114330"/>
                  <a:gd name="connsiteX6" fmla="*/ 110599 w 153875"/>
                  <a:gd name="connsiteY6" fmla="*/ 8915 h 114330"/>
                  <a:gd name="connsiteX7" fmla="*/ 137477 w 153875"/>
                  <a:gd name="connsiteY7" fmla="*/ 515 h 114330"/>
                  <a:gd name="connsiteX8" fmla="*/ 153437 w 153875"/>
                  <a:gd name="connsiteY8" fmla="*/ 29494 h 114330"/>
                  <a:gd name="connsiteX9" fmla="*/ 43822 w 153875"/>
                  <a:gd name="connsiteY9" fmla="*/ 114330 h 11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3875" h="114330">
                    <a:moveTo>
                      <a:pt x="43822" y="114330"/>
                    </a:moveTo>
                    <a:cubicBezTo>
                      <a:pt x="40462" y="113491"/>
                      <a:pt x="28702" y="114330"/>
                      <a:pt x="21143" y="108870"/>
                    </a:cubicBezTo>
                    <a:cubicBezTo>
                      <a:pt x="11903" y="102571"/>
                      <a:pt x="-1537" y="89971"/>
                      <a:pt x="144" y="82832"/>
                    </a:cubicBezTo>
                    <a:cubicBezTo>
                      <a:pt x="3083" y="68972"/>
                      <a:pt x="13583" y="55953"/>
                      <a:pt x="23662" y="45033"/>
                    </a:cubicBezTo>
                    <a:cubicBezTo>
                      <a:pt x="26182" y="42094"/>
                      <a:pt x="38782" y="47133"/>
                      <a:pt x="46342" y="50073"/>
                    </a:cubicBezTo>
                    <a:cubicBezTo>
                      <a:pt x="71960" y="59313"/>
                      <a:pt x="88340" y="54693"/>
                      <a:pt x="100519" y="31594"/>
                    </a:cubicBezTo>
                    <a:cubicBezTo>
                      <a:pt x="104719" y="24034"/>
                      <a:pt x="104719" y="13535"/>
                      <a:pt x="110599" y="8915"/>
                    </a:cubicBezTo>
                    <a:cubicBezTo>
                      <a:pt x="117738" y="3035"/>
                      <a:pt x="129498" y="-1585"/>
                      <a:pt x="137477" y="515"/>
                    </a:cubicBezTo>
                    <a:cubicBezTo>
                      <a:pt x="150077" y="3455"/>
                      <a:pt x="155537" y="15635"/>
                      <a:pt x="153437" y="29494"/>
                    </a:cubicBezTo>
                    <a:cubicBezTo>
                      <a:pt x="145457" y="74852"/>
                      <a:pt x="98839" y="113491"/>
                      <a:pt x="43822" y="11433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9FB0FD37-80CD-1E4A-D918-99C2A24E7804}"/>
                  </a:ext>
                </a:extLst>
              </p:cNvPr>
              <p:cNvSpPr/>
              <p:nvPr/>
            </p:nvSpPr>
            <p:spPr>
              <a:xfrm>
                <a:off x="7748750" y="4977625"/>
                <a:ext cx="73163" cy="155923"/>
              </a:xfrm>
              <a:custGeom>
                <a:avLst/>
                <a:gdLst>
                  <a:gd name="connsiteX0" fmla="*/ 35791 w 73163"/>
                  <a:gd name="connsiteY0" fmla="*/ 0 h 155923"/>
                  <a:gd name="connsiteX1" fmla="*/ 54271 w 73163"/>
                  <a:gd name="connsiteY1" fmla="*/ 12180 h 155923"/>
                  <a:gd name="connsiteX2" fmla="*/ 72750 w 73163"/>
                  <a:gd name="connsiteY2" fmla="*/ 69297 h 155923"/>
                  <a:gd name="connsiteX3" fmla="*/ 34111 w 73163"/>
                  <a:gd name="connsiteY3" fmla="*/ 151194 h 155923"/>
                  <a:gd name="connsiteX4" fmla="*/ 11853 w 73163"/>
                  <a:gd name="connsiteY4" fmla="*/ 154554 h 155923"/>
                  <a:gd name="connsiteX5" fmla="*/ 93 w 73163"/>
                  <a:gd name="connsiteY5" fmla="*/ 133554 h 155923"/>
                  <a:gd name="connsiteX6" fmla="*/ 7653 w 73163"/>
                  <a:gd name="connsiteY6" fmla="*/ 115075 h 155923"/>
                  <a:gd name="connsiteX7" fmla="*/ 12692 w 73163"/>
                  <a:gd name="connsiteY7" fmla="*/ 57538 h 155923"/>
                  <a:gd name="connsiteX8" fmla="*/ 21512 w 73163"/>
                  <a:gd name="connsiteY8" fmla="*/ 14279 h 155923"/>
                  <a:gd name="connsiteX9" fmla="*/ 35791 w 73163"/>
                  <a:gd name="connsiteY9" fmla="*/ 0 h 155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163" h="155923">
                    <a:moveTo>
                      <a:pt x="35791" y="0"/>
                    </a:moveTo>
                    <a:cubicBezTo>
                      <a:pt x="43351" y="5040"/>
                      <a:pt x="52171" y="7140"/>
                      <a:pt x="54271" y="12180"/>
                    </a:cubicBezTo>
                    <a:cubicBezTo>
                      <a:pt x="62250" y="30659"/>
                      <a:pt x="75690" y="51658"/>
                      <a:pt x="72750" y="69297"/>
                    </a:cubicBezTo>
                    <a:cubicBezTo>
                      <a:pt x="68130" y="98696"/>
                      <a:pt x="59730" y="130194"/>
                      <a:pt x="34111" y="151194"/>
                    </a:cubicBezTo>
                    <a:cubicBezTo>
                      <a:pt x="29072" y="155393"/>
                      <a:pt x="17312" y="157493"/>
                      <a:pt x="11853" y="154554"/>
                    </a:cubicBezTo>
                    <a:cubicBezTo>
                      <a:pt x="5553" y="151194"/>
                      <a:pt x="1353" y="141114"/>
                      <a:pt x="93" y="133554"/>
                    </a:cubicBezTo>
                    <a:cubicBezTo>
                      <a:pt x="-747" y="127675"/>
                      <a:pt x="4293" y="120955"/>
                      <a:pt x="7653" y="115075"/>
                    </a:cubicBezTo>
                    <a:cubicBezTo>
                      <a:pt x="16472" y="96596"/>
                      <a:pt x="26552" y="79797"/>
                      <a:pt x="12692" y="57538"/>
                    </a:cubicBezTo>
                    <a:cubicBezTo>
                      <a:pt x="4293" y="44518"/>
                      <a:pt x="11012" y="26879"/>
                      <a:pt x="21512" y="14279"/>
                    </a:cubicBezTo>
                    <a:cubicBezTo>
                      <a:pt x="24872" y="8820"/>
                      <a:pt x="30331" y="5040"/>
                      <a:pt x="35791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EBB93EC8-7E44-0F2E-7E67-0C3697ED8470}"/>
                  </a:ext>
                </a:extLst>
              </p:cNvPr>
              <p:cNvSpPr/>
              <p:nvPr/>
            </p:nvSpPr>
            <p:spPr>
              <a:xfrm>
                <a:off x="7814165" y="4521083"/>
                <a:ext cx="134169" cy="121138"/>
              </a:xfrm>
              <a:custGeom>
                <a:avLst/>
                <a:gdLst>
                  <a:gd name="connsiteX0" fmla="*/ 134169 w 134169"/>
                  <a:gd name="connsiteY0" fmla="*/ 15981 h 121138"/>
                  <a:gd name="connsiteX1" fmla="*/ 119050 w 134169"/>
                  <a:gd name="connsiteY1" fmla="*/ 56300 h 121138"/>
                  <a:gd name="connsiteX2" fmla="*/ 54793 w 134169"/>
                  <a:gd name="connsiteY2" fmla="*/ 114677 h 121138"/>
                  <a:gd name="connsiteX3" fmla="*/ 40934 w 134169"/>
                  <a:gd name="connsiteY3" fmla="*/ 120977 h 121138"/>
                  <a:gd name="connsiteX4" fmla="*/ 195 w 134169"/>
                  <a:gd name="connsiteY4" fmla="*/ 95778 h 121138"/>
                  <a:gd name="connsiteX5" fmla="*/ 22034 w 134169"/>
                  <a:gd name="connsiteY5" fmla="*/ 64279 h 121138"/>
                  <a:gd name="connsiteX6" fmla="*/ 99311 w 134169"/>
                  <a:gd name="connsiteY6" fmla="*/ 6322 h 121138"/>
                  <a:gd name="connsiteX7" fmla="*/ 116530 w 134169"/>
                  <a:gd name="connsiteY7" fmla="*/ 442 h 121138"/>
                  <a:gd name="connsiteX8" fmla="*/ 134169 w 134169"/>
                  <a:gd name="connsiteY8" fmla="*/ 15981 h 121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4169" h="121138">
                    <a:moveTo>
                      <a:pt x="134169" y="15981"/>
                    </a:moveTo>
                    <a:cubicBezTo>
                      <a:pt x="128709" y="31521"/>
                      <a:pt x="127450" y="47480"/>
                      <a:pt x="119050" y="56300"/>
                    </a:cubicBezTo>
                    <a:cubicBezTo>
                      <a:pt x="99731" y="77299"/>
                      <a:pt x="76632" y="95778"/>
                      <a:pt x="54793" y="114677"/>
                    </a:cubicBezTo>
                    <a:cubicBezTo>
                      <a:pt x="51013" y="118037"/>
                      <a:pt x="45973" y="120557"/>
                      <a:pt x="40934" y="120977"/>
                    </a:cubicBezTo>
                    <a:cubicBezTo>
                      <a:pt x="28334" y="123077"/>
                      <a:pt x="-2745" y="104178"/>
                      <a:pt x="195" y="95778"/>
                    </a:cubicBezTo>
                    <a:cubicBezTo>
                      <a:pt x="4395" y="83598"/>
                      <a:pt x="14055" y="64699"/>
                      <a:pt x="22034" y="64279"/>
                    </a:cubicBezTo>
                    <a:cubicBezTo>
                      <a:pt x="62353" y="62179"/>
                      <a:pt x="82511" y="37820"/>
                      <a:pt x="99311" y="6322"/>
                    </a:cubicBezTo>
                    <a:cubicBezTo>
                      <a:pt x="101411" y="2122"/>
                      <a:pt x="112330" y="-1238"/>
                      <a:pt x="116530" y="442"/>
                    </a:cubicBezTo>
                    <a:cubicBezTo>
                      <a:pt x="123670" y="3802"/>
                      <a:pt x="129130" y="11361"/>
                      <a:pt x="134169" y="1598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A18EA700-C506-6E53-7238-76167FF69D43}"/>
                  </a:ext>
                </a:extLst>
              </p:cNvPr>
              <p:cNvSpPr/>
              <p:nvPr/>
            </p:nvSpPr>
            <p:spPr>
              <a:xfrm>
                <a:off x="8017757" y="4529578"/>
                <a:ext cx="116371" cy="82242"/>
              </a:xfrm>
              <a:custGeom>
                <a:avLst/>
                <a:gdLst>
                  <a:gd name="connsiteX0" fmla="*/ 56151 w 116371"/>
                  <a:gd name="connsiteY0" fmla="*/ 82243 h 82242"/>
                  <a:gd name="connsiteX1" fmla="*/ 12893 w 116371"/>
                  <a:gd name="connsiteY1" fmla="*/ 66704 h 82242"/>
                  <a:gd name="connsiteX2" fmla="*/ 16253 w 116371"/>
                  <a:gd name="connsiteY2" fmla="*/ 5386 h 82242"/>
                  <a:gd name="connsiteX3" fmla="*/ 38932 w 116371"/>
                  <a:gd name="connsiteY3" fmla="*/ 7906 h 82242"/>
                  <a:gd name="connsiteX4" fmla="*/ 79250 w 116371"/>
                  <a:gd name="connsiteY4" fmla="*/ 5806 h 82242"/>
                  <a:gd name="connsiteX5" fmla="*/ 111589 w 116371"/>
                  <a:gd name="connsiteY5" fmla="*/ 9586 h 82242"/>
                  <a:gd name="connsiteX6" fmla="*/ 109489 w 116371"/>
                  <a:gd name="connsiteY6" fmla="*/ 37305 h 82242"/>
                  <a:gd name="connsiteX7" fmla="*/ 56151 w 116371"/>
                  <a:gd name="connsiteY7" fmla="*/ 82243 h 82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6371" h="82242">
                    <a:moveTo>
                      <a:pt x="56151" y="82243"/>
                    </a:moveTo>
                    <a:cubicBezTo>
                      <a:pt x="41452" y="77203"/>
                      <a:pt x="25493" y="74683"/>
                      <a:pt x="12893" y="66704"/>
                    </a:cubicBezTo>
                    <a:cubicBezTo>
                      <a:pt x="-6006" y="54524"/>
                      <a:pt x="-3486" y="17986"/>
                      <a:pt x="16253" y="5386"/>
                    </a:cubicBezTo>
                    <a:cubicBezTo>
                      <a:pt x="21293" y="2026"/>
                      <a:pt x="32633" y="4546"/>
                      <a:pt x="38932" y="7906"/>
                    </a:cubicBezTo>
                    <a:cubicBezTo>
                      <a:pt x="53211" y="15046"/>
                      <a:pt x="64971" y="21345"/>
                      <a:pt x="79250" y="5806"/>
                    </a:cubicBezTo>
                    <a:cubicBezTo>
                      <a:pt x="88490" y="-4273"/>
                      <a:pt x="101930" y="-74"/>
                      <a:pt x="111589" y="9586"/>
                    </a:cubicBezTo>
                    <a:cubicBezTo>
                      <a:pt x="121669" y="19665"/>
                      <a:pt x="113269" y="28065"/>
                      <a:pt x="109489" y="37305"/>
                    </a:cubicBezTo>
                    <a:cubicBezTo>
                      <a:pt x="99830" y="62504"/>
                      <a:pt x="80931" y="75523"/>
                      <a:pt x="56151" y="8224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9DF69E17-D5BD-7F81-3BD1-424E5F18F26D}"/>
                  </a:ext>
                </a:extLst>
              </p:cNvPr>
              <p:cNvSpPr/>
              <p:nvPr/>
            </p:nvSpPr>
            <p:spPr>
              <a:xfrm>
                <a:off x="8470732" y="4656339"/>
                <a:ext cx="83213" cy="94253"/>
              </a:xfrm>
              <a:custGeom>
                <a:avLst/>
                <a:gdLst>
                  <a:gd name="connsiteX0" fmla="*/ 34078 w 83213"/>
                  <a:gd name="connsiteY0" fmla="*/ 0 h 94253"/>
                  <a:gd name="connsiteX1" fmla="*/ 43318 w 83213"/>
                  <a:gd name="connsiteY1" fmla="*/ 9660 h 94253"/>
                  <a:gd name="connsiteX2" fmla="*/ 65157 w 83213"/>
                  <a:gd name="connsiteY2" fmla="*/ 30239 h 94253"/>
                  <a:gd name="connsiteX3" fmla="*/ 70617 w 83213"/>
                  <a:gd name="connsiteY3" fmla="*/ 73497 h 94253"/>
                  <a:gd name="connsiteX4" fmla="*/ 39118 w 83213"/>
                  <a:gd name="connsiteY4" fmla="*/ 94076 h 94253"/>
                  <a:gd name="connsiteX5" fmla="*/ 3840 w 83213"/>
                  <a:gd name="connsiteY5" fmla="*/ 67197 h 94253"/>
                  <a:gd name="connsiteX6" fmla="*/ 23159 w 83213"/>
                  <a:gd name="connsiteY6" fmla="*/ 2940 h 94253"/>
                  <a:gd name="connsiteX7" fmla="*/ 34078 w 83213"/>
                  <a:gd name="connsiteY7" fmla="*/ 0 h 94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213" h="94253">
                    <a:moveTo>
                      <a:pt x="34078" y="0"/>
                    </a:moveTo>
                    <a:cubicBezTo>
                      <a:pt x="36598" y="2940"/>
                      <a:pt x="39958" y="6720"/>
                      <a:pt x="43318" y="9660"/>
                    </a:cubicBezTo>
                    <a:cubicBezTo>
                      <a:pt x="50458" y="16799"/>
                      <a:pt x="57177" y="23939"/>
                      <a:pt x="65157" y="30239"/>
                    </a:cubicBezTo>
                    <a:cubicBezTo>
                      <a:pt x="88676" y="47878"/>
                      <a:pt x="87836" y="47458"/>
                      <a:pt x="70617" y="73497"/>
                    </a:cubicBezTo>
                    <a:cubicBezTo>
                      <a:pt x="62637" y="85257"/>
                      <a:pt x="55917" y="95756"/>
                      <a:pt x="39118" y="94076"/>
                    </a:cubicBezTo>
                    <a:cubicBezTo>
                      <a:pt x="21059" y="92396"/>
                      <a:pt x="10979" y="80217"/>
                      <a:pt x="3840" y="67197"/>
                    </a:cubicBezTo>
                    <a:cubicBezTo>
                      <a:pt x="-6240" y="48718"/>
                      <a:pt x="4680" y="16379"/>
                      <a:pt x="23159" y="2940"/>
                    </a:cubicBezTo>
                    <a:cubicBezTo>
                      <a:pt x="25259" y="1260"/>
                      <a:pt x="29039" y="1260"/>
                      <a:pt x="34078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69BA9804-C7B1-63DE-8EDC-FFDE633DA356}"/>
                  </a:ext>
                </a:extLst>
              </p:cNvPr>
              <p:cNvSpPr/>
              <p:nvPr/>
            </p:nvSpPr>
            <p:spPr>
              <a:xfrm>
                <a:off x="7686664" y="4856203"/>
                <a:ext cx="52684" cy="107853"/>
              </a:xfrm>
              <a:custGeom>
                <a:avLst/>
                <a:gdLst>
                  <a:gd name="connsiteX0" fmla="*/ 51679 w 52684"/>
                  <a:gd name="connsiteY0" fmla="*/ 45405 h 107853"/>
                  <a:gd name="connsiteX1" fmla="*/ 28160 w 52684"/>
                  <a:gd name="connsiteY1" fmla="*/ 103363 h 107853"/>
                  <a:gd name="connsiteX2" fmla="*/ 10521 w 52684"/>
                  <a:gd name="connsiteY2" fmla="*/ 107143 h 107853"/>
                  <a:gd name="connsiteX3" fmla="*/ 21 w 52684"/>
                  <a:gd name="connsiteY3" fmla="*/ 91603 h 107853"/>
                  <a:gd name="connsiteX4" fmla="*/ 11361 w 52684"/>
                  <a:gd name="connsiteY4" fmla="*/ 17267 h 107853"/>
                  <a:gd name="connsiteX5" fmla="*/ 32360 w 52684"/>
                  <a:gd name="connsiteY5" fmla="*/ 47 h 107853"/>
                  <a:gd name="connsiteX6" fmla="*/ 51259 w 52684"/>
                  <a:gd name="connsiteY6" fmla="*/ 20206 h 107853"/>
                  <a:gd name="connsiteX7" fmla="*/ 51679 w 52684"/>
                  <a:gd name="connsiteY7" fmla="*/ 45405 h 107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684" h="107853">
                    <a:moveTo>
                      <a:pt x="51679" y="45405"/>
                    </a:moveTo>
                    <a:cubicBezTo>
                      <a:pt x="53359" y="68504"/>
                      <a:pt x="49579" y="89923"/>
                      <a:pt x="28160" y="103363"/>
                    </a:cubicBezTo>
                    <a:cubicBezTo>
                      <a:pt x="23120" y="106303"/>
                      <a:pt x="14721" y="109243"/>
                      <a:pt x="10521" y="107143"/>
                    </a:cubicBezTo>
                    <a:cubicBezTo>
                      <a:pt x="5481" y="104623"/>
                      <a:pt x="-399" y="96643"/>
                      <a:pt x="21" y="91603"/>
                    </a:cubicBezTo>
                    <a:cubicBezTo>
                      <a:pt x="2542" y="66404"/>
                      <a:pt x="5481" y="41625"/>
                      <a:pt x="11361" y="17267"/>
                    </a:cubicBezTo>
                    <a:cubicBezTo>
                      <a:pt x="13041" y="9707"/>
                      <a:pt x="25641" y="-793"/>
                      <a:pt x="32360" y="47"/>
                    </a:cubicBezTo>
                    <a:cubicBezTo>
                      <a:pt x="39500" y="887"/>
                      <a:pt x="47479" y="11807"/>
                      <a:pt x="51259" y="20206"/>
                    </a:cubicBezTo>
                    <a:cubicBezTo>
                      <a:pt x="54199" y="27346"/>
                      <a:pt x="51679" y="37006"/>
                      <a:pt x="51679" y="45405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04CE91DD-8175-CB00-11A5-13416CB059A7}"/>
                  </a:ext>
                </a:extLst>
              </p:cNvPr>
              <p:cNvSpPr/>
              <p:nvPr/>
            </p:nvSpPr>
            <p:spPr>
              <a:xfrm>
                <a:off x="8136650" y="4645130"/>
                <a:ext cx="81801" cy="74206"/>
              </a:xfrm>
              <a:custGeom>
                <a:avLst/>
                <a:gdLst>
                  <a:gd name="connsiteX0" fmla="*/ 17056 w 81801"/>
                  <a:gd name="connsiteY0" fmla="*/ 74207 h 74206"/>
                  <a:gd name="connsiteX1" fmla="*/ 1516 w 81801"/>
                  <a:gd name="connsiteY1" fmla="*/ 64547 h 74206"/>
                  <a:gd name="connsiteX2" fmla="*/ 3616 w 81801"/>
                  <a:gd name="connsiteY2" fmla="*/ 45648 h 74206"/>
                  <a:gd name="connsiteX3" fmla="*/ 58634 w 81801"/>
                  <a:gd name="connsiteY3" fmla="*/ 1130 h 74206"/>
                  <a:gd name="connsiteX4" fmla="*/ 81733 w 81801"/>
                  <a:gd name="connsiteY4" fmla="*/ 21709 h 74206"/>
                  <a:gd name="connsiteX5" fmla="*/ 17056 w 81801"/>
                  <a:gd name="connsiteY5" fmla="*/ 74207 h 74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801" h="74206">
                    <a:moveTo>
                      <a:pt x="17056" y="74207"/>
                    </a:moveTo>
                    <a:cubicBezTo>
                      <a:pt x="14115" y="72527"/>
                      <a:pt x="5296" y="70427"/>
                      <a:pt x="1516" y="64547"/>
                    </a:cubicBezTo>
                    <a:cubicBezTo>
                      <a:pt x="-1424" y="60348"/>
                      <a:pt x="256" y="49008"/>
                      <a:pt x="3616" y="45648"/>
                    </a:cubicBezTo>
                    <a:cubicBezTo>
                      <a:pt x="20835" y="29689"/>
                      <a:pt x="39314" y="14569"/>
                      <a:pt x="58634" y="1130"/>
                    </a:cubicBezTo>
                    <a:cubicBezTo>
                      <a:pt x="66613" y="-4330"/>
                      <a:pt x="82992" y="11209"/>
                      <a:pt x="81733" y="21709"/>
                    </a:cubicBezTo>
                    <a:cubicBezTo>
                      <a:pt x="78373" y="50688"/>
                      <a:pt x="51074" y="74207"/>
                      <a:pt x="17056" y="74207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2C5EB5E1-8BAE-5325-741F-93A9A6BCD463}"/>
                  </a:ext>
                </a:extLst>
              </p:cNvPr>
              <p:cNvSpPr/>
              <p:nvPr/>
            </p:nvSpPr>
            <p:spPr>
              <a:xfrm>
                <a:off x="7943697" y="4788081"/>
                <a:ext cx="76410" cy="66069"/>
              </a:xfrm>
              <a:custGeom>
                <a:avLst/>
                <a:gdLst>
                  <a:gd name="connsiteX0" fmla="*/ 21016 w 76410"/>
                  <a:gd name="connsiteY0" fmla="*/ 65649 h 66069"/>
                  <a:gd name="connsiteX1" fmla="*/ 9257 w 76410"/>
                  <a:gd name="connsiteY1" fmla="*/ 63970 h 66069"/>
                  <a:gd name="connsiteX2" fmla="*/ 437 w 76410"/>
                  <a:gd name="connsiteY2" fmla="*/ 45490 h 66069"/>
                  <a:gd name="connsiteX3" fmla="*/ 22276 w 76410"/>
                  <a:gd name="connsiteY3" fmla="*/ 11472 h 66069"/>
                  <a:gd name="connsiteX4" fmla="*/ 72674 w 76410"/>
                  <a:gd name="connsiteY4" fmla="*/ 14832 h 66069"/>
                  <a:gd name="connsiteX5" fmla="*/ 76034 w 76410"/>
                  <a:gd name="connsiteY5" fmla="*/ 28691 h 66069"/>
                  <a:gd name="connsiteX6" fmla="*/ 21016 w 76410"/>
                  <a:gd name="connsiteY6" fmla="*/ 65649 h 66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410" h="66069">
                    <a:moveTo>
                      <a:pt x="21016" y="65649"/>
                    </a:moveTo>
                    <a:cubicBezTo>
                      <a:pt x="22276" y="65649"/>
                      <a:pt x="13876" y="67329"/>
                      <a:pt x="9257" y="63970"/>
                    </a:cubicBezTo>
                    <a:cubicBezTo>
                      <a:pt x="4217" y="60190"/>
                      <a:pt x="-1663" y="49690"/>
                      <a:pt x="437" y="45490"/>
                    </a:cubicBezTo>
                    <a:cubicBezTo>
                      <a:pt x="5477" y="33311"/>
                      <a:pt x="13876" y="21972"/>
                      <a:pt x="22276" y="11472"/>
                    </a:cubicBezTo>
                    <a:cubicBezTo>
                      <a:pt x="36555" y="-5327"/>
                      <a:pt x="58815" y="-3227"/>
                      <a:pt x="72674" y="14832"/>
                    </a:cubicBezTo>
                    <a:cubicBezTo>
                      <a:pt x="75194" y="18612"/>
                      <a:pt x="77294" y="24491"/>
                      <a:pt x="76034" y="28691"/>
                    </a:cubicBezTo>
                    <a:cubicBezTo>
                      <a:pt x="70994" y="51370"/>
                      <a:pt x="52515" y="65229"/>
                      <a:pt x="21016" y="6564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069810F3-44A0-4DAF-3DF4-E5FB8EA687AA}"/>
                  </a:ext>
                </a:extLst>
              </p:cNvPr>
              <p:cNvSpPr/>
              <p:nvPr/>
            </p:nvSpPr>
            <p:spPr>
              <a:xfrm>
                <a:off x="7822861" y="4855411"/>
                <a:ext cx="51556" cy="78407"/>
              </a:xfrm>
              <a:custGeom>
                <a:avLst/>
                <a:gdLst>
                  <a:gd name="connsiteX0" fmla="*/ 51556 w 51556"/>
                  <a:gd name="connsiteY0" fmla="*/ 26459 h 78407"/>
                  <a:gd name="connsiteX1" fmla="*/ 41057 w 51556"/>
                  <a:gd name="connsiteY1" fmla="*/ 52498 h 78407"/>
                  <a:gd name="connsiteX2" fmla="*/ 12918 w 51556"/>
                  <a:gd name="connsiteY2" fmla="*/ 78117 h 78407"/>
                  <a:gd name="connsiteX3" fmla="*/ 3678 w 51556"/>
                  <a:gd name="connsiteY3" fmla="*/ 33599 h 78407"/>
                  <a:gd name="connsiteX4" fmla="*/ 10398 w 51556"/>
                  <a:gd name="connsiteY4" fmla="*/ 19739 h 78407"/>
                  <a:gd name="connsiteX5" fmla="*/ 31397 w 51556"/>
                  <a:gd name="connsiteY5" fmla="*/ 0 h 78407"/>
                  <a:gd name="connsiteX6" fmla="*/ 51556 w 51556"/>
                  <a:gd name="connsiteY6" fmla="*/ 26459 h 78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556" h="78407">
                    <a:moveTo>
                      <a:pt x="51556" y="26459"/>
                    </a:moveTo>
                    <a:cubicBezTo>
                      <a:pt x="47356" y="36959"/>
                      <a:pt x="46096" y="46198"/>
                      <a:pt x="41057" y="52498"/>
                    </a:cubicBezTo>
                    <a:cubicBezTo>
                      <a:pt x="33077" y="62577"/>
                      <a:pt x="23838" y="74757"/>
                      <a:pt x="12918" y="78117"/>
                    </a:cubicBezTo>
                    <a:cubicBezTo>
                      <a:pt x="1578" y="81477"/>
                      <a:pt x="-4302" y="55018"/>
                      <a:pt x="3678" y="33599"/>
                    </a:cubicBezTo>
                    <a:cubicBezTo>
                      <a:pt x="5358" y="28979"/>
                      <a:pt x="7038" y="23519"/>
                      <a:pt x="10398" y="19739"/>
                    </a:cubicBezTo>
                    <a:cubicBezTo>
                      <a:pt x="16698" y="12599"/>
                      <a:pt x="24257" y="6720"/>
                      <a:pt x="31397" y="0"/>
                    </a:cubicBezTo>
                    <a:cubicBezTo>
                      <a:pt x="38117" y="8820"/>
                      <a:pt x="44837" y="17640"/>
                      <a:pt x="51556" y="264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D439B95C-A9D8-BABA-F27D-5C1671DCB1B8}"/>
                  </a:ext>
                </a:extLst>
              </p:cNvPr>
              <p:cNvSpPr/>
              <p:nvPr/>
            </p:nvSpPr>
            <p:spPr>
              <a:xfrm>
                <a:off x="8338679" y="4615378"/>
                <a:ext cx="51896" cy="57714"/>
              </a:xfrm>
              <a:custGeom>
                <a:avLst/>
                <a:gdLst>
                  <a:gd name="connsiteX0" fmla="*/ 51896 w 51896"/>
                  <a:gd name="connsiteY0" fmla="*/ 18283 h 57714"/>
                  <a:gd name="connsiteX1" fmla="*/ 29217 w 51896"/>
                  <a:gd name="connsiteY1" fmla="*/ 53981 h 57714"/>
                  <a:gd name="connsiteX2" fmla="*/ 11998 w 51896"/>
                  <a:gd name="connsiteY2" fmla="*/ 56501 h 57714"/>
                  <a:gd name="connsiteX3" fmla="*/ 238 w 51896"/>
                  <a:gd name="connsiteY3" fmla="*/ 36762 h 57714"/>
                  <a:gd name="connsiteX4" fmla="*/ 17037 w 51896"/>
                  <a:gd name="connsiteY4" fmla="*/ 6103 h 57714"/>
                  <a:gd name="connsiteX5" fmla="*/ 34256 w 51896"/>
                  <a:gd name="connsiteY5" fmla="*/ 643 h 57714"/>
                  <a:gd name="connsiteX6" fmla="*/ 51896 w 51896"/>
                  <a:gd name="connsiteY6" fmla="*/ 18283 h 5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1896" h="57714">
                    <a:moveTo>
                      <a:pt x="51896" y="18283"/>
                    </a:moveTo>
                    <a:cubicBezTo>
                      <a:pt x="43496" y="32142"/>
                      <a:pt x="37617" y="43902"/>
                      <a:pt x="29217" y="53981"/>
                    </a:cubicBezTo>
                    <a:cubicBezTo>
                      <a:pt x="26277" y="57341"/>
                      <a:pt x="15357" y="59021"/>
                      <a:pt x="11998" y="56501"/>
                    </a:cubicBezTo>
                    <a:cubicBezTo>
                      <a:pt x="6118" y="51882"/>
                      <a:pt x="-1442" y="42642"/>
                      <a:pt x="238" y="36762"/>
                    </a:cubicBezTo>
                    <a:cubicBezTo>
                      <a:pt x="2758" y="25842"/>
                      <a:pt x="9898" y="15343"/>
                      <a:pt x="17037" y="6103"/>
                    </a:cubicBezTo>
                    <a:cubicBezTo>
                      <a:pt x="20397" y="1904"/>
                      <a:pt x="30057" y="-1457"/>
                      <a:pt x="34256" y="643"/>
                    </a:cubicBezTo>
                    <a:cubicBezTo>
                      <a:pt x="40976" y="3584"/>
                      <a:pt x="45596" y="11563"/>
                      <a:pt x="51896" y="18283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DD9CC18C-F0CB-5B2C-221B-DEAD567D2CF8}"/>
                  </a:ext>
                </a:extLst>
              </p:cNvPr>
              <p:cNvSpPr/>
              <p:nvPr/>
            </p:nvSpPr>
            <p:spPr>
              <a:xfrm>
                <a:off x="8523696" y="4833572"/>
                <a:ext cx="42607" cy="52562"/>
              </a:xfrm>
              <a:custGeom>
                <a:avLst/>
                <a:gdLst>
                  <a:gd name="connsiteX0" fmla="*/ 42432 w 42607"/>
                  <a:gd name="connsiteY0" fmla="*/ 9659 h 52562"/>
                  <a:gd name="connsiteX1" fmla="*/ 17653 w 42607"/>
                  <a:gd name="connsiteY1" fmla="*/ 52498 h 52562"/>
                  <a:gd name="connsiteX2" fmla="*/ 853 w 42607"/>
                  <a:gd name="connsiteY2" fmla="*/ 37378 h 52562"/>
                  <a:gd name="connsiteX3" fmla="*/ 26052 w 42607"/>
                  <a:gd name="connsiteY3" fmla="*/ 0 h 52562"/>
                  <a:gd name="connsiteX4" fmla="*/ 42432 w 42607"/>
                  <a:gd name="connsiteY4" fmla="*/ 9659 h 52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07" h="52562">
                    <a:moveTo>
                      <a:pt x="42432" y="9659"/>
                    </a:moveTo>
                    <a:cubicBezTo>
                      <a:pt x="44112" y="36538"/>
                      <a:pt x="33612" y="53757"/>
                      <a:pt x="17653" y="52498"/>
                    </a:cubicBezTo>
                    <a:cubicBezTo>
                      <a:pt x="11353" y="52078"/>
                      <a:pt x="2114" y="43678"/>
                      <a:pt x="853" y="37378"/>
                    </a:cubicBezTo>
                    <a:cubicBezTo>
                      <a:pt x="-3346" y="17219"/>
                      <a:pt x="8413" y="420"/>
                      <a:pt x="26052" y="0"/>
                    </a:cubicBezTo>
                    <a:cubicBezTo>
                      <a:pt x="32352" y="0"/>
                      <a:pt x="38652" y="7139"/>
                      <a:pt x="42432" y="9659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AB8B65A6-80D6-560F-9451-C5FE53108DD5}"/>
                  </a:ext>
                </a:extLst>
              </p:cNvPr>
              <p:cNvSpPr/>
              <p:nvPr/>
            </p:nvSpPr>
            <p:spPr>
              <a:xfrm>
                <a:off x="8400919" y="4552604"/>
                <a:ext cx="39297" cy="50397"/>
              </a:xfrm>
              <a:custGeom>
                <a:avLst/>
                <a:gdLst>
                  <a:gd name="connsiteX0" fmla="*/ 8135 w 39297"/>
                  <a:gd name="connsiteY0" fmla="*/ 50398 h 50397"/>
                  <a:gd name="connsiteX1" fmla="*/ 156 w 39297"/>
                  <a:gd name="connsiteY1" fmla="*/ 37378 h 50397"/>
                  <a:gd name="connsiteX2" fmla="*/ 16955 w 39297"/>
                  <a:gd name="connsiteY2" fmla="*/ 6720 h 50397"/>
                  <a:gd name="connsiteX3" fmla="*/ 34174 w 39297"/>
                  <a:gd name="connsiteY3" fmla="*/ 0 h 50397"/>
                  <a:gd name="connsiteX4" fmla="*/ 38794 w 39297"/>
                  <a:gd name="connsiteY4" fmla="*/ 18059 h 50397"/>
                  <a:gd name="connsiteX5" fmla="*/ 8135 w 39297"/>
                  <a:gd name="connsiteY5" fmla="*/ 50398 h 50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297" h="50397">
                    <a:moveTo>
                      <a:pt x="8135" y="50398"/>
                    </a:moveTo>
                    <a:cubicBezTo>
                      <a:pt x="5615" y="47038"/>
                      <a:pt x="-1104" y="40738"/>
                      <a:pt x="156" y="37378"/>
                    </a:cubicBezTo>
                    <a:cubicBezTo>
                      <a:pt x="3935" y="26459"/>
                      <a:pt x="9815" y="15960"/>
                      <a:pt x="16955" y="6720"/>
                    </a:cubicBezTo>
                    <a:cubicBezTo>
                      <a:pt x="20315" y="2520"/>
                      <a:pt x="28294" y="2100"/>
                      <a:pt x="34174" y="0"/>
                    </a:cubicBezTo>
                    <a:cubicBezTo>
                      <a:pt x="35854" y="6300"/>
                      <a:pt x="40894" y="14279"/>
                      <a:pt x="38794" y="18059"/>
                    </a:cubicBezTo>
                    <a:cubicBezTo>
                      <a:pt x="31655" y="29819"/>
                      <a:pt x="32914" y="49558"/>
                      <a:pt x="8135" y="50398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ECD79B1A-5435-7370-2BA3-0A383B4183C4}"/>
                  </a:ext>
                </a:extLst>
              </p:cNvPr>
              <p:cNvSpPr/>
              <p:nvPr/>
            </p:nvSpPr>
            <p:spPr>
              <a:xfrm>
                <a:off x="7961334" y="4669475"/>
                <a:ext cx="40687" cy="56581"/>
              </a:xfrm>
              <a:custGeom>
                <a:avLst/>
                <a:gdLst>
                  <a:gd name="connsiteX0" fmla="*/ 13039 w 40687"/>
                  <a:gd name="connsiteY0" fmla="*/ 56581 h 56581"/>
                  <a:gd name="connsiteX1" fmla="*/ 20 w 40687"/>
                  <a:gd name="connsiteY1" fmla="*/ 37262 h 56581"/>
                  <a:gd name="connsiteX2" fmla="*/ 9260 w 40687"/>
                  <a:gd name="connsiteY2" fmla="*/ 14163 h 56581"/>
                  <a:gd name="connsiteX3" fmla="*/ 32359 w 40687"/>
                  <a:gd name="connsiteY3" fmla="*/ 304 h 56581"/>
                  <a:gd name="connsiteX4" fmla="*/ 35718 w 40687"/>
                  <a:gd name="connsiteY4" fmla="*/ 26342 h 56581"/>
                  <a:gd name="connsiteX5" fmla="*/ 13039 w 40687"/>
                  <a:gd name="connsiteY5" fmla="*/ 56581 h 56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687" h="56581">
                    <a:moveTo>
                      <a:pt x="13039" y="56581"/>
                    </a:moveTo>
                    <a:cubicBezTo>
                      <a:pt x="5900" y="46922"/>
                      <a:pt x="-400" y="41882"/>
                      <a:pt x="20" y="37262"/>
                    </a:cubicBezTo>
                    <a:cubicBezTo>
                      <a:pt x="860" y="29283"/>
                      <a:pt x="3800" y="20043"/>
                      <a:pt x="9260" y="14163"/>
                    </a:cubicBezTo>
                    <a:cubicBezTo>
                      <a:pt x="15139" y="7443"/>
                      <a:pt x="27319" y="-1796"/>
                      <a:pt x="32359" y="304"/>
                    </a:cubicBezTo>
                    <a:cubicBezTo>
                      <a:pt x="43278" y="4504"/>
                      <a:pt x="42438" y="16683"/>
                      <a:pt x="35718" y="26342"/>
                    </a:cubicBezTo>
                    <a:cubicBezTo>
                      <a:pt x="29419" y="35582"/>
                      <a:pt x="22699" y="43982"/>
                      <a:pt x="13039" y="56581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  <p:sp>
            <p:nvSpPr>
              <p:cNvPr id="241" name="Freihandform: Form 240">
                <a:extLst>
                  <a:ext uri="{FF2B5EF4-FFF2-40B4-BE49-F238E27FC236}">
                    <a16:creationId xmlns:a16="http://schemas.microsoft.com/office/drawing/2014/main" id="{B13D698D-C2E6-D642-570B-A68C2B5A65A3}"/>
                  </a:ext>
                </a:extLst>
              </p:cNvPr>
              <p:cNvSpPr/>
              <p:nvPr/>
            </p:nvSpPr>
            <p:spPr>
              <a:xfrm>
                <a:off x="7016673" y="2317460"/>
                <a:ext cx="38796" cy="52142"/>
              </a:xfrm>
              <a:custGeom>
                <a:avLst/>
                <a:gdLst>
                  <a:gd name="connsiteX0" fmla="*/ 29120 w 38796"/>
                  <a:gd name="connsiteY0" fmla="*/ 0 h 52142"/>
                  <a:gd name="connsiteX1" fmla="*/ 38780 w 38796"/>
                  <a:gd name="connsiteY1" fmla="*/ 11759 h 52142"/>
                  <a:gd name="connsiteX2" fmla="*/ 29120 w 38796"/>
                  <a:gd name="connsiteY2" fmla="*/ 40318 h 52142"/>
                  <a:gd name="connsiteX3" fmla="*/ 15681 w 38796"/>
                  <a:gd name="connsiteY3" fmla="*/ 52078 h 52142"/>
                  <a:gd name="connsiteX4" fmla="*/ 982 w 38796"/>
                  <a:gd name="connsiteY4" fmla="*/ 39058 h 52142"/>
                  <a:gd name="connsiteX5" fmla="*/ 29120 w 38796"/>
                  <a:gd name="connsiteY5" fmla="*/ 0 h 52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796" h="52142">
                    <a:moveTo>
                      <a:pt x="29120" y="0"/>
                    </a:moveTo>
                    <a:cubicBezTo>
                      <a:pt x="31640" y="2940"/>
                      <a:pt x="39200" y="7980"/>
                      <a:pt x="38780" y="11759"/>
                    </a:cubicBezTo>
                    <a:cubicBezTo>
                      <a:pt x="37520" y="21419"/>
                      <a:pt x="33740" y="31499"/>
                      <a:pt x="29120" y="40318"/>
                    </a:cubicBezTo>
                    <a:cubicBezTo>
                      <a:pt x="26600" y="45358"/>
                      <a:pt x="19461" y="52918"/>
                      <a:pt x="15681" y="52078"/>
                    </a:cubicBezTo>
                    <a:cubicBezTo>
                      <a:pt x="9801" y="50818"/>
                      <a:pt x="3082" y="44518"/>
                      <a:pt x="982" y="39058"/>
                    </a:cubicBezTo>
                    <a:cubicBezTo>
                      <a:pt x="-4058" y="26039"/>
                      <a:pt x="11061" y="3360"/>
                      <a:pt x="29120" y="0"/>
                    </a:cubicBezTo>
                    <a:close/>
                  </a:path>
                </a:pathLst>
              </a:custGeom>
              <a:grpFill/>
              <a:ln w="41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en-US" dirty="0"/>
              </a:p>
            </p:txBody>
          </p:sp>
        </p:grpSp>
      </p:grp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A1832C-98F3-4E72-9D72-322478B42B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457973D-A73A-42C2-A3AD-25AC166B0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2" y="497218"/>
            <a:ext cx="1054800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A3B92C6-4835-1FBF-7088-609D9BCAFCB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E34FD63E-C387-536D-2DAA-C7A375C483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C9A5B0-0182-2A2B-6926-4683FA83ABA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>
                <a:solidFill>
                  <a:schemeClr val="bg1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bg1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2" name="Textplatzhalter 4">
            <a:extLst>
              <a:ext uri="{FF2B5EF4-FFF2-40B4-BE49-F238E27FC236}">
                <a16:creationId xmlns:a16="http://schemas.microsoft.com/office/drawing/2014/main" id="{B4289696-A8EC-68EC-5E93-8E4520A0850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76856" y="2023377"/>
            <a:ext cx="6920640" cy="3347070"/>
          </a:xfrm>
          <a:prstGeom prst="rect">
            <a:avLst/>
          </a:prstGeom>
        </p:spPr>
        <p:txBody>
          <a:bodyPr/>
          <a:lstStyle>
            <a:lvl1pPr marL="323850" indent="-323850" rtl="0">
              <a:lnSpc>
                <a:spcPct val="100000"/>
              </a:lnSpc>
              <a:spcBef>
                <a:spcPts val="900"/>
              </a:spcBef>
              <a:buSzPct val="65000"/>
              <a:buFont typeface="+mj-lt"/>
              <a:buAutoNum type="arabicPeriod"/>
              <a:tabLst/>
              <a:defRPr sz="3000">
                <a:solidFill>
                  <a:schemeClr val="bg1"/>
                </a:solidFill>
                <a:latin typeface="+mn-lt"/>
              </a:defRPr>
            </a:lvl1pPr>
            <a:lvl2pPr marL="504000" indent="-180000">
              <a:lnSpc>
                <a:spcPct val="100000"/>
              </a:lnSpc>
              <a:spcBef>
                <a:spcPts val="900"/>
              </a:spcBef>
              <a:buSzPct val="100000"/>
              <a:buFont typeface="Arial" panose="020B0604020202020204" pitchFamily="34" charset="0"/>
              <a:buChar char="•"/>
              <a:defRPr sz="1800" i="1">
                <a:solidFill>
                  <a:schemeClr val="bg1"/>
                </a:solidFill>
                <a:latin typeface="+mn-lt"/>
              </a:defRPr>
            </a:lvl2pPr>
            <a:lvl3pPr marL="504825" indent="-179388">
              <a:spcBef>
                <a:spcPts val="900"/>
              </a:spcBef>
              <a:defRPr i="1">
                <a:solidFill>
                  <a:schemeClr val="accent4"/>
                </a:solidFill>
              </a:defRPr>
            </a:lvl3pPr>
            <a:lvl4pPr marL="504000" indent="-180000">
              <a:spcBef>
                <a:spcPts val="900"/>
              </a:spcBef>
              <a:buFont typeface="Arial" panose="020B0604020202020204" pitchFamily="34" charset="0"/>
              <a:buChar char="•"/>
              <a:defRPr sz="1800" i="1"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dirty="0"/>
              <a:t>Agenda 1</a:t>
            </a:r>
          </a:p>
          <a:p>
            <a:pPr lvl="0"/>
            <a:r>
              <a:rPr lang="en-US" dirty="0"/>
              <a:t>Agenda 2</a:t>
            </a:r>
          </a:p>
          <a:p>
            <a:pPr lvl="0"/>
            <a:r>
              <a:rPr lang="en-US" dirty="0"/>
              <a:t>Agenda 3</a:t>
            </a:r>
          </a:p>
          <a:p>
            <a:pPr lvl="0"/>
            <a:r>
              <a:rPr lang="en-US" dirty="0"/>
              <a:t>Agenda 4</a:t>
            </a:r>
          </a:p>
          <a:p>
            <a:pPr lvl="0"/>
            <a:r>
              <a:rPr lang="en-US" dirty="0"/>
              <a:t>Agenda 5</a:t>
            </a:r>
          </a:p>
          <a:p>
            <a:pPr lvl="0"/>
            <a:r>
              <a:rPr lang="en-US" dirty="0"/>
              <a:t>Agenda 6</a:t>
            </a:r>
          </a:p>
        </p:txBody>
      </p:sp>
    </p:spTree>
    <p:extLst>
      <p:ext uri="{BB962C8B-B14F-4D97-AF65-F5344CB8AC3E}">
        <p14:creationId xmlns:p14="http://schemas.microsoft.com/office/powerpoint/2010/main" val="308776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_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2D304F-3F8D-4272-ADFB-A9C379E43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137066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2D304F-3F8D-4272-ADFB-A9C379E43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5FE68BB3-259A-4C6D-9F57-D9AF30B5F0AB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A1832C-98F3-4E72-9D72-322478B42B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457973D-A73A-42C2-A3AD-25AC166B0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2" y="497218"/>
            <a:ext cx="10548000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Agenda</a:t>
            </a: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A3B92C6-4835-1FBF-7088-609D9BCAFCB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E34FD63E-C387-536D-2DAA-C7A375C483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C9A5B0-0182-2A2B-6926-4683FA83ABA4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>
                <a:solidFill>
                  <a:schemeClr val="bg1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bg1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B4C4EE53-5E28-1256-8AA5-5693C9E1F0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145728" y="2048019"/>
            <a:ext cx="8986596" cy="4424288"/>
          </a:xfrm>
          <a:prstGeom prst="rect">
            <a:avLst/>
          </a:prstGeom>
        </p:spPr>
        <p:txBody>
          <a:bodyPr/>
          <a:lstStyle>
            <a:lvl1pPr marL="357188" indent="-357188" rtl="0">
              <a:lnSpc>
                <a:spcPct val="100000"/>
              </a:lnSpc>
              <a:spcBef>
                <a:spcPts val="900"/>
              </a:spcBef>
              <a:buSzPct val="65000"/>
              <a:buFont typeface="+mj-lt"/>
              <a:buAutoNum type="arabicPeriod"/>
              <a:tabLst/>
              <a:defRPr sz="2200">
                <a:solidFill>
                  <a:schemeClr val="bg1"/>
                </a:solidFill>
                <a:latin typeface="+mn-lt"/>
              </a:defRPr>
            </a:lvl1pPr>
            <a:lvl2pPr marL="540000" indent="-180000">
              <a:lnSpc>
                <a:spcPct val="100000"/>
              </a:lnSpc>
              <a:spcBef>
                <a:spcPts val="900"/>
              </a:spcBef>
              <a:buSzPct val="100000"/>
              <a:buFont typeface="Arial" panose="020B0604020202020204" pitchFamily="34" charset="0"/>
              <a:buChar char="•"/>
              <a:defRPr sz="1400" i="1">
                <a:solidFill>
                  <a:schemeClr val="bg1"/>
                </a:solidFill>
                <a:latin typeface="+mn-lt"/>
              </a:defRPr>
            </a:lvl2pPr>
            <a:lvl3pPr marL="540000" indent="-180000">
              <a:spcBef>
                <a:spcPts val="900"/>
              </a:spcBef>
              <a:defRPr sz="1400" i="1">
                <a:solidFill>
                  <a:schemeClr val="accent4"/>
                </a:solidFill>
              </a:defRPr>
            </a:lvl3pPr>
            <a:lvl4pPr marL="504000" indent="-180000">
              <a:spcBef>
                <a:spcPts val="900"/>
              </a:spcBef>
              <a:buFont typeface="Arial" panose="020B0604020202020204" pitchFamily="34" charset="0"/>
              <a:buChar char="•"/>
              <a:defRPr sz="1800" i="1"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dirty="0"/>
              <a:t>Agenda 1</a:t>
            </a:r>
          </a:p>
          <a:p>
            <a:pPr lvl="0"/>
            <a:r>
              <a:rPr lang="en-US" dirty="0"/>
              <a:t>Agenda 2</a:t>
            </a:r>
          </a:p>
          <a:p>
            <a:pPr lvl="0"/>
            <a:r>
              <a:rPr lang="en-US" dirty="0"/>
              <a:t>Agenda 3</a:t>
            </a:r>
          </a:p>
          <a:p>
            <a:pPr lvl="0"/>
            <a:r>
              <a:rPr lang="en-US" dirty="0"/>
              <a:t>Agenda 4</a:t>
            </a:r>
          </a:p>
          <a:p>
            <a:pPr lvl="0"/>
            <a:r>
              <a:rPr lang="en-US" dirty="0"/>
              <a:t>Agenda 5</a:t>
            </a:r>
          </a:p>
          <a:p>
            <a:pPr lvl="0"/>
            <a:r>
              <a:rPr lang="en-US" dirty="0"/>
              <a:t>Agenda 6</a:t>
            </a:r>
          </a:p>
          <a:p>
            <a:pPr lvl="0"/>
            <a:r>
              <a:rPr lang="en-US" dirty="0"/>
              <a:t>Agenda 7</a:t>
            </a:r>
          </a:p>
          <a:p>
            <a:pPr lvl="0"/>
            <a:r>
              <a:rPr lang="en-US" dirty="0"/>
              <a:t>Agenda 8</a:t>
            </a:r>
          </a:p>
          <a:p>
            <a:pPr lvl="0"/>
            <a:r>
              <a:rPr lang="en-US" dirty="0"/>
              <a:t>Agenda 9</a:t>
            </a:r>
          </a:p>
          <a:p>
            <a:pPr lvl="0"/>
            <a:r>
              <a:rPr lang="en-US" dirty="0"/>
              <a:t>Agenda 10</a:t>
            </a:r>
          </a:p>
        </p:txBody>
      </p:sp>
    </p:spTree>
    <p:extLst>
      <p:ext uri="{BB962C8B-B14F-4D97-AF65-F5344CB8AC3E}">
        <p14:creationId xmlns:p14="http://schemas.microsoft.com/office/powerpoint/2010/main" val="4198483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e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2D304F-3F8D-4272-ADFB-A9C379E43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308843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2D304F-3F8D-4272-ADFB-A9C379E43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5FE68BB3-259A-4C6D-9F57-D9AF30B5F0AB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A1832C-98F3-4E72-9D72-322478B42B6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9DC9EBB9-1DD3-4658-B122-D4995A90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6663" y="2124075"/>
            <a:ext cx="8426450" cy="2262158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Bef>
                <a:spcPts val="1800"/>
              </a:spcBef>
              <a:buNone/>
              <a:tabLst/>
              <a:defRPr sz="4400" b="1" i="1">
                <a:solidFill>
                  <a:schemeClr val="tx1"/>
                </a:solidFill>
                <a:latin typeface="+mn-lt"/>
              </a:defRPr>
            </a:lvl1pPr>
            <a:lvl2pPr marL="0" indent="0" rtl="0">
              <a:lnSpc>
                <a:spcPct val="100000"/>
              </a:lnSpc>
              <a:spcBef>
                <a:spcPts val="1800"/>
              </a:spcBef>
              <a:buFont typeface="Symbol" panose="05050102010706020507" pitchFamily="18" charset="2"/>
              <a:buNone/>
              <a:defRPr sz="4400" b="0" i="1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 noProof="0" dirty="0"/>
              <a:t>Separation slide for one Agenda topic</a:t>
            </a:r>
          </a:p>
          <a:p>
            <a:pPr lvl="1"/>
            <a:r>
              <a:rPr lang="en-US" noProof="0" dirty="0"/>
              <a:t>Subtex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556CA88-AEAA-6897-4043-48ADFAD6A2AF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7596949A-9763-2D12-4FF8-14AA454164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66CAE5-F576-052B-028E-CD26AE30972B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3183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8" userDrawn="1">
          <p15:clr>
            <a:srgbClr val="FBAE40"/>
          </p15:clr>
        </p15:guide>
        <p15:guide id="2" pos="688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Action Title and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4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88F98C2-77A1-4101-BF86-95BF77618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8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E1E1771-3A7D-46C1-B3CD-631A920D01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06663" y="1602000"/>
            <a:ext cx="10548000" cy="10233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</p:txBody>
      </p:sp>
      <p:sp>
        <p:nvSpPr>
          <p:cNvPr id="21" name="Textplatzhalter 15">
            <a:extLst>
              <a:ext uri="{FF2B5EF4-FFF2-40B4-BE49-F238E27FC236}">
                <a16:creationId xmlns:a16="http://schemas.microsoft.com/office/drawing/2014/main" id="{2811F5A9-1F1B-41F0-8BD1-50A99872DE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06664" y="7083494"/>
            <a:ext cx="10548000" cy="215444"/>
          </a:xfrm>
        </p:spPr>
        <p:txBody>
          <a:bodyPr/>
          <a:lstStyle>
            <a:lvl1pPr marL="0" indent="0" rtl="0">
              <a:spcBef>
                <a:spcPts val="0"/>
              </a:spcBef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1pPr>
            <a:lvl2pPr marL="0" indent="0" rtl="0">
              <a:spcBef>
                <a:spcPts val="0"/>
              </a:spcBef>
              <a:buClrTx/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2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315D36E-D06C-F27A-6A7E-31368C290CDF}"/>
              </a:ext>
            </a:extLst>
          </p:cNvPr>
          <p:cNvCxnSpPr/>
          <p:nvPr userDrawn="1"/>
        </p:nvCxnSpPr>
        <p:spPr>
          <a:xfrm>
            <a:off x="388327" y="1273625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5AF7A835-D513-1D6C-D7EA-19ED13C32A15}"/>
              </a:ext>
            </a:extLst>
          </p:cNvPr>
          <p:cNvSpPr>
            <a:spLocks noGrp="1"/>
          </p:cNvSpPr>
          <p:nvPr>
            <p:ph type="media" sz="quarter" idx="27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</p:spTree>
    <p:extLst>
      <p:ext uri="{BB962C8B-B14F-4D97-AF65-F5344CB8AC3E}">
        <p14:creationId xmlns:p14="http://schemas.microsoft.com/office/powerpoint/2010/main" val="28392353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 and 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877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88F98C2-77A1-4101-BF86-95BF77618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312552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315D36E-D06C-F27A-6A7E-31368C290CDF}"/>
              </a:ext>
            </a:extLst>
          </p:cNvPr>
          <p:cNvCxnSpPr/>
          <p:nvPr userDrawn="1"/>
        </p:nvCxnSpPr>
        <p:spPr>
          <a:xfrm>
            <a:off x="388327" y="1273625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5AF7A835-D513-1D6C-D7EA-19ED13C32A15}"/>
              </a:ext>
            </a:extLst>
          </p:cNvPr>
          <p:cNvSpPr>
            <a:spLocks noGrp="1"/>
          </p:cNvSpPr>
          <p:nvPr>
            <p:ph type="media" sz="quarter" idx="27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47D2DAE8-549B-ECA1-78D2-2C129D0E4B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06662" y="1602000"/>
            <a:ext cx="10548000" cy="102335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BA1B83A2-88B9-B3CD-3105-C828B35F45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06662" y="7083494"/>
            <a:ext cx="10548000" cy="2154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7BD74726-3A3F-EA14-2FD3-44A945DA03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506663" y="711120"/>
            <a:ext cx="10548000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179387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39600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Subtitle, max. one line</a:t>
            </a:r>
          </a:p>
        </p:txBody>
      </p:sp>
    </p:spTree>
    <p:extLst>
      <p:ext uri="{BB962C8B-B14F-4D97-AF65-F5344CB8AC3E}">
        <p14:creationId xmlns:p14="http://schemas.microsoft.com/office/powerpoint/2010/main" val="798926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Action Title and Text_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635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89542471-92B7-92C2-F97B-9C433581467E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22047D9-DF21-19E4-3F0C-EAF7CA2BC5E9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D76C6F78-FD1C-0EEF-4D34-3264F5C6BA1C}"/>
              </a:ext>
            </a:extLst>
          </p:cNvPr>
          <p:cNvSpPr>
            <a:spLocks noGrp="1"/>
          </p:cNvSpPr>
          <p:nvPr>
            <p:ph type="media" sz="quarter" idx="27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C7DF7EA6-FB96-A31F-39A7-B40171138E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497218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2D751890-3CCF-F6AF-CC01-3FA715B595F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06663" y="1602000"/>
            <a:ext cx="10548000" cy="102335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Ebene</a:t>
            </a:r>
          </a:p>
          <a:p>
            <a:pPr lvl="2"/>
            <a:r>
              <a:rPr lang="en-US" dirty="0" err="1"/>
              <a:t>Dritte</a:t>
            </a:r>
            <a:r>
              <a:rPr lang="en-US" dirty="0"/>
              <a:t> Ebene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F4AFCF8A-7A00-1BC7-3D0A-591ECE03AF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06664" y="7083494"/>
            <a:ext cx="10548000" cy="215444"/>
          </a:xfrm>
        </p:spPr>
        <p:txBody>
          <a:bodyPr/>
          <a:lstStyle>
            <a:lvl1pPr marL="0" indent="0" rtl="0">
              <a:spcBef>
                <a:spcPts val="0"/>
              </a:spcBef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1pPr>
            <a:lvl2pPr marL="0" indent="0" rtl="0">
              <a:spcBef>
                <a:spcPts val="0"/>
              </a:spcBef>
              <a:buClrTx/>
              <a:buFont typeface="+mj-lt"/>
              <a:buNone/>
              <a:defRPr sz="700">
                <a:solidFill>
                  <a:schemeClr val="tx2"/>
                </a:solidFill>
                <a:latin typeface="+mn-lt"/>
              </a:defRPr>
            </a:lvl2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051535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 and Text_light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A85B40-9F0B-498B-A0FE-F9B66813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785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A85B40-9F0B-498B-A0FE-F9B66813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50E10245-C2E5-09BE-B014-8701B0528F47}"/>
              </a:ext>
            </a:extLst>
          </p:cNvPr>
          <p:cNvSpPr/>
          <p:nvPr userDrawn="1"/>
        </p:nvSpPr>
        <p:spPr>
          <a:xfrm>
            <a:off x="0" y="1273625"/>
            <a:ext cx="13439775" cy="62860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9388" indent="-179388" algn="l" rtl="0">
              <a:buFont typeface="Symbol" panose="05050102010706020507" pitchFamily="18" charset="2"/>
              <a:buChar char="·"/>
            </a:pPr>
            <a:endParaRPr lang="en-US" dirty="0" err="1">
              <a:solidFill>
                <a:schemeClr val="bg2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E37476E-EAE1-47FA-A424-A48D8360AB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18FDCA5-7182-49F8-9B7F-3A0DD537D02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88F98C2-77A1-4101-BF86-95BF77618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6663" y="312552"/>
            <a:ext cx="10548000" cy="36933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en-US" dirty="0"/>
              <a:t>Action Title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4D1CDBD-5636-C96C-89AC-73F8950C276B}"/>
              </a:ext>
            </a:extLst>
          </p:cNvPr>
          <p:cNvCxnSpPr/>
          <p:nvPr userDrawn="1"/>
        </p:nvCxnSpPr>
        <p:spPr>
          <a:xfrm>
            <a:off x="388327" y="6966171"/>
            <a:ext cx="1266312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5AF7A835-D513-1D6C-D7EA-19ED13C32A15}"/>
              </a:ext>
            </a:extLst>
          </p:cNvPr>
          <p:cNvSpPr>
            <a:spLocks noGrp="1"/>
          </p:cNvSpPr>
          <p:nvPr>
            <p:ph type="media" sz="quarter" idx="27" hasCustomPrompt="1"/>
          </p:nvPr>
        </p:nvSpPr>
        <p:spPr>
          <a:xfrm>
            <a:off x="2506663" y="85006"/>
            <a:ext cx="7964692" cy="153888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en-US" sz="1000" i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pPr marL="179388" lvl="0" indent="-179388"/>
            <a:r>
              <a:rPr lang="en-US" dirty="0"/>
              <a:t>Important: Check copyright and use permissions for all external images used and reference if necessary. Please delete this box when read.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47D2DAE8-549B-ECA1-78D2-2C129D0E4B5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06662" y="1602000"/>
            <a:ext cx="10548000" cy="1023357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  <a:endParaRPr lang="en-US" dirty="0"/>
          </a:p>
        </p:txBody>
      </p:sp>
      <p:sp>
        <p:nvSpPr>
          <p:cNvPr id="10" name="Textplatzhalter 22">
            <a:extLst>
              <a:ext uri="{FF2B5EF4-FFF2-40B4-BE49-F238E27FC236}">
                <a16:creationId xmlns:a16="http://schemas.microsoft.com/office/drawing/2014/main" id="{BA1B83A2-88B9-B3CD-3105-C828B35F45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506662" y="7083494"/>
            <a:ext cx="10548000" cy="2154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 sz="700">
                <a:solidFill>
                  <a:schemeClr val="tx2"/>
                </a:solidFill>
              </a:defRPr>
            </a:lvl5pPr>
          </a:lstStyle>
          <a:p>
            <a:pPr marL="0" marR="0" lvl="0" indent="0" algn="l" defTabSz="1266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dirty="0"/>
              <a:t>1 Footnote</a:t>
            </a:r>
            <a:br>
              <a:rPr lang="en-US" dirty="0"/>
            </a:br>
            <a:r>
              <a:rPr lang="en-US" dirty="0"/>
              <a:t>Source</a:t>
            </a:r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7BD74726-3A3F-EA14-2FD3-44A945DA03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506663" y="711120"/>
            <a:ext cx="10548000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179387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39600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1900476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4pPr>
            <a:lvl5pPr marL="2533969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Subtitle, max. one lin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2652D8E-085D-8BAB-A221-CA1A75171A49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78654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9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3.sv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F668438-C917-43DF-A194-21198DDA13A2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54289041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F668438-C917-43DF-A194-21198DDA1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Grafik 66">
            <a:extLst>
              <a:ext uri="{FF2B5EF4-FFF2-40B4-BE49-F238E27FC236}">
                <a16:creationId xmlns:a16="http://schemas.microsoft.com/office/drawing/2014/main" id="{7BE5DFFA-F046-A6F0-54FC-14DC1C562B09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498A045-7ED3-41B4-BE99-D00B7FE1EBE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6662" y="497218"/>
            <a:ext cx="10548000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6662" y="1600091"/>
            <a:ext cx="10548000" cy="1023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Ebene</a:t>
            </a:r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13A9A3-3F12-4A42-9215-D07EF98DB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12311010" y="-782102"/>
            <a:ext cx="295500" cy="1962031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000098"/>
          </a:solidFill>
        </p:spPr>
        <p:txBody>
          <a:bodyPr vert="vert270" wrap="square" lIns="36000" tIns="378000" rIns="36000" bIns="0" rtlCol="0" anchor="ctr">
            <a:noAutofit/>
          </a:bodyPr>
          <a:lstStyle>
            <a:lvl1pPr rtl="0">
              <a:defRPr lang="de-DE" sz="1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14FD34A-9E65-2ADF-0CCC-808C91C6EE4B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16043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734" r:id="rId4"/>
    <p:sldLayoutId id="2147483713" r:id="rId5"/>
    <p:sldLayoutId id="2147483709" r:id="rId6"/>
    <p:sldLayoutId id="2147483733" r:id="rId7"/>
    <p:sldLayoutId id="2147483716" r:id="rId8"/>
    <p:sldLayoutId id="2147483740" r:id="rId9"/>
    <p:sldLayoutId id="2147483718" r:id="rId10"/>
    <p:sldLayoutId id="2147483741" r:id="rId11"/>
    <p:sldLayoutId id="2147483714" r:id="rId12"/>
    <p:sldLayoutId id="2147483742" r:id="rId13"/>
  </p:sldLayoutIdLst>
  <p:hf sldNum="0" hdr="0" dt="0"/>
  <p:txStyles>
    <p:titleStyle>
      <a:lvl1pPr algn="l" defTabSz="1266984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126698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875" indent="-217488" algn="l" defTabSz="1266984" rtl="0" eaLnBrk="1" latinLnBrk="0" hangingPunct="1">
        <a:lnSpc>
          <a:spcPct val="100000"/>
        </a:lnSpc>
        <a:spcBef>
          <a:spcPts val="9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80000" algn="l" defTabSz="126698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900476" indent="0" algn="l" defTabSz="1266984" rtl="0" eaLnBrk="1" latinLnBrk="0" hangingPunct="1">
        <a:lnSpc>
          <a:spcPct val="100000"/>
        </a:lnSpc>
        <a:spcBef>
          <a:spcPts val="377"/>
        </a:spcBef>
        <a:buFont typeface="Arial" panose="020B0604020202020204" pitchFamily="34" charset="0"/>
        <a:buNone/>
        <a:defRPr sz="2263" kern="1200">
          <a:solidFill>
            <a:schemeClr val="bg2"/>
          </a:solidFill>
          <a:latin typeface="+mn-lt"/>
          <a:ea typeface="+mn-ea"/>
          <a:cs typeface="+mn-cs"/>
        </a:defRPr>
      </a:lvl4pPr>
      <a:lvl5pPr marL="2850715" indent="-316746" algn="l" defTabSz="1266984" rtl="0" eaLnBrk="1" latinLnBrk="0" hangingPunct="1">
        <a:lnSpc>
          <a:spcPct val="100000"/>
        </a:lnSpc>
        <a:spcBef>
          <a:spcPts val="377"/>
        </a:spcBef>
        <a:buFont typeface="Arial" panose="020B0604020202020204" pitchFamily="34" charset="0"/>
        <a:buChar char="•"/>
        <a:defRPr sz="2263" kern="1200">
          <a:solidFill>
            <a:schemeClr val="bg2"/>
          </a:solidFill>
          <a:latin typeface="+mn-lt"/>
          <a:ea typeface="+mn-ea"/>
          <a:cs typeface="+mn-cs"/>
        </a:defRPr>
      </a:lvl5pPr>
      <a:lvl6pPr marL="3484208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6pPr>
      <a:lvl7pPr marL="4117699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7pPr>
      <a:lvl8pPr marL="4751192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8pPr>
      <a:lvl9pPr marL="5384684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1pPr>
      <a:lvl2pPr marL="633493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2pPr>
      <a:lvl3pPr marL="1266984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3pPr>
      <a:lvl4pPr marL="1900477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4pPr>
      <a:lvl5pPr marL="2533969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5pPr>
      <a:lvl6pPr marL="3167462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6pPr>
      <a:lvl7pPr marL="3800953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7pPr>
      <a:lvl8pPr marL="4434446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8pPr>
      <a:lvl9pPr marL="5067937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1" userDrawn="1">
          <p15:clr>
            <a:srgbClr val="F26B43"/>
          </p15:clr>
        </p15:guide>
        <p15:guide id="5" pos="8223" userDrawn="1">
          <p15:clr>
            <a:srgbClr val="F26B43"/>
          </p15:clr>
        </p15:guide>
        <p15:guide id="6" pos="1579" userDrawn="1">
          <p15:clr>
            <a:srgbClr val="F26B43"/>
          </p15:clr>
        </p15:guide>
        <p15:guide id="7" orient="horz" pos="4150" userDrawn="1">
          <p15:clr>
            <a:srgbClr val="F26B43"/>
          </p15:clr>
        </p15:guide>
        <p15:guide id="10" orient="horz" pos="100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F668438-C917-43DF-A194-21198DDA13A2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54289041"/>
              </p:ext>
            </p:extLst>
          </p:nvPr>
        </p:nvGraphicFramePr>
        <p:xfrm>
          <a:off x="1997" y="1589"/>
          <a:ext cx="199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F668438-C917-43DF-A194-21198DDA1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97" y="1589"/>
                        <a:ext cx="199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Grafik 66">
            <a:extLst>
              <a:ext uri="{FF2B5EF4-FFF2-40B4-BE49-F238E27FC236}">
                <a16:creationId xmlns:a16="http://schemas.microsoft.com/office/drawing/2014/main" id="{7BE5DFFA-F046-A6F0-54FC-14DC1C562B09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r="84295"/>
          <a:stretch>
            <a:fillRect/>
          </a:stretch>
        </p:blipFill>
        <p:spPr>
          <a:xfrm>
            <a:off x="366896" y="392181"/>
            <a:ext cx="630123" cy="561711"/>
          </a:xfrm>
          <a:custGeom>
            <a:avLst/>
            <a:gdLst>
              <a:gd name="connsiteX0" fmla="*/ 0 w 630123"/>
              <a:gd name="connsiteY0" fmla="*/ 0 h 561711"/>
              <a:gd name="connsiteX1" fmla="*/ 630123 w 630123"/>
              <a:gd name="connsiteY1" fmla="*/ 0 h 561711"/>
              <a:gd name="connsiteX2" fmla="*/ 630123 w 630123"/>
              <a:gd name="connsiteY2" fmla="*/ 561711 h 561711"/>
              <a:gd name="connsiteX3" fmla="*/ 0 w 630123"/>
              <a:gd name="connsiteY3" fmla="*/ 561711 h 561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0123" h="561711">
                <a:moveTo>
                  <a:pt x="0" y="0"/>
                </a:moveTo>
                <a:lnTo>
                  <a:pt x="630123" y="0"/>
                </a:lnTo>
                <a:lnTo>
                  <a:pt x="630123" y="561711"/>
                </a:lnTo>
                <a:lnTo>
                  <a:pt x="0" y="561711"/>
                </a:lnTo>
                <a:close/>
              </a:path>
            </a:pathLst>
          </a:custGeom>
        </p:spPr>
      </p:pic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498A045-7ED3-41B4-BE99-D00B7FE1EBE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 rtl="0">
              <a:buFontTx/>
              <a:buNone/>
            </a:pPr>
            <a:endParaRPr lang="en-US" sz="2400" b="1" i="0" baseline="0" dirty="0" err="1">
              <a:solidFill>
                <a:schemeClr val="bg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6662" y="497218"/>
            <a:ext cx="10548000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6662" y="1600091"/>
            <a:ext cx="10548000" cy="1023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Ebene</a:t>
            </a:r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13A9A3-3F12-4A42-9215-D07EF98DB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12311009" y="-782102"/>
            <a:ext cx="295500" cy="1962031"/>
          </a:xfrm>
          <a:prstGeom prst="round2SameRect">
            <a:avLst>
              <a:gd name="adj1" fmla="val 0"/>
              <a:gd name="adj2" fmla="val 50000"/>
            </a:avLst>
          </a:prstGeom>
          <a:solidFill>
            <a:srgbClr val="000098"/>
          </a:solidFill>
        </p:spPr>
        <p:txBody>
          <a:bodyPr vert="vert270" wrap="square" lIns="36000" tIns="378000" rIns="36000" bIns="0" rtlCol="0" anchor="ctr">
            <a:noAutofit/>
          </a:bodyPr>
          <a:lstStyle>
            <a:lvl1pPr rtl="0">
              <a:defRPr lang="de-DE" sz="1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algn="r" defTabSz="1266984">
              <a:buFont typeface="Symbol" panose="05050102010706020507" pitchFamily="18" charset="2"/>
              <a:buNone/>
            </a:pPr>
            <a:r>
              <a:rPr lang="en-US"/>
              <a:t>Confidential</a:t>
            </a:r>
            <a:endParaRPr lang="en-US" dirty="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14FD34A-9E65-2ADF-0CCC-808C91C6EE4B}"/>
              </a:ext>
            </a:extLst>
          </p:cNvPr>
          <p:cNvSpPr txBox="1">
            <a:spLocks/>
          </p:cNvSpPr>
          <p:nvPr userDrawn="1"/>
        </p:nvSpPr>
        <p:spPr>
          <a:xfrm>
            <a:off x="385136" y="7083494"/>
            <a:ext cx="45525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AT" sz="8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311121" rtl="0"/>
            <a:r>
              <a:rPr lang="en-US" sz="700" b="0" dirty="0">
                <a:solidFill>
                  <a:schemeClr val="tx2"/>
                </a:solidFill>
                <a:latin typeface="+mj-lt"/>
              </a:rPr>
              <a:t>PAGE </a:t>
            </a:r>
            <a:fld id="{E4F7A248-6017-4496-9348-F98F0CB3E9CD}" type="slidenum">
              <a:rPr lang="en-US" sz="700" b="0" smtClean="0">
                <a:solidFill>
                  <a:schemeClr val="tx2"/>
                </a:solidFill>
                <a:latin typeface="+mj-lt"/>
              </a:rPr>
              <a:pPr algn="l" defTabSz="1311121" rtl="0"/>
              <a:t>‹N°›</a:t>
            </a:fld>
            <a:endParaRPr lang="en-US" sz="700" b="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3B63953-E6C2-9977-B52E-8214BA2258DF}"/>
              </a:ext>
            </a:extLst>
          </p:cNvPr>
          <p:cNvCxnSpPr>
            <a:cxnSpLocks/>
          </p:cNvCxnSpPr>
          <p:nvPr userDrawn="1"/>
        </p:nvCxnSpPr>
        <p:spPr>
          <a:xfrm>
            <a:off x="1085057" y="392181"/>
            <a:ext cx="0" cy="561711"/>
          </a:xfrm>
          <a:prstGeom prst="line">
            <a:avLst/>
          </a:prstGeom>
          <a:ln w="9525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743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35" r:id="rId4"/>
    <p:sldLayoutId id="2147483724" r:id="rId5"/>
    <p:sldLayoutId id="2147483725" r:id="rId6"/>
    <p:sldLayoutId id="2147483726" r:id="rId7"/>
    <p:sldLayoutId id="2147483736" r:id="rId8"/>
    <p:sldLayoutId id="2147483737" r:id="rId9"/>
    <p:sldLayoutId id="2147483738" r:id="rId10"/>
    <p:sldLayoutId id="2147483739" r:id="rId11"/>
    <p:sldLayoutId id="2147483731" r:id="rId12"/>
  </p:sldLayoutIdLst>
  <p:hf sldNum="0" hdr="0" dt="0"/>
  <p:txStyles>
    <p:titleStyle>
      <a:lvl1pPr algn="l" defTabSz="1266984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126698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96875" indent="-217488" algn="l" defTabSz="1266984" rtl="0" eaLnBrk="1" latinLnBrk="0" hangingPunct="1">
        <a:lnSpc>
          <a:spcPct val="100000"/>
        </a:lnSpc>
        <a:spcBef>
          <a:spcPts val="9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80000" algn="l" defTabSz="126698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900476" indent="0" algn="l" defTabSz="1266984" rtl="0" eaLnBrk="1" latinLnBrk="0" hangingPunct="1">
        <a:lnSpc>
          <a:spcPct val="100000"/>
        </a:lnSpc>
        <a:spcBef>
          <a:spcPts val="377"/>
        </a:spcBef>
        <a:buFont typeface="Arial" panose="020B0604020202020204" pitchFamily="34" charset="0"/>
        <a:buNone/>
        <a:defRPr sz="2263" kern="1200">
          <a:solidFill>
            <a:schemeClr val="bg2"/>
          </a:solidFill>
          <a:latin typeface="+mn-lt"/>
          <a:ea typeface="+mn-ea"/>
          <a:cs typeface="+mn-cs"/>
        </a:defRPr>
      </a:lvl4pPr>
      <a:lvl5pPr marL="2850715" indent="-316746" algn="l" defTabSz="1266984" rtl="0" eaLnBrk="1" latinLnBrk="0" hangingPunct="1">
        <a:lnSpc>
          <a:spcPct val="100000"/>
        </a:lnSpc>
        <a:spcBef>
          <a:spcPts val="377"/>
        </a:spcBef>
        <a:buFont typeface="Arial" panose="020B0604020202020204" pitchFamily="34" charset="0"/>
        <a:buChar char="•"/>
        <a:defRPr sz="2263" kern="1200">
          <a:solidFill>
            <a:schemeClr val="bg2"/>
          </a:solidFill>
          <a:latin typeface="+mn-lt"/>
          <a:ea typeface="+mn-ea"/>
          <a:cs typeface="+mn-cs"/>
        </a:defRPr>
      </a:lvl5pPr>
      <a:lvl6pPr marL="3484208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6pPr>
      <a:lvl7pPr marL="4117699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7pPr>
      <a:lvl8pPr marL="4751192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8pPr>
      <a:lvl9pPr marL="5384684" indent="-316746" algn="l" defTabSz="1266984" rtl="0" eaLnBrk="1" latinLnBrk="0" hangingPunct="1">
        <a:lnSpc>
          <a:spcPct val="90000"/>
        </a:lnSpc>
        <a:spcBef>
          <a:spcPts val="693"/>
        </a:spcBef>
        <a:buFont typeface="Arial" panose="020B0604020202020204" pitchFamily="34" charset="0"/>
        <a:buChar char="•"/>
        <a:defRPr sz="24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1pPr>
      <a:lvl2pPr marL="633493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2pPr>
      <a:lvl3pPr marL="1266984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3pPr>
      <a:lvl4pPr marL="1900477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4pPr>
      <a:lvl5pPr marL="2533969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5pPr>
      <a:lvl6pPr marL="3167462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6pPr>
      <a:lvl7pPr marL="3800953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7pPr>
      <a:lvl8pPr marL="4434446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8pPr>
      <a:lvl9pPr marL="5067937" algn="l" defTabSz="1266984" rtl="0" eaLnBrk="1" latinLnBrk="0" hangingPunct="1">
        <a:defRPr sz="2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1" userDrawn="1">
          <p15:clr>
            <a:srgbClr val="F26B43"/>
          </p15:clr>
        </p15:guide>
        <p15:guide id="5" pos="8223" userDrawn="1">
          <p15:clr>
            <a:srgbClr val="F26B43"/>
          </p15:clr>
        </p15:guide>
        <p15:guide id="6" pos="1579" userDrawn="1">
          <p15:clr>
            <a:srgbClr val="F26B43"/>
          </p15:clr>
        </p15:guide>
        <p15:guide id="7" orient="horz" pos="4150" userDrawn="1">
          <p15:clr>
            <a:srgbClr val="F26B43"/>
          </p15:clr>
        </p15:guide>
        <p15:guide id="10" orient="horz" pos="100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hyperlink" Target="https://www.ncbi.nlm.nih.gov/research/pubtator3/docsum?text=@GENE_VGLL3%20@GENE_VGLL4%20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E21E9E-6342-3B31-DB30-3A0A11104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720" y="834734"/>
            <a:ext cx="9610293" cy="369332"/>
          </a:xfrm>
        </p:spPr>
        <p:txBody>
          <a:bodyPr/>
          <a:lstStyle/>
          <a:p>
            <a:r>
              <a:rPr lang="fr-FR" dirty="0"/>
              <a:t>KG scor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79CBA5A-9BB9-E150-6E86-BC2D5F023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A9DC13C-6D8D-819F-0683-F01CC5D1BC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1AC6FD-987A-0DB6-DF94-0256C4457B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1266984">
              <a:buFont typeface="Symbol" panose="05050102010706020507" pitchFamily="18" charset="2"/>
              <a:buNone/>
            </a:pPr>
            <a:r>
              <a:rPr lang="de-AT"/>
              <a:t>Confidential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D778126-BF70-158F-6874-AF5F6662B0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797" y="1821129"/>
            <a:ext cx="6663640" cy="239239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7180D1EA-31C2-AF7C-D194-50E4C99C8F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797" y="4383558"/>
            <a:ext cx="6663640" cy="1477928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3B7615BA-D967-8DC4-64C8-9500E5BB7DB3}"/>
              </a:ext>
            </a:extLst>
          </p:cNvPr>
          <p:cNvSpPr txBox="1"/>
          <p:nvPr/>
        </p:nvSpPr>
        <p:spPr>
          <a:xfrm>
            <a:off x="7064943" y="1045204"/>
            <a:ext cx="5854316" cy="64633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or all studied pairs </a:t>
            </a:r>
          </a:p>
          <a:p>
            <a:r>
              <a:rPr lang="en-US" dirty="0"/>
              <a:t>CORO2A/B, VGLL3/4, CNN1/2</a:t>
            </a:r>
          </a:p>
          <a:p>
            <a:r>
              <a:rPr lang="en-US" dirty="0"/>
              <a:t>despite possible structural similarity, the genes are not involved in common pathways or specific GOs, and do not interact in STRING DB, have weak co-citation, especially before 2020 (see slides below). Their functions are either badly studies or they have significant specialization within the common family in terms of gene function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Eg</a:t>
            </a:r>
            <a:r>
              <a:rPr lang="en-US" dirty="0"/>
              <a:t>: Both CORO2A and CORO2B can bind to actin, a key component of the cytoskeleton, and are involved in actin filament dynamics. This is a common feature of coronin family proteins. Apart from its cytoskeletal role, CORO2A is known to be involved in transcriptional regulation. CORO2B does not have a well-established role in transcriptional regulation. Its functions are more restricted to cytoskeletal dynamics. CORO2A is expressed in various tissues, while CORO2B has a more limited expression pattern, primarily in neurons. CORO2A and CORO2B share only ‘actin binding’ GO MF which is not very specific (contains&gt;500 members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06120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F7EE97E-E6DD-B6EC-1F9B-05D4DF77A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720" y="834734"/>
            <a:ext cx="9610293" cy="369332"/>
          </a:xfrm>
        </p:spPr>
        <p:txBody>
          <a:bodyPr/>
          <a:lstStyle/>
          <a:p>
            <a:r>
              <a:rPr lang="fr-FR" dirty="0"/>
              <a:t>String DB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8EFFEC6-7BA7-4D3B-53E2-9407D60A19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BC994CF-DA5F-76D9-2FE0-19D5AF11CD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13003D7-1E23-28B6-C271-CC2201B26B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8D318FB-FC4F-0B95-8C81-38612498C5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1266984">
              <a:buFont typeface="Symbol" panose="05050102010706020507" pitchFamily="18" charset="2"/>
              <a:buNone/>
            </a:pPr>
            <a:r>
              <a:rPr lang="de-AT"/>
              <a:t>Confidential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C10BACD0-D6AB-C9DF-20B5-F2C96FC24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220" y="1891508"/>
            <a:ext cx="5606315" cy="248373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FF0895A9-9988-6D84-FA81-D7E3CA92C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0100" y="1416885"/>
            <a:ext cx="4336337" cy="2750704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270D06F8-5658-9B13-5DF1-4F49A52E62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8580" y="4471072"/>
            <a:ext cx="3970562" cy="2864754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C9703B3E-5239-BB37-53C6-771AABC5EB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4284" y="4723536"/>
            <a:ext cx="2710077" cy="261229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1C52AB44-26DE-6D77-3761-36D17791B8AD}"/>
              </a:ext>
            </a:extLst>
          </p:cNvPr>
          <p:cNvSpPr txBox="1"/>
          <p:nvPr/>
        </p:nvSpPr>
        <p:spPr>
          <a:xfrm>
            <a:off x="7132320" y="4317686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266984">
              <a:spcBef>
                <a:spcPts val="600"/>
              </a:spcBef>
            </a:pPr>
            <a:r>
              <a:rPr lang="en-US" dirty="0"/>
              <a:t>For example, contrast with</a:t>
            </a:r>
          </a:p>
        </p:txBody>
      </p:sp>
    </p:spTree>
    <p:extLst>
      <p:ext uri="{BB962C8B-B14F-4D97-AF65-F5344CB8AC3E}">
        <p14:creationId xmlns:p14="http://schemas.microsoft.com/office/powerpoint/2010/main" val="3089660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DFF249-800D-CFE7-DEF0-55DC0E35D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720" y="834734"/>
            <a:ext cx="9610293" cy="369332"/>
          </a:xfrm>
        </p:spPr>
        <p:txBody>
          <a:bodyPr/>
          <a:lstStyle/>
          <a:p>
            <a:r>
              <a:rPr lang="fr-FR" dirty="0" err="1"/>
              <a:t>Bioplex</a:t>
            </a:r>
            <a:r>
              <a:rPr lang="fr-FR" dirty="0"/>
              <a:t> 2.0 interaction data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4E1685E-35E0-E23F-721D-98B4F5F763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ttps://bioplex.hms.harvard.edu/explorer/network.php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905BA1-9BAE-C4AB-DB22-A093BE42D0C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4585C73-B897-3041-F1FE-0FC3BCE0017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1266984">
              <a:buFont typeface="Symbol" panose="05050102010706020507" pitchFamily="18" charset="2"/>
              <a:buNone/>
            </a:pPr>
            <a:r>
              <a:rPr lang="de-AT"/>
              <a:t>Confidential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0C926D4-F2D1-DD51-6C6E-1EA8BD65B1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052" y="2974205"/>
            <a:ext cx="6184022" cy="2945331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D9F6861-55B7-497A-FB9C-CAC1F31C8F0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65"/>
          <a:stretch/>
        </p:blipFill>
        <p:spPr>
          <a:xfrm>
            <a:off x="6862813" y="2772076"/>
            <a:ext cx="5838330" cy="2772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819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D9C226-8240-7E06-7E9E-EEA93D830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8597" y="468735"/>
            <a:ext cx="9610293" cy="369332"/>
          </a:xfrm>
        </p:spPr>
        <p:txBody>
          <a:bodyPr/>
          <a:lstStyle/>
          <a:p>
            <a:r>
              <a:rPr lang="fr-FR" dirty="0" err="1"/>
              <a:t>Pubtator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590CEB9-03A2-83A2-E86A-2318390EE6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142D7EB-0DF0-0A03-8F1D-F791B096E2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4810" y="1170600"/>
            <a:ext cx="12674600" cy="1138773"/>
          </a:xfrm>
        </p:spPr>
        <p:txBody>
          <a:bodyPr/>
          <a:lstStyle/>
          <a:p>
            <a:r>
              <a:rPr lang="fr-FR" sz="1800" dirty="0"/>
              <a:t>https://www.ncbi.nlm.nih.gov/research/pubtator3/docsum?text=@GENE_CNN1%20@GENE_CNN2%20</a:t>
            </a:r>
          </a:p>
          <a:p>
            <a:r>
              <a:rPr lang="fr-FR" dirty="0">
                <a:hlinkClick r:id="rId2"/>
              </a:rPr>
              <a:t>https://www.ncbi.nlm.nih.gov/research/pubtator3/docsum?text=@GENE_VGLL3%20@GENE_VGLL4%20</a:t>
            </a:r>
            <a:endParaRPr lang="fr-FR" dirty="0"/>
          </a:p>
          <a:p>
            <a:r>
              <a:rPr lang="fr-FR" dirty="0"/>
              <a:t>https://www.ncbi.nlm.nih.gov/research/pubtator3/docsum?text=@GENE_CORO2A%20@GENE_CORO2B%20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A0CB880-CABD-B2BB-C051-6F2B5AFB245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1266984">
              <a:buFont typeface="Symbol" panose="05050102010706020507" pitchFamily="18" charset="2"/>
              <a:buNone/>
            </a:pPr>
            <a:r>
              <a:rPr lang="de-AT"/>
              <a:t>Confidential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1597C74-5DF7-9E36-1CCF-21D88E1FB5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6283" y="3245722"/>
            <a:ext cx="2074895" cy="2060074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AF8F6F44-A1B9-1651-E829-2E07AD1D885D}"/>
              </a:ext>
            </a:extLst>
          </p:cNvPr>
          <p:cNvSpPr txBox="1"/>
          <p:nvPr/>
        </p:nvSpPr>
        <p:spPr>
          <a:xfrm>
            <a:off x="587141" y="3017649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 dirty="0">
                <a:solidFill>
                  <a:srgbClr val="37474F"/>
                </a:solidFill>
                <a:effectLst/>
                <a:latin typeface="-apple-system"/>
              </a:rPr>
              <a:t>13 publications</a:t>
            </a:r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B02F01DF-E8B6-10F3-CDC3-8EA3BBC4DF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3846" y="5122916"/>
            <a:ext cx="1521786" cy="1968024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EEBFC5F4-905B-DFEC-A557-BE237C6A9441}"/>
              </a:ext>
            </a:extLst>
          </p:cNvPr>
          <p:cNvSpPr txBox="1"/>
          <p:nvPr/>
        </p:nvSpPr>
        <p:spPr>
          <a:xfrm>
            <a:off x="791694" y="2684346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CORO2A/CORO2B</a:t>
            </a:r>
            <a:endParaRPr lang="fr-FR" b="1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B9FA07B3-7B06-26A9-514E-14271FC079BE}"/>
              </a:ext>
            </a:extLst>
          </p:cNvPr>
          <p:cNvSpPr txBox="1"/>
          <p:nvPr/>
        </p:nvSpPr>
        <p:spPr>
          <a:xfrm>
            <a:off x="8708505" y="6913344"/>
            <a:ext cx="67184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 err="1">
                <a:solidFill>
                  <a:srgbClr val="37474F"/>
                </a:solidFill>
                <a:effectLst/>
                <a:latin typeface="-apple-system"/>
              </a:rPr>
              <a:t>Heavily</a:t>
            </a:r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 </a:t>
            </a:r>
            <a:r>
              <a:rPr lang="fr-FR" b="1" i="0" dirty="0" err="1">
                <a:solidFill>
                  <a:srgbClr val="37474F"/>
                </a:solidFill>
                <a:effectLst/>
                <a:latin typeface="-apple-system"/>
              </a:rPr>
              <a:t>confounded</a:t>
            </a:r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 </a:t>
            </a:r>
            <a:r>
              <a:rPr lang="fr-FR" b="1" i="0" dirty="0" err="1">
                <a:solidFill>
                  <a:srgbClr val="37474F"/>
                </a:solidFill>
                <a:effectLst/>
                <a:latin typeface="-apple-system"/>
              </a:rPr>
              <a:t>with</a:t>
            </a:r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 </a:t>
            </a:r>
            <a:b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</a:br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CNN </a:t>
            </a:r>
            <a:r>
              <a:rPr lang="fr-FR" b="1" i="0" dirty="0" err="1">
                <a:solidFill>
                  <a:srgbClr val="37474F"/>
                </a:solidFill>
                <a:effectLst/>
                <a:latin typeface="-apple-system"/>
              </a:rPr>
              <a:t>abbreviation</a:t>
            </a:r>
            <a:endParaRPr lang="fr-FR" b="1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CC5F7D71-FAAD-E9F2-7816-BC873AE96642}"/>
              </a:ext>
            </a:extLst>
          </p:cNvPr>
          <p:cNvSpPr txBox="1"/>
          <p:nvPr/>
        </p:nvSpPr>
        <p:spPr>
          <a:xfrm>
            <a:off x="11552738" y="2684346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MAPK1/3</a:t>
            </a:r>
            <a:endParaRPr lang="fr-FR" b="1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3915FC58-906A-BC39-D87F-23A03B17D44B}"/>
              </a:ext>
            </a:extLst>
          </p:cNvPr>
          <p:cNvSpPr txBox="1"/>
          <p:nvPr/>
        </p:nvSpPr>
        <p:spPr>
          <a:xfrm>
            <a:off x="11054614" y="3017649"/>
            <a:ext cx="22474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 dirty="0">
                <a:solidFill>
                  <a:srgbClr val="37474F"/>
                </a:solidFill>
                <a:effectLst/>
                <a:latin typeface="-apple-system"/>
              </a:rPr>
              <a:t>20582 publications</a:t>
            </a:r>
            <a:endParaRPr lang="fr-FR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D113163E-1FEC-0A1C-1AD6-DE531DC443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4614" y="3297058"/>
            <a:ext cx="1899680" cy="1777906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63101047-F226-5B9A-8612-25CEAA2CC6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73609" y="5074964"/>
            <a:ext cx="1442257" cy="2335790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2E20E0E6-C7EE-441F-5862-DBF911803E76}"/>
              </a:ext>
            </a:extLst>
          </p:cNvPr>
          <p:cNvSpPr txBox="1"/>
          <p:nvPr/>
        </p:nvSpPr>
        <p:spPr>
          <a:xfrm>
            <a:off x="6274479" y="2986128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 dirty="0">
                <a:solidFill>
                  <a:srgbClr val="37474F"/>
                </a:solidFill>
                <a:effectLst/>
                <a:latin typeface="-apple-system"/>
              </a:rPr>
              <a:t>33 publications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C26DC069-6DCB-F34D-04E2-7E66B137015E}"/>
              </a:ext>
            </a:extLst>
          </p:cNvPr>
          <p:cNvSpPr txBox="1"/>
          <p:nvPr/>
        </p:nvSpPr>
        <p:spPr>
          <a:xfrm>
            <a:off x="6479032" y="2652825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VGLL3/4</a:t>
            </a:r>
            <a:endParaRPr lang="fr-FR" b="1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4877EB30-8BB0-E936-4EAF-5686AABB837D}"/>
              </a:ext>
            </a:extLst>
          </p:cNvPr>
          <p:cNvSpPr txBox="1"/>
          <p:nvPr/>
        </p:nvSpPr>
        <p:spPr>
          <a:xfrm>
            <a:off x="8821555" y="2974867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 dirty="0">
                <a:solidFill>
                  <a:srgbClr val="37474F"/>
                </a:solidFill>
                <a:effectLst/>
                <a:latin typeface="-apple-system"/>
              </a:rPr>
              <a:t>132 publications</a:t>
            </a:r>
            <a:endParaRPr lang="fr-FR" dirty="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09C0ACDA-D045-DEE9-57F8-63AD97B77211}"/>
              </a:ext>
            </a:extLst>
          </p:cNvPr>
          <p:cNvSpPr txBox="1"/>
          <p:nvPr/>
        </p:nvSpPr>
        <p:spPr>
          <a:xfrm>
            <a:off x="9026108" y="2641564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CNN1/2</a:t>
            </a:r>
            <a:endParaRPr lang="fr-FR" b="1" dirty="0"/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D98A7D14-E3A8-0316-F1D1-67E21DDE39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01041" y="3280475"/>
            <a:ext cx="1813171" cy="1727474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4102F7DE-E868-B7A4-C729-EC273422326B}"/>
              </a:ext>
            </a:extLst>
          </p:cNvPr>
          <p:cNvSpPr txBox="1"/>
          <p:nvPr/>
        </p:nvSpPr>
        <p:spPr>
          <a:xfrm>
            <a:off x="3475915" y="3026163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 dirty="0">
                <a:solidFill>
                  <a:srgbClr val="37474F"/>
                </a:solidFill>
                <a:effectLst/>
                <a:latin typeface="-apple-system"/>
              </a:rPr>
              <a:t>38 publications</a:t>
            </a:r>
            <a:endParaRPr lang="fr-FR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67CA5092-23CC-3CA8-BD65-7E8687AA9DF1}"/>
              </a:ext>
            </a:extLst>
          </p:cNvPr>
          <p:cNvSpPr txBox="1"/>
          <p:nvPr/>
        </p:nvSpPr>
        <p:spPr>
          <a:xfrm>
            <a:off x="3680468" y="2692860"/>
            <a:ext cx="6718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i="0" dirty="0">
                <a:solidFill>
                  <a:srgbClr val="37474F"/>
                </a:solidFill>
                <a:effectLst/>
                <a:latin typeface="-apple-system"/>
              </a:rPr>
              <a:t>CORO1A/CORO1B</a:t>
            </a:r>
            <a:endParaRPr lang="fr-FR" b="1" dirty="0"/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156B62E8-7B81-5A41-4C4E-BF75C11720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694" y="3404142"/>
            <a:ext cx="1642303" cy="1567274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EC75FD9D-CA9D-8678-8675-E25D454F4A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58619" y="5119482"/>
            <a:ext cx="1900237" cy="2362199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9E5BD082-D18A-06EA-DB27-6458F2ACD7D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9438" y="4961974"/>
            <a:ext cx="2049159" cy="2519707"/>
          </a:xfrm>
          <a:prstGeom prst="rect">
            <a:avLst/>
          </a:prstGeom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id="{A7321C80-3AEC-A9B6-FE75-0767DB34008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9032" y="3649672"/>
            <a:ext cx="1155444" cy="1131863"/>
          </a:xfrm>
          <a:prstGeom prst="rect">
            <a:avLst/>
          </a:prstGeom>
        </p:spPr>
      </p:pic>
      <p:pic>
        <p:nvPicPr>
          <p:cNvPr id="41" name="Image 40">
            <a:extLst>
              <a:ext uri="{FF2B5EF4-FFF2-40B4-BE49-F238E27FC236}">
                <a16:creationId xmlns:a16="http://schemas.microsoft.com/office/drawing/2014/main" id="{D9AA038A-466F-4691-A42C-DAD70154AA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43763" y="4906733"/>
            <a:ext cx="1879834" cy="259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371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1D161F8-B893-5A0A-3D0F-505BE2E9A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720" y="834734"/>
            <a:ext cx="9610293" cy="369332"/>
          </a:xfrm>
        </p:spPr>
        <p:txBody>
          <a:bodyPr/>
          <a:lstStyle/>
          <a:p>
            <a:r>
              <a:rPr lang="fr-FR" dirty="0"/>
              <a:t>Global </a:t>
            </a:r>
            <a:r>
              <a:rPr lang="fr-FR" dirty="0" err="1"/>
              <a:t>family</a:t>
            </a:r>
            <a:r>
              <a:rPr lang="fr-FR" dirty="0"/>
              <a:t> </a:t>
            </a:r>
            <a:r>
              <a:rPr lang="fr-FR" dirty="0" err="1"/>
              <a:t>analysis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0282024-8B00-516B-7D97-4754CA1B3E5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D60FBC1-3AE1-8DC8-F156-8A48E702E3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A38AFAD-F5A5-15B9-8A47-41D8CAD282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2588" y="2124075"/>
            <a:ext cx="4314540" cy="4924425"/>
          </a:xfrm>
        </p:spPr>
        <p:txBody>
          <a:bodyPr/>
          <a:lstStyle/>
          <a:p>
            <a:r>
              <a:rPr lang="fr-FR" dirty="0"/>
              <a:t>To </a:t>
            </a:r>
            <a:r>
              <a:rPr lang="fr-FR" dirty="0" err="1"/>
              <a:t>define</a:t>
            </a:r>
            <a:r>
              <a:rPr lang="fr-FR" dirty="0"/>
              <a:t> pairs of </a:t>
            </a:r>
            <a:r>
              <a:rPr lang="fr-FR" dirty="0" err="1"/>
              <a:t>genes</a:t>
            </a:r>
            <a:r>
              <a:rPr lang="fr-FR" dirty="0"/>
              <a:t> </a:t>
            </a:r>
            <a:r>
              <a:rPr lang="fr-FR" dirty="0" err="1"/>
              <a:t>belonging</a:t>
            </a:r>
            <a:r>
              <a:rPr lang="fr-FR" dirty="0"/>
              <a:t> to the </a:t>
            </a:r>
            <a:r>
              <a:rPr lang="fr-FR" dirty="0" err="1"/>
              <a:t>same</a:t>
            </a:r>
            <a:r>
              <a:rPr lang="fr-FR" dirty="0"/>
              <a:t> </a:t>
            </a:r>
            <a:r>
              <a:rPr lang="fr-FR" dirty="0" err="1"/>
              <a:t>family</a:t>
            </a:r>
            <a:r>
              <a:rPr lang="fr-FR" dirty="0"/>
              <a:t>,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used</a:t>
            </a:r>
            <a:r>
              <a:rPr lang="fr-FR" dirty="0"/>
              <a:t> the </a:t>
            </a:r>
            <a:r>
              <a:rPr lang="fr-FR" dirty="0" err="1"/>
              <a:t>following</a:t>
            </a:r>
            <a:r>
              <a:rPr lang="fr-FR" dirty="0"/>
              <a:t> </a:t>
            </a:r>
            <a:r>
              <a:rPr lang="fr-FR" dirty="0" err="1"/>
              <a:t>rule</a:t>
            </a:r>
            <a:endParaRPr lang="fr-FR" dirty="0"/>
          </a:p>
          <a:p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genes</a:t>
            </a:r>
            <a:r>
              <a:rPr lang="fr-FR" dirty="0"/>
              <a:t> must have at least first </a:t>
            </a:r>
            <a:r>
              <a:rPr lang="fr-FR" dirty="0" err="1"/>
              <a:t>three</a:t>
            </a:r>
            <a:r>
              <a:rPr lang="fr-FR" dirty="0"/>
              <a:t> first </a:t>
            </a:r>
            <a:r>
              <a:rPr lang="fr-FR" dirty="0" err="1"/>
              <a:t>letters</a:t>
            </a:r>
            <a:r>
              <a:rPr lang="fr-FR" dirty="0"/>
              <a:t> </a:t>
            </a:r>
            <a:r>
              <a:rPr lang="fr-FR" dirty="0" err="1"/>
              <a:t>identical</a:t>
            </a:r>
            <a:endParaRPr lang="fr-FR" dirty="0"/>
          </a:p>
          <a:p>
            <a:r>
              <a:rPr lang="fr-FR" dirty="0" err="1"/>
              <a:t>Those</a:t>
            </a:r>
            <a:r>
              <a:rPr lang="fr-FR" dirty="0"/>
              <a:t> </a:t>
            </a:r>
            <a:r>
              <a:rPr lang="fr-FR" dirty="0" err="1"/>
              <a:t>ending</a:t>
            </a:r>
            <a:r>
              <a:rPr lang="fr-FR" dirty="0"/>
              <a:t> </a:t>
            </a:r>
            <a:r>
              <a:rPr lang="fr-FR" dirty="0" err="1"/>
              <a:t>letters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are </a:t>
            </a:r>
            <a:r>
              <a:rPr lang="fr-FR" dirty="0" err="1"/>
              <a:t>different</a:t>
            </a:r>
            <a:r>
              <a:rPr lang="fr-FR" dirty="0"/>
              <a:t> must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either</a:t>
            </a:r>
            <a:r>
              <a:rPr lang="fr-FR" dirty="0"/>
              <a:t> </a:t>
            </a:r>
            <a:r>
              <a:rPr lang="fr-FR" dirty="0" err="1"/>
              <a:t>numerical</a:t>
            </a:r>
            <a:r>
              <a:rPr lang="fr-FR" dirty="0"/>
              <a:t> or A,B,C,D,E,F,G,H</a:t>
            </a:r>
          </a:p>
          <a:p>
            <a:r>
              <a:rPr lang="fr-FR" dirty="0"/>
              <a:t>38102 pairs have been </a:t>
            </a:r>
            <a:r>
              <a:rPr lang="fr-FR" dirty="0" err="1"/>
              <a:t>identified</a:t>
            </a:r>
            <a:r>
              <a:rPr lang="fr-FR" dirty="0"/>
              <a:t> in the </a:t>
            </a:r>
            <a:r>
              <a:rPr lang="fr-FR" dirty="0" err="1"/>
              <a:t>merged</a:t>
            </a:r>
            <a:r>
              <a:rPr lang="fr-FR" dirty="0"/>
              <a:t> scores table </a:t>
            </a:r>
            <a:r>
              <a:rPr lang="fr-FR" dirty="0" err="1"/>
              <a:t>based</a:t>
            </a:r>
            <a:r>
              <a:rPr lang="fr-FR" dirty="0"/>
              <a:t> on ORF_SIM scores (</a:t>
            </a:r>
            <a:r>
              <a:rPr lang="fr-FR" dirty="0" err="1"/>
              <a:t>denoted</a:t>
            </a:r>
            <a:r>
              <a:rPr lang="fr-FR" dirty="0"/>
              <a:t> as ‘all </a:t>
            </a:r>
            <a:r>
              <a:rPr lang="fr-FR" dirty="0" err="1"/>
              <a:t>families</a:t>
            </a:r>
            <a:r>
              <a:rPr lang="fr-FR" dirty="0"/>
              <a:t>’ in the plot)</a:t>
            </a:r>
          </a:p>
          <a:p>
            <a:r>
              <a:rPr lang="fr-FR" dirty="0"/>
              <a:t>The label on the plot </a:t>
            </a:r>
            <a:r>
              <a:rPr lang="fr-FR" dirty="0" err="1"/>
              <a:t>denotes</a:t>
            </a:r>
            <a:r>
              <a:rPr lang="fr-FR" dirty="0"/>
              <a:t> the </a:t>
            </a:r>
            <a:r>
              <a:rPr lang="fr-FR" dirty="0" err="1"/>
              <a:t>common</a:t>
            </a:r>
            <a:r>
              <a:rPr lang="fr-FR" dirty="0"/>
              <a:t> </a:t>
            </a:r>
            <a:r>
              <a:rPr lang="fr-FR" dirty="0" err="1"/>
              <a:t>prefix</a:t>
            </a:r>
            <a:r>
              <a:rPr lang="fr-FR" dirty="0"/>
              <a:t> for a </a:t>
            </a:r>
            <a:r>
              <a:rPr lang="fr-FR" dirty="0" err="1"/>
              <a:t>gene</a:t>
            </a:r>
            <a:r>
              <a:rPr lang="fr-FR" dirty="0"/>
              <a:t> </a:t>
            </a:r>
            <a:r>
              <a:rPr lang="fr-FR" dirty="0" err="1"/>
              <a:t>family</a:t>
            </a:r>
            <a:endParaRPr lang="fr-FR" dirty="0"/>
          </a:p>
          <a:p>
            <a:r>
              <a:rPr lang="fr-FR" dirty="0"/>
              <a:t>CNN1/2 </a:t>
            </a:r>
            <a:r>
              <a:rPr lang="fr-FR" dirty="0" err="1"/>
              <a:t>is</a:t>
            </a:r>
            <a:r>
              <a:rPr lang="fr-FR" dirty="0"/>
              <a:t> not </a:t>
            </a:r>
            <a:r>
              <a:rPr lang="fr-FR" dirty="0" err="1"/>
              <a:t>shown</a:t>
            </a:r>
            <a:r>
              <a:rPr lang="fr-FR" dirty="0"/>
              <a:t> (</a:t>
            </a:r>
            <a:r>
              <a:rPr lang="fr-FR" dirty="0" err="1"/>
              <a:t>only</a:t>
            </a:r>
            <a:r>
              <a:rPr lang="fr-FR" dirty="0"/>
              <a:t> one pair of </a:t>
            </a:r>
            <a:r>
              <a:rPr lang="fr-FR" dirty="0" err="1"/>
              <a:t>genes</a:t>
            </a:r>
            <a:r>
              <a:rPr lang="fr-FR" dirty="0"/>
              <a:t> in the table, the score </a:t>
            </a:r>
            <a:r>
              <a:rPr lang="fr-FR" dirty="0" err="1"/>
              <a:t>is</a:t>
            </a:r>
            <a:r>
              <a:rPr lang="fr-FR" dirty="0"/>
              <a:t> 0.31)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A109FA6-39E5-38F1-8787-92A28D4ACF6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r" defTabSz="1266984">
              <a:buFont typeface="Symbol" panose="05050102010706020507" pitchFamily="18" charset="2"/>
              <a:buNone/>
            </a:pPr>
            <a:r>
              <a:rPr lang="de-AT"/>
              <a:t>Confidential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FB8879A-B62D-F020-107D-59F2E43ED0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1366" y="1821129"/>
            <a:ext cx="6939464" cy="5423805"/>
          </a:xfrm>
          <a:prstGeom prst="rect">
            <a:avLst/>
          </a:prstGeom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54AFEC1F-FA04-BF45-936E-9ACF6049BD28}"/>
              </a:ext>
            </a:extLst>
          </p:cNvPr>
          <p:cNvCxnSpPr/>
          <p:nvPr/>
        </p:nvCxnSpPr>
        <p:spPr>
          <a:xfrm flipH="1">
            <a:off x="9201752" y="2180670"/>
            <a:ext cx="1183907" cy="263732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932112BF-938B-4E78-4A2C-0E4650BB6D8E}"/>
              </a:ext>
            </a:extLst>
          </p:cNvPr>
          <p:cNvCxnSpPr>
            <a:cxnSpLocks/>
          </p:cNvCxnSpPr>
          <p:nvPr/>
        </p:nvCxnSpPr>
        <p:spPr>
          <a:xfrm>
            <a:off x="10481912" y="3788089"/>
            <a:ext cx="827772" cy="60639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488BBA91-842E-BB32-4E89-EDAE9BF56620}"/>
              </a:ext>
            </a:extLst>
          </p:cNvPr>
          <p:cNvCxnSpPr>
            <a:cxnSpLocks/>
          </p:cNvCxnSpPr>
          <p:nvPr/>
        </p:nvCxnSpPr>
        <p:spPr>
          <a:xfrm flipH="1">
            <a:off x="9105499" y="2469428"/>
            <a:ext cx="1376413" cy="307498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9254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C8&quot; g=&quot;CF&quot; b=&quot;EA&quot;/&gt;&lt;/elem&gt;&lt;elem m_fUsage=&quot;9.00000000000000022204E-01&quot;&gt;&lt;m_msothmcolidx val=&quot;0&quot;/&gt;&lt;m_rgb r=&quot;BB&quot; g=&quot;CC&quot; b=&quot;E3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62d2f0e0-5bc1-456d-9402-80e78b7f466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cFF1l.qkPfqPknEis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6xrJsJn0.EdPdKgCzW0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.7.JFjP1K9er57UgbQ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.7.JFjP1K9er57UgbQ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cFF1l.qkPfqPknEis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V7OVs53jo36pcFCUyH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JqsWRjukFPE1x.c1_z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cFF1l.qkPfqPknEis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fcFF1l.qkPfqPknEis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V7OVs53jo36pcFCUyH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otec 2023">
  <a:themeElements>
    <a:clrScheme name="Evotec HighEnd 2022">
      <a:dk1>
        <a:srgbClr val="000099"/>
      </a:dk1>
      <a:lt1>
        <a:srgbClr val="FFFFFF"/>
      </a:lt1>
      <a:dk2>
        <a:srgbClr val="000000"/>
      </a:dk2>
      <a:lt2>
        <a:srgbClr val="D5EEFB"/>
      </a:lt2>
      <a:accent1>
        <a:srgbClr val="EAEAFD"/>
      </a:accent1>
      <a:accent2>
        <a:srgbClr val="D4D5FC"/>
      </a:accent2>
      <a:accent3>
        <a:srgbClr val="B4B4F0"/>
      </a:accent3>
      <a:accent4>
        <a:srgbClr val="8A8AE1"/>
      </a:accent4>
      <a:accent5>
        <a:srgbClr val="FCE6DF"/>
      </a:accent5>
      <a:accent6>
        <a:srgbClr val="F9CDBF"/>
      </a:accent6>
      <a:hlink>
        <a:srgbClr val="000099"/>
      </a:hlink>
      <a:folHlink>
        <a:srgbClr val="000099"/>
      </a:folHlink>
    </a:clrScheme>
    <a:fontScheme name="Evotec HighEnd 2022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t"/>
      <a:lstStyle>
        <a:defPPr marL="179388" indent="-179388" algn="l">
          <a:buFont typeface="Arial" panose="020B0604020202020204" pitchFamily="34" charset="0"/>
          <a:buChar char="•"/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9388" indent="-179388" algn="l" defTabSz="1266984">
          <a:spcBef>
            <a:spcPts val="600"/>
          </a:spcBef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Lavender">
      <a:srgbClr val="B4B4F0"/>
    </a:custClr>
    <a:custClr name="Green">
      <a:srgbClr val="C8E063"/>
    </a:custClr>
    <a:custClr name="Violet">
      <a:srgbClr val="E1A0EC"/>
    </a:custClr>
    <a:custClr name="Light Red">
      <a:srgbClr val="FF97AB"/>
    </a:custClr>
    <a:custClr name="Turquoise">
      <a:srgbClr val="88DCD5"/>
    </a:custClr>
    <a:custClr name="Sky Blue">
      <a:srgbClr val="8CD2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raffic light red">
      <a:srgbClr val="FF97AB"/>
    </a:custClr>
    <a:custClr name="Traffic light yellow">
      <a:srgbClr val="FFFFA3"/>
    </a:custClr>
    <a:custClr name="Traffic light green">
      <a:srgbClr val="B6E8C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äsentation1" id="{4053513A-3D47-4683-9C4A-EC56F2414C1F}" vid="{475B8F7F-9CFE-4416-B3B3-994930C4F519}"/>
    </a:ext>
  </a:extLst>
</a:theme>
</file>

<file path=ppt/theme/theme2.xml><?xml version="1.0" encoding="utf-8"?>
<a:theme xmlns:a="http://schemas.openxmlformats.org/drawingml/2006/main" name="Evotec + Partner Logo 2023">
  <a:themeElements>
    <a:clrScheme name="Evotec HighEnd 2022">
      <a:dk1>
        <a:srgbClr val="000099"/>
      </a:dk1>
      <a:lt1>
        <a:srgbClr val="FFFFFF"/>
      </a:lt1>
      <a:dk2>
        <a:srgbClr val="000000"/>
      </a:dk2>
      <a:lt2>
        <a:srgbClr val="D5EEFB"/>
      </a:lt2>
      <a:accent1>
        <a:srgbClr val="EAEAFD"/>
      </a:accent1>
      <a:accent2>
        <a:srgbClr val="D4D5FC"/>
      </a:accent2>
      <a:accent3>
        <a:srgbClr val="B4B4F0"/>
      </a:accent3>
      <a:accent4>
        <a:srgbClr val="8A8AE1"/>
      </a:accent4>
      <a:accent5>
        <a:srgbClr val="FCE6DF"/>
      </a:accent5>
      <a:accent6>
        <a:srgbClr val="F9CDBF"/>
      </a:accent6>
      <a:hlink>
        <a:srgbClr val="000099"/>
      </a:hlink>
      <a:folHlink>
        <a:srgbClr val="000099"/>
      </a:folHlink>
    </a:clrScheme>
    <a:fontScheme name="Evotec HighEnd 2022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44000" tIns="144000" rIns="144000" bIns="144000" rtlCol="0" anchor="t"/>
      <a:lstStyle>
        <a:defPPr marL="179388" indent="-179388" algn="l">
          <a:buFont typeface="Arial" panose="020B0604020202020204" pitchFamily="34" charset="0"/>
          <a:buChar char="•"/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9388" indent="-179388" algn="l" defTabSz="1266984">
          <a:spcBef>
            <a:spcPts val="600"/>
          </a:spcBef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custClrLst>
    <a:custClr name="Lavender">
      <a:srgbClr val="B4B4F0"/>
    </a:custClr>
    <a:custClr name="Green">
      <a:srgbClr val="C8E063"/>
    </a:custClr>
    <a:custClr name="Violet">
      <a:srgbClr val="E1A0EC"/>
    </a:custClr>
    <a:custClr name="Light Red">
      <a:srgbClr val="FF97AB"/>
    </a:custClr>
    <a:custClr name="Turquoise">
      <a:srgbClr val="88DCD5"/>
    </a:custClr>
    <a:custClr name="Sky Blue">
      <a:srgbClr val="8CD2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Traffic light red">
      <a:srgbClr val="FF97AB"/>
    </a:custClr>
    <a:custClr name="Traffic light yellow">
      <a:srgbClr val="FFFFA3"/>
    </a:custClr>
    <a:custClr name="Traffic light green">
      <a:srgbClr val="B6E8C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äsentation1" id="{4053513A-3D47-4683-9C4A-EC56F2414C1F}" vid="{475B8F7F-9CFE-4416-B3B3-994930C4F51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B745E89C6DEBB438470A46B3D3EFB8F" ma:contentTypeVersion="15" ma:contentTypeDescription="Ein neues Dokument erstellen." ma:contentTypeScope="" ma:versionID="76a801d806a0379741175dbce12360fd">
  <xsd:schema xmlns:xsd="http://www.w3.org/2001/XMLSchema" xmlns:xs="http://www.w3.org/2001/XMLSchema" xmlns:p="http://schemas.microsoft.com/office/2006/metadata/properties" xmlns:ns2="99628768-8fbb-4646-bcde-a36b35ffb734" xmlns:ns3="2fcb7db0-871f-4bec-8ff8-7c4012cc4edb" xmlns:ns4="9001ade1-dbeb-4212-8d93-c92cfef7d9d7" targetNamespace="http://schemas.microsoft.com/office/2006/metadata/properties" ma:root="true" ma:fieldsID="7857890a207baa3f3d0f1b9e6964d828" ns2:_="" ns3:_="" ns4:_="">
    <xsd:import namespace="99628768-8fbb-4646-bcde-a36b35ffb734"/>
    <xsd:import namespace="2fcb7db0-871f-4bec-8ff8-7c4012cc4edb"/>
    <xsd:import namespace="9001ade1-dbeb-4212-8d93-c92cfef7d9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4:SharedWithUsers" minOccurs="0"/>
                <xsd:element ref="ns4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628768-8fbb-4646-bcde-a36b35ffb73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320d3d33-dfdb-4b71-a3a5-de0f76fafb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cb7db0-871f-4bec-8ff8-7c4012cc4edb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31e7e03f-a946-4167-a143-818fca9d73f6}" ma:internalName="TaxCatchAll" ma:showField="CatchAllData" ma:web="2fcb7db0-871f-4bec-8ff8-7c4012cc4e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1ade1-dbeb-4212-8d93-c92cfef7d9d7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A7D876-6C67-4BCB-BA5A-83DAB4BBDB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42D792-369D-444A-A225-EBCD578633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628768-8fbb-4646-bcde-a36b35ffb734"/>
    <ds:schemaRef ds:uri="2fcb7db0-871f-4bec-8ff8-7c4012cc4edb"/>
    <ds:schemaRef ds:uri="9001ade1-dbeb-4212-8d93-c92cfef7d9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3</TotalTime>
  <Words>442</Words>
  <Application>Microsoft Office PowerPoint</Application>
  <PresentationFormat>Personnalisé</PresentationFormat>
  <Paragraphs>38</Paragraphs>
  <Slides>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4" baseType="lpstr">
      <vt:lpstr>-apple-system</vt:lpstr>
      <vt:lpstr>Arial</vt:lpstr>
      <vt:lpstr>Calibri</vt:lpstr>
      <vt:lpstr>Georgia</vt:lpstr>
      <vt:lpstr>Symbol</vt:lpstr>
      <vt:lpstr>Wingdings</vt:lpstr>
      <vt:lpstr>Evotec 2023</vt:lpstr>
      <vt:lpstr>Evotec + Partner Logo 2023</vt:lpstr>
      <vt:lpstr>think-cell Folie</vt:lpstr>
      <vt:lpstr>KG scores</vt:lpstr>
      <vt:lpstr>String DB</vt:lpstr>
      <vt:lpstr>Bioplex 2.0 interaction data</vt:lpstr>
      <vt:lpstr>Pubtator</vt:lpstr>
      <vt:lpstr>Global family analysis</vt:lpstr>
    </vt:vector>
  </TitlesOfParts>
  <Company>Evote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Template</dc:title>
  <dc:creator>Rebecca Liebst</dc:creator>
  <cp:lastModifiedBy>Andrey Zinovyev</cp:lastModifiedBy>
  <cp:revision>610</cp:revision>
  <cp:lastPrinted>2022-10-27T15:30:56Z</cp:lastPrinted>
  <dcterms:created xsi:type="dcterms:W3CDTF">2020-11-26T08:27:37Z</dcterms:created>
  <dcterms:modified xsi:type="dcterms:W3CDTF">2024-09-02T14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4-04-16T09:20:47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3047e552-19ba-4ca2-a020-799287660985</vt:lpwstr>
  </property>
  <property fmtid="{D5CDD505-2E9C-101B-9397-08002B2CF9AE}" pid="7" name="MSIP_Label_defa4170-0d19-0005-0004-bc88714345d2_ActionId">
    <vt:lpwstr>aed47cef-fa81-43f7-b689-95c48ea3f5b0</vt:lpwstr>
  </property>
  <property fmtid="{D5CDD505-2E9C-101B-9397-08002B2CF9AE}" pid="8" name="MSIP_Label_defa4170-0d19-0005-0004-bc88714345d2_ContentBits">
    <vt:lpwstr>0</vt:lpwstr>
  </property>
</Properties>
</file>